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4.xml" ContentType="application/vnd.openxmlformats-officedocument.presentationml.notesSlide+xml"/>
  <Override PartName="/ppt/comments/modernComment_10A_35845EF3.xml" ContentType="application/vnd.ms-powerpoint.comments+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notesSlides/notesSlide2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9"/>
  </p:notesMasterIdLst>
  <p:handoutMasterIdLst>
    <p:handoutMasterId r:id="rId30"/>
  </p:handoutMasterIdLst>
  <p:sldIdLst>
    <p:sldId id="257" r:id="rId5"/>
    <p:sldId id="258" r:id="rId6"/>
    <p:sldId id="259" r:id="rId7"/>
    <p:sldId id="260" r:id="rId8"/>
    <p:sldId id="293" r:id="rId9"/>
    <p:sldId id="282" r:id="rId10"/>
    <p:sldId id="2147483163" r:id="rId11"/>
    <p:sldId id="2147483508" r:id="rId12"/>
    <p:sldId id="280" r:id="rId13"/>
    <p:sldId id="291" r:id="rId14"/>
    <p:sldId id="268" r:id="rId15"/>
    <p:sldId id="269" r:id="rId16"/>
    <p:sldId id="285" r:id="rId17"/>
    <p:sldId id="266" r:id="rId18"/>
    <p:sldId id="281" r:id="rId19"/>
    <p:sldId id="284" r:id="rId20"/>
    <p:sldId id="275" r:id="rId21"/>
    <p:sldId id="286" r:id="rId22"/>
    <p:sldId id="256" r:id="rId23"/>
    <p:sldId id="2147483647" r:id="rId24"/>
    <p:sldId id="267" r:id="rId25"/>
    <p:sldId id="276" r:id="rId26"/>
    <p:sldId id="2147483644" r:id="rId27"/>
    <p:sldId id="261" r:id="rId28"/>
  </p:sldIdLst>
  <p:sldSz cx="12192000" cy="6858000"/>
  <p:notesSz cx="6858000" cy="9144000"/>
  <p:custDataLst>
    <p:tags r:id="rId31"/>
  </p:custDataLst>
  <p:defaultTex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p:defaultTextStyle>
  <p:extLst>
    <p:ext uri="{521415D9-36F7-43E2-AB2F-B90AF26B5E84}">
      <p14:sectionLst xmlns:p14="http://schemas.microsoft.com/office/powerpoint/2010/main">
        <p14:section name="Standardabschnitt" id="{6D2BC248-0CF5-46A8-99E0-893BE4A14BE6}">
          <p14:sldIdLst>
            <p14:sldId id="257"/>
            <p14:sldId id="258"/>
            <p14:sldId id="259"/>
            <p14:sldId id="260"/>
            <p14:sldId id="293"/>
            <p14:sldId id="282"/>
            <p14:sldId id="2147483163"/>
            <p14:sldId id="2147483508"/>
            <p14:sldId id="280"/>
            <p14:sldId id="291"/>
            <p14:sldId id="268"/>
            <p14:sldId id="269"/>
            <p14:sldId id="285"/>
            <p14:sldId id="266"/>
            <p14:sldId id="281"/>
            <p14:sldId id="284"/>
            <p14:sldId id="275"/>
            <p14:sldId id="286"/>
            <p14:sldId id="256"/>
            <p14:sldId id="2147483647"/>
            <p14:sldId id="267"/>
            <p14:sldId id="276"/>
            <p14:sldId id="2147483644"/>
            <p14:sldId id="261"/>
          </p14:sldIdLst>
        </p14:section>
      </p14:sectionLst>
    </p:ext>
    <p:ext uri="{EFAFB233-063F-42B5-8137-9DF3F51BA10A}">
      <p15:sldGuideLst xmlns:p15="http://schemas.microsoft.com/office/powerpoint/2012/main">
        <p15:guide id="1" pos="3840" userDrawn="1">
          <p15:clr>
            <a:srgbClr val="A4A3A4"/>
          </p15:clr>
        </p15:guide>
        <p15:guide id="2"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A92E63-D8FD-D11C-4E2C-20A45C369A39}" name="Merz, Stefan (DI PA AE FBE SU1)" initials="SM" userId="S::stefanmerz@siemens.com::799148d7-ac9b-4714-a0c0-c2897f06712a" providerId="AD"/>
  <p188:author id="{03B07274-55AA-6670-E5FA-E1B3F384FF72}" name="Weinlaender, Markus (DI PA AE P7S)" initials="MW" userId="S::markus.weinlaender@siemens.com::38ede193-983f-470f-a6a8-7f51be15b2ac" providerId="AD"/>
  <p188:author id="{CA824F9C-7963-A144-31C3-43EEFC26B900}" name="Satzger, Oliver (DI ST AR)" initials="OS" userId="S::oliver.satzger@siemens.com::2a621270-159d-46af-bda1-c3caebb53f91" providerId="AD"/>
  <p188:author id="{011589A5-17B1-85DC-78F8-DE40BEFD1621}" name="Tripathi, Raghav (RC-GB DI S SAC TPE P)" initials="RT" userId="S::raghvendra.tripathi@siemens.com::757b936f-4df2-4dc9-b9eb-097e32763b37" providerId="AD"/>
  <p188:author id="{18439ECE-5EBF-8D1B-29FE-A9BED753A109}" name="Schreier, Kim (DI PA AE ST&amp;T TI)" initials="KS" userId="S::kim.schreier@siemens.com::edbe9956-63e7-402f-a8a7-255dbf4cd922" providerId="AD"/>
  <p188:author id="{9366F8EB-8D3A-6FC0-661F-3341CE4C43BA}" name="Vangenechten, Rebecca (DI PA AE)" initials="RV" userId="S::rebecca.vangenechten@siemens.com::98aff28d-7a3f-422d-b717-c3649b11a3d9" providerId="AD"/>
  <p188:author id="{49C056F3-499D-273E-6124-3FBE70200F99}" name="Winter, Meike (DI PA CM 2)" initials="W2" userId="S::meike.winter@siemens.com::76d2401f-3aae-4540-b52f-c2415ab911c6" providerId="AD"/>
  <p188:author id="{2CCEB8F7-8794-7D6D-C211-A35C5375BABB}" name="Muser, Stephan (DI PA AE ST&amp;T ST)" initials="SM" userId="S::stephan.muser@siemens.com::f3e97c5e-cbdc-4531-a68b-ba004ff2919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E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CEDD45-5A7E-4DBE-ACB5-1803E40B524F}" v="6" dt="2025-10-16T11:00:41.926"/>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822" autoAdjust="0"/>
  </p:normalViewPr>
  <p:slideViewPr>
    <p:cSldViewPr snapToGrid="0">
      <p:cViewPr varScale="1">
        <p:scale>
          <a:sx n="47" d="100"/>
          <a:sy n="47" d="100"/>
        </p:scale>
        <p:origin x="1392" y="44"/>
      </p:cViewPr>
      <p:guideLst>
        <p:guide pos="3840"/>
        <p:guide orient="horz" pos="2183"/>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pathi, Raghav (RC-GB DI S SAC TPE P)" userId="757b936f-4df2-4dc9-b9eb-097e32763b37" providerId="ADAL" clId="{D0CEDD45-5A7E-4DBE-ACB5-1803E40B524F}"/>
    <pc:docChg chg="undo custSel addSld delSld modSld sldOrd modSection">
      <pc:chgData name="Tripathi, Raghav (RC-GB DI S SAC TPE P)" userId="757b936f-4df2-4dc9-b9eb-097e32763b37" providerId="ADAL" clId="{D0CEDD45-5A7E-4DBE-ACB5-1803E40B524F}" dt="2025-10-16T10:40:38.332" v="701" actId="20577"/>
      <pc:docMkLst>
        <pc:docMk/>
      </pc:docMkLst>
      <pc:sldChg chg="modSp mod modNotesTx">
        <pc:chgData name="Tripathi, Raghav (RC-GB DI S SAC TPE P)" userId="757b936f-4df2-4dc9-b9eb-097e32763b37" providerId="ADAL" clId="{D0CEDD45-5A7E-4DBE-ACB5-1803E40B524F}" dt="2025-10-15T09:41:40.450" v="271" actId="20577"/>
        <pc:sldMkLst>
          <pc:docMk/>
          <pc:sldMk cId="155755766" sldId="257"/>
        </pc:sldMkLst>
        <pc:spChg chg="mod">
          <ac:chgData name="Tripathi, Raghav (RC-GB DI S SAC TPE P)" userId="757b936f-4df2-4dc9-b9eb-097e32763b37" providerId="ADAL" clId="{D0CEDD45-5A7E-4DBE-ACB5-1803E40B524F}" dt="2025-10-13T09:27:30.576" v="65" actId="20577"/>
          <ac:spMkLst>
            <pc:docMk/>
            <pc:sldMk cId="155755766" sldId="257"/>
            <ac:spMk id="2" creationId="{DD356016-501D-E7BC-6EB3-787CD9F4630B}"/>
          </ac:spMkLst>
        </pc:spChg>
        <pc:spChg chg="mod">
          <ac:chgData name="Tripathi, Raghav (RC-GB DI S SAC TPE P)" userId="757b936f-4df2-4dc9-b9eb-097e32763b37" providerId="ADAL" clId="{D0CEDD45-5A7E-4DBE-ACB5-1803E40B524F}" dt="2025-10-13T09:28:14.324" v="142" actId="20577"/>
          <ac:spMkLst>
            <pc:docMk/>
            <pc:sldMk cId="155755766" sldId="257"/>
            <ac:spMk id="3" creationId="{9CA49859-DB8D-1A3E-A649-53CEBEA0336E}"/>
          </ac:spMkLst>
        </pc:spChg>
      </pc:sldChg>
      <pc:sldChg chg="modNotesTx">
        <pc:chgData name="Tripathi, Raghav (RC-GB DI S SAC TPE P)" userId="757b936f-4df2-4dc9-b9eb-097e32763b37" providerId="ADAL" clId="{D0CEDD45-5A7E-4DBE-ACB5-1803E40B524F}" dt="2025-10-16T10:40:38.332" v="701" actId="20577"/>
        <pc:sldMkLst>
          <pc:docMk/>
          <pc:sldMk cId="232439791" sldId="259"/>
        </pc:sldMkLst>
      </pc:sldChg>
      <pc:sldChg chg="ord">
        <pc:chgData name="Tripathi, Raghav (RC-GB DI S SAC TPE P)" userId="757b936f-4df2-4dc9-b9eb-097e32763b37" providerId="ADAL" clId="{D0CEDD45-5A7E-4DBE-ACB5-1803E40B524F}" dt="2025-10-15T12:57:50.946" v="683"/>
        <pc:sldMkLst>
          <pc:docMk/>
          <pc:sldMk cId="304235019" sldId="261"/>
        </pc:sldMkLst>
      </pc:sldChg>
      <pc:sldChg chg="del">
        <pc:chgData name="Tripathi, Raghav (RC-GB DI S SAC TPE P)" userId="757b936f-4df2-4dc9-b9eb-097e32763b37" providerId="ADAL" clId="{D0CEDD45-5A7E-4DBE-ACB5-1803E40B524F}" dt="2025-10-15T12:47:46.919" v="641" actId="47"/>
        <pc:sldMkLst>
          <pc:docMk/>
          <pc:sldMk cId="1337143505" sldId="262"/>
        </pc:sldMkLst>
      </pc:sldChg>
      <pc:sldChg chg="del">
        <pc:chgData name="Tripathi, Raghav (RC-GB DI S SAC TPE P)" userId="757b936f-4df2-4dc9-b9eb-097e32763b37" providerId="ADAL" clId="{D0CEDD45-5A7E-4DBE-ACB5-1803E40B524F}" dt="2025-10-15T12:47:48.259" v="642" actId="47"/>
        <pc:sldMkLst>
          <pc:docMk/>
          <pc:sldMk cId="595011340" sldId="263"/>
        </pc:sldMkLst>
      </pc:sldChg>
      <pc:sldChg chg="del">
        <pc:chgData name="Tripathi, Raghav (RC-GB DI S SAC TPE P)" userId="757b936f-4df2-4dc9-b9eb-097e32763b37" providerId="ADAL" clId="{D0CEDD45-5A7E-4DBE-ACB5-1803E40B524F}" dt="2025-10-15T12:48:02.118" v="645" actId="47"/>
        <pc:sldMkLst>
          <pc:docMk/>
          <pc:sldMk cId="983784881" sldId="264"/>
        </pc:sldMkLst>
      </pc:sldChg>
      <pc:sldChg chg="del">
        <pc:chgData name="Tripathi, Raghav (RC-GB DI S SAC TPE P)" userId="757b936f-4df2-4dc9-b9eb-097e32763b37" providerId="ADAL" clId="{D0CEDD45-5A7E-4DBE-ACB5-1803E40B524F}" dt="2025-10-15T12:48:06.675" v="647" actId="47"/>
        <pc:sldMkLst>
          <pc:docMk/>
          <pc:sldMk cId="1624267763" sldId="265"/>
        </pc:sldMkLst>
      </pc:sldChg>
      <pc:sldChg chg="delSp mod">
        <pc:chgData name="Tripathi, Raghav (RC-GB DI S SAC TPE P)" userId="757b936f-4df2-4dc9-b9eb-097e32763b37" providerId="ADAL" clId="{D0CEDD45-5A7E-4DBE-ACB5-1803E40B524F}" dt="2025-10-15T12:59:30.947" v="684" actId="478"/>
        <pc:sldMkLst>
          <pc:docMk/>
          <pc:sldMk cId="897867507" sldId="266"/>
        </pc:sldMkLst>
        <pc:grpChg chg="del">
          <ac:chgData name="Tripathi, Raghav (RC-GB DI S SAC TPE P)" userId="757b936f-4df2-4dc9-b9eb-097e32763b37" providerId="ADAL" clId="{D0CEDD45-5A7E-4DBE-ACB5-1803E40B524F}" dt="2025-10-15T12:59:30.947" v="684" actId="478"/>
          <ac:grpSpMkLst>
            <pc:docMk/>
            <pc:sldMk cId="897867507" sldId="266"/>
            <ac:grpSpMk id="65" creationId="{106A3FD7-FAE6-8A36-30D0-E4CFD4C5DF84}"/>
          </ac:grpSpMkLst>
        </pc:grpChg>
      </pc:sldChg>
      <pc:sldChg chg="modNotesTx">
        <pc:chgData name="Tripathi, Raghav (RC-GB DI S SAC TPE P)" userId="757b936f-4df2-4dc9-b9eb-097e32763b37" providerId="ADAL" clId="{D0CEDD45-5A7E-4DBE-ACB5-1803E40B524F}" dt="2025-10-15T12:52:57.986" v="673" actId="20577"/>
        <pc:sldMkLst>
          <pc:docMk/>
          <pc:sldMk cId="3834621108" sldId="267"/>
        </pc:sldMkLst>
      </pc:sldChg>
      <pc:sldChg chg="ord">
        <pc:chgData name="Tripathi, Raghav (RC-GB DI S SAC TPE P)" userId="757b936f-4df2-4dc9-b9eb-097e32763b37" providerId="ADAL" clId="{D0CEDD45-5A7E-4DBE-ACB5-1803E40B524F}" dt="2025-10-15T13:02:36.828" v="690"/>
        <pc:sldMkLst>
          <pc:docMk/>
          <pc:sldMk cId="4189315366" sldId="268"/>
        </pc:sldMkLst>
      </pc:sldChg>
      <pc:sldChg chg="ord">
        <pc:chgData name="Tripathi, Raghav (RC-GB DI S SAC TPE P)" userId="757b936f-4df2-4dc9-b9eb-097e32763b37" providerId="ADAL" clId="{D0CEDD45-5A7E-4DBE-ACB5-1803E40B524F}" dt="2025-10-15T13:02:45.843" v="692"/>
        <pc:sldMkLst>
          <pc:docMk/>
          <pc:sldMk cId="1856669522" sldId="269"/>
        </pc:sldMkLst>
      </pc:sldChg>
      <pc:sldChg chg="del">
        <pc:chgData name="Tripathi, Raghav (RC-GB DI S SAC TPE P)" userId="757b936f-4df2-4dc9-b9eb-097e32763b37" providerId="ADAL" clId="{D0CEDD45-5A7E-4DBE-ACB5-1803E40B524F}" dt="2025-10-13T10:25:21.770" v="247" actId="47"/>
        <pc:sldMkLst>
          <pc:docMk/>
          <pc:sldMk cId="1736082986" sldId="270"/>
        </pc:sldMkLst>
      </pc:sldChg>
      <pc:sldChg chg="del">
        <pc:chgData name="Tripathi, Raghav (RC-GB DI S SAC TPE P)" userId="757b936f-4df2-4dc9-b9eb-097e32763b37" providerId="ADAL" clId="{D0CEDD45-5A7E-4DBE-ACB5-1803E40B524F}" dt="2025-10-15T12:48:34.964" v="658" actId="47"/>
        <pc:sldMkLst>
          <pc:docMk/>
          <pc:sldMk cId="1329809198" sldId="271"/>
        </pc:sldMkLst>
      </pc:sldChg>
      <pc:sldChg chg="del">
        <pc:chgData name="Tripathi, Raghav (RC-GB DI S SAC TPE P)" userId="757b936f-4df2-4dc9-b9eb-097e32763b37" providerId="ADAL" clId="{D0CEDD45-5A7E-4DBE-ACB5-1803E40B524F}" dt="2025-10-15T12:48:36.968" v="659" actId="47"/>
        <pc:sldMkLst>
          <pc:docMk/>
          <pc:sldMk cId="2220061947" sldId="272"/>
        </pc:sldMkLst>
      </pc:sldChg>
      <pc:sldChg chg="ord">
        <pc:chgData name="Tripathi, Raghav (RC-GB DI S SAC TPE P)" userId="757b936f-4df2-4dc9-b9eb-097e32763b37" providerId="ADAL" clId="{D0CEDD45-5A7E-4DBE-ACB5-1803E40B524F}" dt="2025-10-15T12:56:17.209" v="679"/>
        <pc:sldMkLst>
          <pc:docMk/>
          <pc:sldMk cId="3256092848" sldId="273"/>
        </pc:sldMkLst>
      </pc:sldChg>
      <pc:sldChg chg="del">
        <pc:chgData name="Tripathi, Raghav (RC-GB DI S SAC TPE P)" userId="757b936f-4df2-4dc9-b9eb-097e32763b37" providerId="ADAL" clId="{D0CEDD45-5A7E-4DBE-ACB5-1803E40B524F}" dt="2025-10-15T12:48:28.474" v="655" actId="47"/>
        <pc:sldMkLst>
          <pc:docMk/>
          <pc:sldMk cId="1804168071" sldId="274"/>
        </pc:sldMkLst>
      </pc:sldChg>
      <pc:sldChg chg="modNotesTx">
        <pc:chgData name="Tripathi, Raghav (RC-GB DI S SAC TPE P)" userId="757b936f-4df2-4dc9-b9eb-097e32763b37" providerId="ADAL" clId="{D0CEDD45-5A7E-4DBE-ACB5-1803E40B524F}" dt="2025-10-15T16:30:06.798" v="699" actId="20577"/>
        <pc:sldMkLst>
          <pc:docMk/>
          <pc:sldMk cId="2415920522" sldId="275"/>
        </pc:sldMkLst>
      </pc:sldChg>
      <pc:sldChg chg="modNotesTx">
        <pc:chgData name="Tripathi, Raghav (RC-GB DI S SAC TPE P)" userId="757b936f-4df2-4dc9-b9eb-097e32763b37" providerId="ADAL" clId="{D0CEDD45-5A7E-4DBE-ACB5-1803E40B524F}" dt="2025-10-15T16:29:12.376" v="698" actId="20577"/>
        <pc:sldMkLst>
          <pc:docMk/>
          <pc:sldMk cId="3594081320" sldId="276"/>
        </pc:sldMkLst>
      </pc:sldChg>
      <pc:sldChg chg="del">
        <pc:chgData name="Tripathi, Raghav (RC-GB DI S SAC TPE P)" userId="757b936f-4df2-4dc9-b9eb-097e32763b37" providerId="ADAL" clId="{D0CEDD45-5A7E-4DBE-ACB5-1803E40B524F}" dt="2025-10-15T12:47:52.573" v="643" actId="47"/>
        <pc:sldMkLst>
          <pc:docMk/>
          <pc:sldMk cId="1260132146" sldId="277"/>
        </pc:sldMkLst>
      </pc:sldChg>
      <pc:sldChg chg="del">
        <pc:chgData name="Tripathi, Raghav (RC-GB DI S SAC TPE P)" userId="757b936f-4df2-4dc9-b9eb-097e32763b37" providerId="ADAL" clId="{D0CEDD45-5A7E-4DBE-ACB5-1803E40B524F}" dt="2025-10-15T12:47:57.113" v="644" actId="47"/>
        <pc:sldMkLst>
          <pc:docMk/>
          <pc:sldMk cId="768217873" sldId="278"/>
        </pc:sldMkLst>
      </pc:sldChg>
      <pc:sldChg chg="del">
        <pc:chgData name="Tripathi, Raghav (RC-GB DI S SAC TPE P)" userId="757b936f-4df2-4dc9-b9eb-097e32763b37" providerId="ADAL" clId="{D0CEDD45-5A7E-4DBE-ACB5-1803E40B524F}" dt="2025-10-15T12:48:03.987" v="646" actId="47"/>
        <pc:sldMkLst>
          <pc:docMk/>
          <pc:sldMk cId="3850505842" sldId="279"/>
        </pc:sldMkLst>
      </pc:sldChg>
      <pc:sldChg chg="modNotesTx">
        <pc:chgData name="Tripathi, Raghav (RC-GB DI S SAC TPE P)" userId="757b936f-4df2-4dc9-b9eb-097e32763b37" providerId="ADAL" clId="{D0CEDD45-5A7E-4DBE-ACB5-1803E40B524F}" dt="2025-10-15T12:35:38.818" v="458" actId="20577"/>
        <pc:sldMkLst>
          <pc:docMk/>
          <pc:sldMk cId="2924177040" sldId="280"/>
        </pc:sldMkLst>
      </pc:sldChg>
      <pc:sldChg chg="modSp mod modNotesTx">
        <pc:chgData name="Tripathi, Raghav (RC-GB DI S SAC TPE P)" userId="757b936f-4df2-4dc9-b9eb-097e32763b37" providerId="ADAL" clId="{D0CEDD45-5A7E-4DBE-ACB5-1803E40B524F}" dt="2025-10-15T10:34:46.759" v="392" actId="20577"/>
        <pc:sldMkLst>
          <pc:docMk/>
          <pc:sldMk cId="327241599" sldId="282"/>
        </pc:sldMkLst>
        <pc:spChg chg="mod">
          <ac:chgData name="Tripathi, Raghav (RC-GB DI S SAC TPE P)" userId="757b936f-4df2-4dc9-b9eb-097e32763b37" providerId="ADAL" clId="{D0CEDD45-5A7E-4DBE-ACB5-1803E40B524F}" dt="2025-10-13T10:17:07.785" v="232" actId="1076"/>
          <ac:spMkLst>
            <pc:docMk/>
            <pc:sldMk cId="327241599" sldId="282"/>
            <ac:spMk id="6" creationId="{4D8FC5A7-A8F5-AA47-B85A-2EC296E24C89}"/>
          </ac:spMkLst>
        </pc:spChg>
      </pc:sldChg>
      <pc:sldChg chg="del">
        <pc:chgData name="Tripathi, Raghav (RC-GB DI S SAC TPE P)" userId="757b936f-4df2-4dc9-b9eb-097e32763b37" providerId="ADAL" clId="{D0CEDD45-5A7E-4DBE-ACB5-1803E40B524F}" dt="2025-10-15T12:48:32.102" v="656" actId="47"/>
        <pc:sldMkLst>
          <pc:docMk/>
          <pc:sldMk cId="2189521067" sldId="283"/>
        </pc:sldMkLst>
      </pc:sldChg>
      <pc:sldChg chg="ord">
        <pc:chgData name="Tripathi, Raghav (RC-GB DI S SAC TPE P)" userId="757b936f-4df2-4dc9-b9eb-097e32763b37" providerId="ADAL" clId="{D0CEDD45-5A7E-4DBE-ACB5-1803E40B524F}" dt="2025-10-15T13:02:57.643" v="696"/>
        <pc:sldMkLst>
          <pc:docMk/>
          <pc:sldMk cId="2890050479" sldId="285"/>
        </pc:sldMkLst>
      </pc:sldChg>
      <pc:sldChg chg="del">
        <pc:chgData name="Tripathi, Raghav (RC-GB DI S SAC TPE P)" userId="757b936f-4df2-4dc9-b9eb-097e32763b37" providerId="ADAL" clId="{D0CEDD45-5A7E-4DBE-ACB5-1803E40B524F}" dt="2025-10-15T12:48:25.858" v="654" actId="47"/>
        <pc:sldMkLst>
          <pc:docMk/>
          <pc:sldMk cId="3945818374" sldId="287"/>
        </pc:sldMkLst>
      </pc:sldChg>
      <pc:sldChg chg="del">
        <pc:chgData name="Tripathi, Raghav (RC-GB DI S SAC TPE P)" userId="757b936f-4df2-4dc9-b9eb-097e32763b37" providerId="ADAL" clId="{D0CEDD45-5A7E-4DBE-ACB5-1803E40B524F}" dt="2025-10-15T12:43:04.207" v="635" actId="47"/>
        <pc:sldMkLst>
          <pc:docMk/>
          <pc:sldMk cId="397431834" sldId="288"/>
        </pc:sldMkLst>
      </pc:sldChg>
      <pc:sldChg chg="del">
        <pc:chgData name="Tripathi, Raghav (RC-GB DI S SAC TPE P)" userId="757b936f-4df2-4dc9-b9eb-097e32763b37" providerId="ADAL" clId="{D0CEDD45-5A7E-4DBE-ACB5-1803E40B524F}" dt="2025-10-15T12:48:12.605" v="649" actId="47"/>
        <pc:sldMkLst>
          <pc:docMk/>
          <pc:sldMk cId="2137136929" sldId="289"/>
        </pc:sldMkLst>
      </pc:sldChg>
      <pc:sldChg chg="del">
        <pc:chgData name="Tripathi, Raghav (RC-GB DI S SAC TPE P)" userId="757b936f-4df2-4dc9-b9eb-097e32763b37" providerId="ADAL" clId="{D0CEDD45-5A7E-4DBE-ACB5-1803E40B524F}" dt="2025-10-15T12:48:33.100" v="657" actId="47"/>
        <pc:sldMkLst>
          <pc:docMk/>
          <pc:sldMk cId="1320324523" sldId="290"/>
        </pc:sldMkLst>
      </pc:sldChg>
      <pc:sldChg chg="modNotesTx">
        <pc:chgData name="Tripathi, Raghav (RC-GB DI S SAC TPE P)" userId="757b936f-4df2-4dc9-b9eb-097e32763b37" providerId="ADAL" clId="{D0CEDD45-5A7E-4DBE-ACB5-1803E40B524F}" dt="2025-10-15T12:36:45.342" v="480" actId="20577"/>
        <pc:sldMkLst>
          <pc:docMk/>
          <pc:sldMk cId="1727496912" sldId="291"/>
        </pc:sldMkLst>
      </pc:sldChg>
      <pc:sldChg chg="del">
        <pc:chgData name="Tripathi, Raghav (RC-GB DI S SAC TPE P)" userId="757b936f-4df2-4dc9-b9eb-097e32763b37" providerId="ADAL" clId="{D0CEDD45-5A7E-4DBE-ACB5-1803E40B524F}" dt="2025-10-15T12:46:07.753" v="639" actId="47"/>
        <pc:sldMkLst>
          <pc:docMk/>
          <pc:sldMk cId="1109914743" sldId="292"/>
        </pc:sldMkLst>
      </pc:sldChg>
      <pc:sldChg chg="del">
        <pc:chgData name="Tripathi, Raghav (RC-GB DI S SAC TPE P)" userId="757b936f-4df2-4dc9-b9eb-097e32763b37" providerId="ADAL" clId="{D0CEDD45-5A7E-4DBE-ACB5-1803E40B524F}" dt="2025-10-15T12:45:18.896" v="638" actId="47"/>
        <pc:sldMkLst>
          <pc:docMk/>
          <pc:sldMk cId="3705284993" sldId="298"/>
        </pc:sldMkLst>
      </pc:sldChg>
      <pc:sldChg chg="del">
        <pc:chgData name="Tripathi, Raghav (RC-GB DI S SAC TPE P)" userId="757b936f-4df2-4dc9-b9eb-097e32763b37" providerId="ADAL" clId="{D0CEDD45-5A7E-4DBE-ACB5-1803E40B524F}" dt="2025-10-15T13:04:26.550" v="697" actId="47"/>
        <pc:sldMkLst>
          <pc:docMk/>
          <pc:sldMk cId="1163552751" sldId="302"/>
        </pc:sldMkLst>
      </pc:sldChg>
      <pc:sldChg chg="del">
        <pc:chgData name="Tripathi, Raghav (RC-GB DI S SAC TPE P)" userId="757b936f-4df2-4dc9-b9eb-097e32763b37" providerId="ADAL" clId="{D0CEDD45-5A7E-4DBE-ACB5-1803E40B524F}" dt="2025-10-15T12:45:12.196" v="637" actId="47"/>
        <pc:sldMkLst>
          <pc:docMk/>
          <pc:sldMk cId="760528693" sldId="303"/>
        </pc:sldMkLst>
      </pc:sldChg>
      <pc:sldChg chg="del">
        <pc:chgData name="Tripathi, Raghav (RC-GB DI S SAC TPE P)" userId="757b936f-4df2-4dc9-b9eb-097e32763b37" providerId="ADAL" clId="{D0CEDD45-5A7E-4DBE-ACB5-1803E40B524F}" dt="2025-10-13T10:09:35.884" v="230" actId="47"/>
        <pc:sldMkLst>
          <pc:docMk/>
          <pc:sldMk cId="3315472301" sldId="305"/>
        </pc:sldMkLst>
      </pc:sldChg>
      <pc:sldChg chg="del">
        <pc:chgData name="Tripathi, Raghav (RC-GB DI S SAC TPE P)" userId="757b936f-4df2-4dc9-b9eb-097e32763b37" providerId="ADAL" clId="{D0CEDD45-5A7E-4DBE-ACB5-1803E40B524F}" dt="2025-10-13T10:37:04.361" v="248" actId="47"/>
        <pc:sldMkLst>
          <pc:docMk/>
          <pc:sldMk cId="1885594124" sldId="306"/>
        </pc:sldMkLst>
      </pc:sldChg>
      <pc:sldChg chg="del">
        <pc:chgData name="Tripathi, Raghav (RC-GB DI S SAC TPE P)" userId="757b936f-4df2-4dc9-b9eb-097e32763b37" providerId="ADAL" clId="{D0CEDD45-5A7E-4DBE-ACB5-1803E40B524F}" dt="2025-10-15T12:48:15.069" v="650" actId="47"/>
        <pc:sldMkLst>
          <pc:docMk/>
          <pc:sldMk cId="1823259931" sldId="309"/>
        </pc:sldMkLst>
      </pc:sldChg>
      <pc:sldChg chg="del">
        <pc:chgData name="Tripathi, Raghav (RC-GB DI S SAC TPE P)" userId="757b936f-4df2-4dc9-b9eb-097e32763b37" providerId="ADAL" clId="{D0CEDD45-5A7E-4DBE-ACB5-1803E40B524F}" dt="2025-10-15T12:48:17.368" v="651" actId="47"/>
        <pc:sldMkLst>
          <pc:docMk/>
          <pc:sldMk cId="2483116302" sldId="310"/>
        </pc:sldMkLst>
      </pc:sldChg>
      <pc:sldChg chg="del">
        <pc:chgData name="Tripathi, Raghav (RC-GB DI S SAC TPE P)" userId="757b936f-4df2-4dc9-b9eb-097e32763b37" providerId="ADAL" clId="{D0CEDD45-5A7E-4DBE-ACB5-1803E40B524F}" dt="2025-10-15T12:43:52.895" v="636" actId="47"/>
        <pc:sldMkLst>
          <pc:docMk/>
          <pc:sldMk cId="1896892929" sldId="1311"/>
        </pc:sldMkLst>
      </pc:sldChg>
      <pc:sldChg chg="add ord modNotesTx">
        <pc:chgData name="Tripathi, Raghav (RC-GB DI S SAC TPE P)" userId="757b936f-4df2-4dc9-b9eb-097e32763b37" providerId="ADAL" clId="{D0CEDD45-5A7E-4DBE-ACB5-1803E40B524F}" dt="2025-10-15T13:02:20.357" v="686"/>
        <pc:sldMkLst>
          <pc:docMk/>
          <pc:sldMk cId="2513176293" sldId="2147483163"/>
        </pc:sldMkLst>
      </pc:sldChg>
      <pc:sldChg chg="del">
        <pc:chgData name="Tripathi, Raghav (RC-GB DI S SAC TPE P)" userId="757b936f-4df2-4dc9-b9eb-097e32763b37" providerId="ADAL" clId="{D0CEDD45-5A7E-4DBE-ACB5-1803E40B524F}" dt="2025-10-15T12:48:10.076" v="648" actId="47"/>
        <pc:sldMkLst>
          <pc:docMk/>
          <pc:sldMk cId="1219375288" sldId="2147483377"/>
        </pc:sldMkLst>
      </pc:sldChg>
      <pc:sldChg chg="add ord modNotesTx">
        <pc:chgData name="Tripathi, Raghav (RC-GB DI S SAC TPE P)" userId="757b936f-4df2-4dc9-b9eb-097e32763b37" providerId="ADAL" clId="{D0CEDD45-5A7E-4DBE-ACB5-1803E40B524F}" dt="2025-10-15T13:02:22.424" v="688"/>
        <pc:sldMkLst>
          <pc:docMk/>
          <pc:sldMk cId="4080730745" sldId="2147483508"/>
        </pc:sldMkLst>
      </pc:sldChg>
      <pc:sldChg chg="del">
        <pc:chgData name="Tripathi, Raghav (RC-GB DI S SAC TPE P)" userId="757b936f-4df2-4dc9-b9eb-097e32763b37" providerId="ADAL" clId="{D0CEDD45-5A7E-4DBE-ACB5-1803E40B524F}" dt="2025-10-15T12:48:24.579" v="653" actId="47"/>
        <pc:sldMkLst>
          <pc:docMk/>
          <pc:sldMk cId="3690099254" sldId="2147483623"/>
        </pc:sldMkLst>
      </pc:sldChg>
      <pc:sldChg chg="del">
        <pc:chgData name="Tripathi, Raghav (RC-GB DI S SAC TPE P)" userId="757b936f-4df2-4dc9-b9eb-097e32763b37" providerId="ADAL" clId="{D0CEDD45-5A7E-4DBE-ACB5-1803E40B524F}" dt="2025-10-15T12:48:22.650" v="652" actId="47"/>
        <pc:sldMkLst>
          <pc:docMk/>
          <pc:sldMk cId="3099010774" sldId="2147483643"/>
        </pc:sldMkLst>
      </pc:sldChg>
      <pc:sldChg chg="del">
        <pc:chgData name="Tripathi, Raghav (RC-GB DI S SAC TPE P)" userId="757b936f-4df2-4dc9-b9eb-097e32763b37" providerId="ADAL" clId="{D0CEDD45-5A7E-4DBE-ACB5-1803E40B524F}" dt="2025-10-15T12:47:05.328" v="640" actId="47"/>
        <pc:sldMkLst>
          <pc:docMk/>
          <pc:sldMk cId="4140594964" sldId="2147483646"/>
        </pc:sldMkLst>
      </pc:sldChg>
      <pc:sldChg chg="ord">
        <pc:chgData name="Tripathi, Raghav (RC-GB DI S SAC TPE P)" userId="757b936f-4df2-4dc9-b9eb-097e32763b37" providerId="ADAL" clId="{D0CEDD45-5A7E-4DBE-ACB5-1803E40B524F}" dt="2025-10-15T12:56:20.975" v="681"/>
        <pc:sldMkLst>
          <pc:docMk/>
          <pc:sldMk cId="2543024818" sldId="2147483647"/>
        </pc:sldMkLst>
      </pc:sldChg>
      <pc:sldMasterChg chg="delSldLayout">
        <pc:chgData name="Tripathi, Raghav (RC-GB DI S SAC TPE P)" userId="757b936f-4df2-4dc9-b9eb-097e32763b37" providerId="ADAL" clId="{D0CEDD45-5A7E-4DBE-ACB5-1803E40B524F}" dt="2025-10-15T12:48:10.076" v="648" actId="47"/>
        <pc:sldMasterMkLst>
          <pc:docMk/>
          <pc:sldMasterMk cId="1698585145" sldId="2147483648"/>
        </pc:sldMasterMkLst>
        <pc:sldLayoutChg chg="del">
          <pc:chgData name="Tripathi, Raghav (RC-GB DI S SAC TPE P)" userId="757b936f-4df2-4dc9-b9eb-097e32763b37" providerId="ADAL" clId="{D0CEDD45-5A7E-4DBE-ACB5-1803E40B524F}" dt="2025-10-15T12:48:10.076" v="648" actId="47"/>
          <pc:sldLayoutMkLst>
            <pc:docMk/>
            <pc:sldMasterMk cId="1698585145" sldId="2147483648"/>
            <pc:sldLayoutMk cId="2185709816" sldId="2147483800"/>
          </pc:sldLayoutMkLst>
        </pc:sldLayoutChg>
      </pc:sldMasterChg>
    </pc:docChg>
  </pc:docChgLst>
  <pc:docChgLst>
    <pc:chgData name="Tripathi, Raghav (RC-GB DI S SAC TPE P)" userId="757b936f-4df2-4dc9-b9eb-097e32763b37" providerId="ADAL" clId="{3666DE4D-8F7A-4539-ABE9-239EABD60EAC}"/>
    <pc:docChg chg="delSld modSld delSection modSection">
      <pc:chgData name="Tripathi, Raghav (RC-GB DI S SAC TPE P)" userId="757b936f-4df2-4dc9-b9eb-097e32763b37" providerId="ADAL" clId="{3666DE4D-8F7A-4539-ABE9-239EABD60EAC}" dt="2025-10-16T11:11:40.180" v="20" actId="17851"/>
      <pc:docMkLst>
        <pc:docMk/>
      </pc:docMkLst>
      <pc:sldChg chg="modNotesTx">
        <pc:chgData name="Tripathi, Raghav (RC-GB DI S SAC TPE P)" userId="757b936f-4df2-4dc9-b9eb-097e32763b37" providerId="ADAL" clId="{3666DE4D-8F7A-4539-ABE9-239EABD60EAC}" dt="2025-10-16T11:09:28.091" v="15" actId="6549"/>
        <pc:sldMkLst>
          <pc:docMk/>
          <pc:sldMk cId="3487944763" sldId="256"/>
        </pc:sldMkLst>
      </pc:sldChg>
      <pc:sldChg chg="modNotesTx">
        <pc:chgData name="Tripathi, Raghav (RC-GB DI S SAC TPE P)" userId="757b936f-4df2-4dc9-b9eb-097e32763b37" providerId="ADAL" clId="{3666DE4D-8F7A-4539-ABE9-239EABD60EAC}" dt="2025-10-16T11:02:11.061" v="0" actId="20577"/>
        <pc:sldMkLst>
          <pc:docMk/>
          <pc:sldMk cId="155755766" sldId="257"/>
        </pc:sldMkLst>
      </pc:sldChg>
      <pc:sldChg chg="modNotesTx">
        <pc:chgData name="Tripathi, Raghav (RC-GB DI S SAC TPE P)" userId="757b936f-4df2-4dc9-b9eb-097e32763b37" providerId="ADAL" clId="{3666DE4D-8F7A-4539-ABE9-239EABD60EAC}" dt="2025-10-16T11:02:18.340" v="1" actId="6549"/>
        <pc:sldMkLst>
          <pc:docMk/>
          <pc:sldMk cId="232439791" sldId="259"/>
        </pc:sldMkLst>
      </pc:sldChg>
      <pc:sldChg chg="modNotesTx">
        <pc:chgData name="Tripathi, Raghav (RC-GB DI S SAC TPE P)" userId="757b936f-4df2-4dc9-b9eb-097e32763b37" providerId="ADAL" clId="{3666DE4D-8F7A-4539-ABE9-239EABD60EAC}" dt="2025-10-16T11:08:02.743" v="11" actId="6549"/>
        <pc:sldMkLst>
          <pc:docMk/>
          <pc:sldMk cId="897867507" sldId="266"/>
        </pc:sldMkLst>
      </pc:sldChg>
      <pc:sldChg chg="modNotesTx">
        <pc:chgData name="Tripathi, Raghav (RC-GB DI S SAC TPE P)" userId="757b936f-4df2-4dc9-b9eb-097e32763b37" providerId="ADAL" clId="{3666DE4D-8F7A-4539-ABE9-239EABD60EAC}" dt="2025-10-16T11:09:47.887" v="17" actId="6549"/>
        <pc:sldMkLst>
          <pc:docMk/>
          <pc:sldMk cId="3834621108" sldId="267"/>
        </pc:sldMkLst>
      </pc:sldChg>
      <pc:sldChg chg="modNotesTx">
        <pc:chgData name="Tripathi, Raghav (RC-GB DI S SAC TPE P)" userId="757b936f-4df2-4dc9-b9eb-097e32763b37" providerId="ADAL" clId="{3666DE4D-8F7A-4539-ABE9-239EABD60EAC}" dt="2025-10-16T11:06:53.837" v="8" actId="6549"/>
        <pc:sldMkLst>
          <pc:docMk/>
          <pc:sldMk cId="4189315366" sldId="268"/>
        </pc:sldMkLst>
      </pc:sldChg>
      <pc:sldChg chg="modNotesTx">
        <pc:chgData name="Tripathi, Raghav (RC-GB DI S SAC TPE P)" userId="757b936f-4df2-4dc9-b9eb-097e32763b37" providerId="ADAL" clId="{3666DE4D-8F7A-4539-ABE9-239EABD60EAC}" dt="2025-10-16T11:07:21.518" v="9" actId="20577"/>
        <pc:sldMkLst>
          <pc:docMk/>
          <pc:sldMk cId="1856669522" sldId="269"/>
        </pc:sldMkLst>
      </pc:sldChg>
      <pc:sldChg chg="del">
        <pc:chgData name="Tripathi, Raghav (RC-GB DI S SAC TPE P)" userId="757b936f-4df2-4dc9-b9eb-097e32763b37" providerId="ADAL" clId="{3666DE4D-8F7A-4539-ABE9-239EABD60EAC}" dt="2025-10-16T11:11:33.915" v="19" actId="47"/>
        <pc:sldMkLst>
          <pc:docMk/>
          <pc:sldMk cId="3256092848" sldId="273"/>
        </pc:sldMkLst>
      </pc:sldChg>
      <pc:sldChg chg="modNotesTx">
        <pc:chgData name="Tripathi, Raghav (RC-GB DI S SAC TPE P)" userId="757b936f-4df2-4dc9-b9eb-097e32763b37" providerId="ADAL" clId="{3666DE4D-8F7A-4539-ABE9-239EABD60EAC}" dt="2025-10-16T11:08:39.047" v="13" actId="6549"/>
        <pc:sldMkLst>
          <pc:docMk/>
          <pc:sldMk cId="2415920522" sldId="275"/>
        </pc:sldMkLst>
      </pc:sldChg>
      <pc:sldChg chg="modNotesTx">
        <pc:chgData name="Tripathi, Raghav (RC-GB DI S SAC TPE P)" userId="757b936f-4df2-4dc9-b9eb-097e32763b37" providerId="ADAL" clId="{3666DE4D-8F7A-4539-ABE9-239EABD60EAC}" dt="2025-10-16T11:10:09.045" v="18" actId="6549"/>
        <pc:sldMkLst>
          <pc:docMk/>
          <pc:sldMk cId="3594081320" sldId="276"/>
        </pc:sldMkLst>
      </pc:sldChg>
      <pc:sldChg chg="modNotesTx">
        <pc:chgData name="Tripathi, Raghav (RC-GB DI S SAC TPE P)" userId="757b936f-4df2-4dc9-b9eb-097e32763b37" providerId="ADAL" clId="{3666DE4D-8F7A-4539-ABE9-239EABD60EAC}" dt="2025-10-16T11:04:32.284" v="6" actId="6549"/>
        <pc:sldMkLst>
          <pc:docMk/>
          <pc:sldMk cId="2924177040" sldId="280"/>
        </pc:sldMkLst>
      </pc:sldChg>
      <pc:sldChg chg="modNotesTx">
        <pc:chgData name="Tripathi, Raghav (RC-GB DI S SAC TPE P)" userId="757b936f-4df2-4dc9-b9eb-097e32763b37" providerId="ADAL" clId="{3666DE4D-8F7A-4539-ABE9-239EABD60EAC}" dt="2025-10-16T11:08:24.579" v="12" actId="6549"/>
        <pc:sldMkLst>
          <pc:docMk/>
          <pc:sldMk cId="746823651" sldId="281"/>
        </pc:sldMkLst>
      </pc:sldChg>
      <pc:sldChg chg="modNotesTx">
        <pc:chgData name="Tripathi, Raghav (RC-GB DI S SAC TPE P)" userId="757b936f-4df2-4dc9-b9eb-097e32763b37" providerId="ADAL" clId="{3666DE4D-8F7A-4539-ABE9-239EABD60EAC}" dt="2025-10-16T11:03:21.260" v="3" actId="6549"/>
        <pc:sldMkLst>
          <pc:docMk/>
          <pc:sldMk cId="327241599" sldId="282"/>
        </pc:sldMkLst>
      </pc:sldChg>
      <pc:sldChg chg="modNotesTx">
        <pc:chgData name="Tripathi, Raghav (RC-GB DI S SAC TPE P)" userId="757b936f-4df2-4dc9-b9eb-097e32763b37" providerId="ADAL" clId="{3666DE4D-8F7A-4539-ABE9-239EABD60EAC}" dt="2025-10-16T11:07:36.070" v="10" actId="6549"/>
        <pc:sldMkLst>
          <pc:docMk/>
          <pc:sldMk cId="2890050479" sldId="285"/>
        </pc:sldMkLst>
      </pc:sldChg>
      <pc:sldChg chg="modNotesTx">
        <pc:chgData name="Tripathi, Raghav (RC-GB DI S SAC TPE P)" userId="757b936f-4df2-4dc9-b9eb-097e32763b37" providerId="ADAL" clId="{3666DE4D-8F7A-4539-ABE9-239EABD60EAC}" dt="2025-10-16T11:09:08.732" v="14" actId="6549"/>
        <pc:sldMkLst>
          <pc:docMk/>
          <pc:sldMk cId="1856916436" sldId="286"/>
        </pc:sldMkLst>
      </pc:sldChg>
      <pc:sldChg chg="modNotesTx">
        <pc:chgData name="Tripathi, Raghav (RC-GB DI S SAC TPE P)" userId="757b936f-4df2-4dc9-b9eb-097e32763b37" providerId="ADAL" clId="{3666DE4D-8F7A-4539-ABE9-239EABD60EAC}" dt="2025-10-16T11:06:33.610" v="7" actId="6549"/>
        <pc:sldMkLst>
          <pc:docMk/>
          <pc:sldMk cId="1727496912" sldId="291"/>
        </pc:sldMkLst>
      </pc:sldChg>
      <pc:sldChg chg="modNotesTx">
        <pc:chgData name="Tripathi, Raghav (RC-GB DI S SAC TPE P)" userId="757b936f-4df2-4dc9-b9eb-097e32763b37" providerId="ADAL" clId="{3666DE4D-8F7A-4539-ABE9-239EABD60EAC}" dt="2025-10-16T11:02:43.407" v="2" actId="6549"/>
        <pc:sldMkLst>
          <pc:docMk/>
          <pc:sldMk cId="1197342444" sldId="293"/>
        </pc:sldMkLst>
      </pc:sldChg>
      <pc:sldChg chg="modNotesTx">
        <pc:chgData name="Tripathi, Raghav (RC-GB DI S SAC TPE P)" userId="757b936f-4df2-4dc9-b9eb-097e32763b37" providerId="ADAL" clId="{3666DE4D-8F7A-4539-ABE9-239EABD60EAC}" dt="2025-10-16T11:03:28.880" v="4" actId="6549"/>
        <pc:sldMkLst>
          <pc:docMk/>
          <pc:sldMk cId="2513176293" sldId="2147483163"/>
        </pc:sldMkLst>
      </pc:sldChg>
      <pc:sldChg chg="modNotesTx">
        <pc:chgData name="Tripathi, Raghav (RC-GB DI S SAC TPE P)" userId="757b936f-4df2-4dc9-b9eb-097e32763b37" providerId="ADAL" clId="{3666DE4D-8F7A-4539-ABE9-239EABD60EAC}" dt="2025-10-16T11:04:16.580" v="5" actId="6549"/>
        <pc:sldMkLst>
          <pc:docMk/>
          <pc:sldMk cId="4080730745" sldId="2147483508"/>
        </pc:sldMkLst>
      </pc:sldChg>
      <pc:sldChg chg="modNotesTx">
        <pc:chgData name="Tripathi, Raghav (RC-GB DI S SAC TPE P)" userId="757b936f-4df2-4dc9-b9eb-097e32763b37" providerId="ADAL" clId="{3666DE4D-8F7A-4539-ABE9-239EABD60EAC}" dt="2025-10-16T11:09:34.463" v="16" actId="6549"/>
        <pc:sldMkLst>
          <pc:docMk/>
          <pc:sldMk cId="2543024818" sldId="2147483647"/>
        </pc:sldMkLst>
      </pc:sldChg>
    </pc:docChg>
  </pc:docChgLst>
</pc:chgInfo>
</file>

<file path=ppt/comments/modernComment_10A_35845EF3.xml><?xml version="1.0" encoding="utf-8"?>
<p188:cmLst xmlns:a="http://schemas.openxmlformats.org/drawingml/2006/main" xmlns:r="http://schemas.openxmlformats.org/officeDocument/2006/relationships" xmlns:p188="http://schemas.microsoft.com/office/powerpoint/2018/8/main">
  <p188:cm id="{F0BE2017-9A36-42AD-AF31-B3BB43BE328F}" authorId="{9366F8EB-8D3A-6FC0-661F-3341CE4C43BA}" status="resolved" created="2025-07-14T19:23:29.417" startDate="2025-07-14T19:23:29.417" dueDate="2025-07-14T19:23:29.417" assignedTo="{2CCEB8F7-8794-7D6D-C211-A35C5375BABB}" complete="100000" title="@Muser, Stephan (DI PA AE ST&amp;T ST) TÜV Label?">
    <ac:txMkLst xmlns:ac="http://schemas.microsoft.com/office/drawing/2013/main/command">
      <pc:docMk xmlns:pc="http://schemas.microsoft.com/office/powerpoint/2013/main/command"/>
      <pc:sldMk xmlns:pc="http://schemas.microsoft.com/office/powerpoint/2013/main/command" cId="897867507" sldId="266"/>
      <ac:spMk id="46" creationId="{EF5592AB-4FF1-EDD9-0A0F-6A2F43A9E506}"/>
      <ac:txMk cp="0" len="28">
        <ac:context len="51" hash="14617148"/>
      </ac:txMk>
    </ac:txMkLst>
    <p188:pos x="2790510" y="292688"/>
    <p188:txBody>
      <a:bodyPr/>
      <a:lstStyle/>
      <a:p>
        <a:r>
          <a:rPr lang="de-DE"/>
          <a:t>[@Muser, Stephan (DI PA AE ST&amp;T ST)]  TÜV Label?</a:t>
        </a:r>
      </a:p>
    </p188:txBody>
    <p188:extLst>
      <p:ext xmlns:p="http://schemas.openxmlformats.org/presentationml/2006/main" uri="{5BB2D875-25FF-4072-B9AC-8F64D62656EB}">
        <p228:taskDetails xmlns:p228="http://schemas.microsoft.com/office/powerpoint/2022/08/main">
          <p228:history>
            <p228:event time="2025-07-14T19:23:29.417" id="{23E3EA4B-E080-4F4A-8579-F035B246D000}">
              <p228:atrbtn authorId="{9366F8EB-8D3A-6FC0-661F-3341CE4C43BA}"/>
              <p228:anchr>
                <p228:comment id="{F0BE2017-9A36-42AD-AF31-B3BB43BE328F}"/>
              </p228:anchr>
              <p228:add/>
            </p228:event>
            <p228:event time="2025-07-14T19:23:29.417" id="{F9C964B8-4C5B-44CA-AD22-F27C7292BD49}">
              <p228:atrbtn authorId="{9366F8EB-8D3A-6FC0-661F-3341CE4C43BA}"/>
              <p228:anchr>
                <p228:comment id="{F0BE2017-9A36-42AD-AF31-B3BB43BE328F}"/>
              </p228:anchr>
              <p228:asgn authorId="{2CCEB8F7-8794-7D6D-C211-A35C5375BABB}"/>
            </p228:event>
            <p228:event time="2025-07-14T19:23:29.417" id="{45403488-BDC4-44D7-83B9-3055369384E2}">
              <p228:atrbtn authorId="{9366F8EB-8D3A-6FC0-661F-3341CE4C43BA}"/>
              <p228:anchr>
                <p228:comment id="{F0BE2017-9A36-42AD-AF31-B3BB43BE328F}"/>
              </p228:anchr>
              <p228:title val="@Muser, Stephan (DI PA AE ST&amp;T ST) TÜV Label?"/>
            </p228:event>
            <p228:event time="2025-07-14T19:23:29.417" id="{590FF538-A883-4D6E-8606-0496EB48069D}">
              <p228:atrbtn authorId="{9366F8EB-8D3A-6FC0-661F-3341CE4C43BA}"/>
              <p228:anchr>
                <p228:comment id="{F0BE2017-9A36-42AD-AF31-B3BB43BE328F}"/>
              </p228:anchr>
              <p228:date stDt="2025-07-14T19:23:29.417" endDt="2025-07-14T19:23:29.417"/>
            </p228:event>
            <p228:event time="2025-07-15T07:11:13.991" id="{F798B066-4BC8-4596-98B3-116EAC371180}">
              <p228:atrbtn authorId="{2CCEB8F7-8794-7D6D-C211-A35C5375BABB}"/>
              <p228:anchr>
                <p228:comment id="{00000000-0000-0000-0000-000000000000}"/>
              </p228:anchr>
              <p228:pcntCmplt val="100000"/>
            </p228:event>
          </p228:history>
        </p228:taskDetails>
      </p:ext>
    </p188:extLst>
  </p188:cm>
</p188:cmLst>
</file>

<file path=ppt/handoutMasters/_rels/handoutMaster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a:solidFill>
                <a:schemeClr val="tx2"/>
              </a:solidFill>
              <a:latin typeface="+mn-lt"/>
            </a:endParaRPr>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solidFill>
                  <a:schemeClr val="tx2"/>
                </a:solidFill>
                <a:latin typeface="+mn-lt"/>
              </a:rPr>
              <a:t>10/16/2025</a:t>
            </a:fld>
            <a:endParaRPr lang="en-US" sz="1050">
              <a:solidFill>
                <a:schemeClr val="tx2"/>
              </a:solidFill>
              <a:latin typeface="+mn-lt"/>
            </a:endParaRPr>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a:solidFill>
                <a:schemeClr val="tx2"/>
              </a:solidFill>
              <a:latin typeface="+mn-lt"/>
            </a:endParaRPr>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a:solidFill>
                  <a:schemeClr val="accent2"/>
                </a:solidFill>
                <a:latin typeface="+mn-lt"/>
              </a:rPr>
              <a:t>Hand out</a:t>
            </a:r>
            <a:r>
              <a:rPr lang="en-US" sz="1050">
                <a:solidFill>
                  <a:schemeClr val="accent2"/>
                </a:solidFill>
                <a:latin typeface="+mn-lt"/>
              </a:rPr>
              <a:t> </a:t>
            </a:r>
            <a:fld id="{C92BABF8-1341-4DCB-864A-D83C08BEEAE4}" type="slidenum">
              <a:rPr lang="en-US" sz="1050" smtClean="0">
                <a:solidFill>
                  <a:schemeClr val="tx2"/>
                </a:solidFill>
                <a:latin typeface="+mn-lt"/>
              </a:rPr>
              <a:t>‹#›</a:t>
            </a:fld>
            <a:endParaRPr lang="en-US" sz="1050">
              <a:solidFill>
                <a:schemeClr val="tx2"/>
              </a:solidFill>
              <a:latin typeface="+mn-lt"/>
            </a:endParaRPr>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solidFill>
                  <a:schemeClr val="tx2"/>
                </a:solidFill>
              </a:defRPr>
            </a:lvl1pPr>
          </a:lstStyle>
          <a:p>
            <a:endParaRPr lang="en-US"/>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solidFill>
                  <a:schemeClr val="tx2"/>
                </a:solidFill>
              </a:defRPr>
            </a:lvl1pPr>
          </a:lstStyle>
          <a:p>
            <a:fld id="{76FBC1AF-E4C9-412F-9B6D-66CD520F95DB}" type="datetimeFigureOut">
              <a:rPr lang="en-US" smtClean="0"/>
              <a:pPr/>
              <a:t>10/16/2025</a:t>
            </a:fld>
            <a:endParaRPr lang="en-US"/>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solidFill>
                  <a:schemeClr val="tx2"/>
                </a:solidFill>
              </a:defRPr>
            </a:lvl1pPr>
          </a:lstStyle>
          <a:p>
            <a:endParaRPr lang="en-US"/>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a:solidFill>
                  <a:schemeClr val="accent2"/>
                </a:solidFill>
              </a:rPr>
              <a:t>Notes</a:t>
            </a:r>
            <a:r>
              <a:rPr lang="en-US"/>
              <a:t> </a:t>
            </a:r>
            <a:fld id="{E76C657F-0E32-4130-ADDA-66B81138A76A}" type="slidenum">
              <a:rPr lang="en-US" smtClean="0">
                <a:solidFill>
                  <a:schemeClr val="tx2"/>
                </a:solidFill>
              </a:rPr>
              <a:pPr/>
              <a:t>‹#›</a:t>
            </a:fld>
            <a:endParaRPr lang="en-US">
              <a:solidFill>
                <a:schemeClr val="tx2"/>
              </a:solidFill>
            </a:endParaRPr>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a:t>
            </a:fld>
            <a:endParaRPr lang="en-US">
              <a:solidFill>
                <a:schemeClr val="tx2"/>
              </a:solidFill>
            </a:endParaRPr>
          </a:p>
        </p:txBody>
      </p:sp>
    </p:spTree>
    <p:extLst>
      <p:ext uri="{BB962C8B-B14F-4D97-AF65-F5344CB8AC3E}">
        <p14:creationId xmlns:p14="http://schemas.microsoft.com/office/powerpoint/2010/main" val="3915674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8760C-72ED-9CDA-F0D6-68D27BC336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F7056D-95FC-7A01-FC63-97FE838FE6AF}"/>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F37B70ED-4A45-6283-77B0-2C4541916F3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4F19241-FEB0-2B77-67F7-190EA54436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solidFill>
                <a:effectLst/>
                <a:uLnTx/>
                <a:uFillTx/>
                <a:latin typeface="Calibri" panose="020F0502020204030204"/>
                <a:ea typeface="+mn-ea"/>
                <a:cs typeface="+mn-cs"/>
              </a:rPr>
              <a:t>Notes</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fld id="{E76C657F-0E32-4130-ADDA-66B81138A76A}" type="slidenum">
              <a:rPr kumimoji="0" lang="en-US" sz="1200" b="0"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3596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CB698-C20C-2A68-5F39-D9FE310B46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36F675-9456-844C-FFCA-8C01BD3E814E}"/>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3954C3EC-B5FA-28F4-5E20-90E2CC34FB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F463DBA-F8F2-67BC-2664-DA859750B5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solidFill>
                <a:effectLst/>
                <a:uLnTx/>
                <a:uFillTx/>
                <a:latin typeface="Calibri" panose="020F0502020204030204"/>
                <a:ea typeface="+mn-ea"/>
                <a:cs typeface="+mn-cs"/>
              </a:rPr>
              <a:t>Notes</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fld id="{E76C657F-0E32-4130-ADDA-66B81138A76A}" type="slidenum">
              <a:rPr kumimoji="0" lang="en-US" sz="1200" b="0"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1779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157E8-69B4-8FC9-1992-0835611CED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0F8C1-41D9-982D-6AFB-9DE16583FA21}"/>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07F61817-0C96-0CE7-913C-D860977F70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36803AE-3B84-4E6B-0C2A-86A9EDF447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solidFill>
                <a:effectLst/>
                <a:uLnTx/>
                <a:uFillTx/>
                <a:latin typeface="Calibri" panose="020F0502020204030204"/>
                <a:ea typeface="+mn-ea"/>
                <a:cs typeface="+mn-cs"/>
              </a:rPr>
              <a:t>Notes</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fld id="{E76C657F-0E32-4130-ADDA-66B81138A76A}" type="slidenum">
              <a:rPr kumimoji="0" lang="en-US" sz="1200" b="0"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881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DE230-D5DE-9BF1-255B-9F1D00A790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25702-874B-709B-FABB-68126AFFD3F6}"/>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B5EA3621-A5E9-9B01-0352-B688FB3D164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3CD0CA-2B12-CCA9-5DC5-D239BF0C70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solidFill>
                <a:effectLst/>
                <a:uLnTx/>
                <a:uFillTx/>
                <a:latin typeface="Calibri" panose="020F0502020204030204"/>
                <a:ea typeface="+mn-ea"/>
                <a:cs typeface="+mn-cs"/>
              </a:rPr>
              <a:t>Notes</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fld id="{E76C657F-0E32-4130-ADDA-66B81138A76A}" type="slidenum">
              <a:rPr kumimoji="0" lang="en-US" sz="1200" b="0"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150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4</a:t>
            </a:fld>
            <a:endParaRPr lang="en-US">
              <a:solidFill>
                <a:schemeClr val="tx2"/>
              </a:solidFill>
            </a:endParaRPr>
          </a:p>
        </p:txBody>
      </p:sp>
    </p:spTree>
    <p:extLst>
      <p:ext uri="{BB962C8B-B14F-4D97-AF65-F5344CB8AC3E}">
        <p14:creationId xmlns:p14="http://schemas.microsoft.com/office/powerpoint/2010/main" val="19894242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BFF39-B5C6-FC24-7C8B-54B8806327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AA5B5A-5582-5828-AE95-A2FBD581ABE5}"/>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80F23057-00BC-0D2E-9702-C3DE22A2B01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3C415E-E739-C697-B886-12A785FB2C05}"/>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5</a:t>
            </a:fld>
            <a:endParaRPr lang="en-US">
              <a:solidFill>
                <a:schemeClr val="tx2"/>
              </a:solidFill>
            </a:endParaRPr>
          </a:p>
        </p:txBody>
      </p:sp>
    </p:spTree>
    <p:extLst>
      <p:ext uri="{BB962C8B-B14F-4D97-AF65-F5344CB8AC3E}">
        <p14:creationId xmlns:p14="http://schemas.microsoft.com/office/powerpoint/2010/main" val="4827031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C986C-9709-DC0B-878D-85FC60AC3FB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F18D2C3-FDAC-3094-A4E4-2C3C78F62438}"/>
              </a:ext>
            </a:extLst>
          </p:cNvPr>
          <p:cNvSpPr>
            <a:spLocks noGrp="1" noRot="1" noChangeAspect="1"/>
          </p:cNvSpPr>
          <p:nvPr>
            <p:ph type="sldImg"/>
          </p:nvPr>
        </p:nvSpPr>
        <p:spPr>
          <a:xfrm>
            <a:off x="406400" y="619125"/>
            <a:ext cx="6048375" cy="3402013"/>
          </a:xfrm>
        </p:spPr>
      </p:sp>
      <p:sp>
        <p:nvSpPr>
          <p:cNvPr id="3" name="Notizenplatzhalter 2">
            <a:extLst>
              <a:ext uri="{FF2B5EF4-FFF2-40B4-BE49-F238E27FC236}">
                <a16:creationId xmlns:a16="http://schemas.microsoft.com/office/drawing/2014/main" id="{0DDC1C1F-CA54-2C9E-6AD6-002BC2C90526}"/>
              </a:ext>
            </a:extLst>
          </p:cNvPr>
          <p:cNvSpPr>
            <a:spLocks noGrp="1"/>
          </p:cNvSpPr>
          <p:nvPr>
            <p:ph type="body" idx="1"/>
          </p:nvPr>
        </p:nvSpPr>
        <p:spPr/>
        <p:txBody>
          <a:bodyPr/>
          <a:lstStyle/>
          <a:p>
            <a:endParaRPr lang="en-US">
              <a:ea typeface="Calibri"/>
              <a:cs typeface="Calibri"/>
            </a:endParaRPr>
          </a:p>
        </p:txBody>
      </p:sp>
      <p:sp>
        <p:nvSpPr>
          <p:cNvPr id="4" name="Foliennummernplatzhalter 3">
            <a:extLst>
              <a:ext uri="{FF2B5EF4-FFF2-40B4-BE49-F238E27FC236}">
                <a16:creationId xmlns:a16="http://schemas.microsoft.com/office/drawing/2014/main" id="{8B5298D0-600D-FA7B-E2AC-AA6258B0E5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00D7A0"/>
                </a:solidFill>
                <a:effectLst/>
                <a:uLnTx/>
                <a:uFillTx/>
                <a:latin typeface="Arial"/>
                <a:ea typeface="+mn-ea"/>
                <a:cs typeface="+mn-cs"/>
              </a:rPr>
              <a:t>Notizzettel</a:t>
            </a:r>
            <a:r>
              <a:rPr kumimoji="0" lang="de-DE"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de-DE"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69743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040C2-9797-F33F-A5D2-BD1DD923890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6494C3-67E8-0F64-72B9-85B337443C83}"/>
              </a:ext>
            </a:extLst>
          </p:cNvPr>
          <p:cNvSpPr>
            <a:spLocks noGrp="1" noRot="1" noChangeAspect="1"/>
          </p:cNvSpPr>
          <p:nvPr>
            <p:ph type="sldImg"/>
          </p:nvPr>
        </p:nvSpPr>
        <p:spPr>
          <a:xfrm>
            <a:off x="406400" y="619125"/>
            <a:ext cx="6048375" cy="3402013"/>
          </a:xfrm>
        </p:spPr>
      </p:sp>
      <p:sp>
        <p:nvSpPr>
          <p:cNvPr id="3" name="Notizenplatzhalter 2">
            <a:extLst>
              <a:ext uri="{FF2B5EF4-FFF2-40B4-BE49-F238E27FC236}">
                <a16:creationId xmlns:a16="http://schemas.microsoft.com/office/drawing/2014/main" id="{284F944B-3E2A-E3E5-B4ED-74AED9DD56C1}"/>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764E720A-D002-D5A5-4D2A-7AD00A631F27}"/>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7</a:t>
            </a:fld>
            <a:endParaRPr lang="en-US">
              <a:solidFill>
                <a:schemeClr val="tx2"/>
              </a:solidFill>
            </a:endParaRPr>
          </a:p>
        </p:txBody>
      </p:sp>
    </p:spTree>
    <p:extLst>
      <p:ext uri="{BB962C8B-B14F-4D97-AF65-F5344CB8AC3E}">
        <p14:creationId xmlns:p14="http://schemas.microsoft.com/office/powerpoint/2010/main" val="14755258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49048-C75B-28D3-D150-737128DAC3C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9C9C514-F567-AC54-6535-A779BAF14985}"/>
              </a:ext>
            </a:extLst>
          </p:cNvPr>
          <p:cNvSpPr>
            <a:spLocks noGrp="1" noRot="1" noChangeAspect="1"/>
          </p:cNvSpPr>
          <p:nvPr>
            <p:ph type="sldImg"/>
          </p:nvPr>
        </p:nvSpPr>
        <p:spPr>
          <a:xfrm>
            <a:off x="406400" y="619125"/>
            <a:ext cx="6048375" cy="3402013"/>
          </a:xfrm>
        </p:spPr>
      </p:sp>
      <p:sp>
        <p:nvSpPr>
          <p:cNvPr id="3" name="Notizenplatzhalter 2">
            <a:extLst>
              <a:ext uri="{FF2B5EF4-FFF2-40B4-BE49-F238E27FC236}">
                <a16:creationId xmlns:a16="http://schemas.microsoft.com/office/drawing/2014/main" id="{38B66BED-23C1-36B1-372F-037B49BFCAD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DE8BB64-A6A0-C53E-BFD6-BD63791AADC5}"/>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8</a:t>
            </a:fld>
            <a:endParaRPr lang="en-US">
              <a:solidFill>
                <a:schemeClr val="tx2"/>
              </a:solidFill>
            </a:endParaRPr>
          </a:p>
        </p:txBody>
      </p:sp>
    </p:spTree>
    <p:extLst>
      <p:ext uri="{BB962C8B-B14F-4D97-AF65-F5344CB8AC3E}">
        <p14:creationId xmlns:p14="http://schemas.microsoft.com/office/powerpoint/2010/main" val="520769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9</a:t>
            </a:fld>
            <a:endParaRPr lang="en-US">
              <a:solidFill>
                <a:schemeClr val="tx2"/>
              </a:solidFill>
            </a:endParaRPr>
          </a:p>
        </p:txBody>
      </p:sp>
    </p:spTree>
    <p:extLst>
      <p:ext uri="{BB962C8B-B14F-4D97-AF65-F5344CB8AC3E}">
        <p14:creationId xmlns:p14="http://schemas.microsoft.com/office/powerpoint/2010/main" val="33038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2</a:t>
            </a:fld>
            <a:endParaRPr lang="en-US">
              <a:solidFill>
                <a:schemeClr val="tx2"/>
              </a:solidFill>
            </a:endParaRPr>
          </a:p>
        </p:txBody>
      </p:sp>
    </p:spTree>
    <p:extLst>
      <p:ext uri="{BB962C8B-B14F-4D97-AF65-F5344CB8AC3E}">
        <p14:creationId xmlns:p14="http://schemas.microsoft.com/office/powerpoint/2010/main" val="25794910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73605-9638-7D97-63BF-4DB47D1B0C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6BCD76-4B7E-B704-09BF-9BE8326CD2A9}"/>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27982376-B4C6-2159-A80F-C5798DC15E97}"/>
              </a:ext>
            </a:extLst>
          </p:cNvPr>
          <p:cNvSpPr>
            <a:spLocks noGrp="1"/>
          </p:cNvSpPr>
          <p:nvPr>
            <p:ph type="body" idx="1"/>
          </p:nvPr>
        </p:nvSpPr>
        <p:spPr/>
        <p:txBody>
          <a:bodyPr/>
          <a:lstStyle/>
          <a:p>
            <a:pPr>
              <a:defRPr/>
            </a:pPr>
            <a:endParaRPr lang="de-DE" sz="1200" dirty="0">
              <a:cs typeface="Arial"/>
            </a:endParaRPr>
          </a:p>
        </p:txBody>
      </p:sp>
      <p:sp>
        <p:nvSpPr>
          <p:cNvPr id="4" name="Slide Number Placeholder 3">
            <a:extLst>
              <a:ext uri="{FF2B5EF4-FFF2-40B4-BE49-F238E27FC236}">
                <a16:creationId xmlns:a16="http://schemas.microsoft.com/office/drawing/2014/main" id="{B31B07CB-9805-137F-D757-B2369FFA9999}"/>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20</a:t>
            </a:fld>
            <a:endParaRPr lang="en-US">
              <a:solidFill>
                <a:schemeClr val="tx2"/>
              </a:solidFill>
            </a:endParaRPr>
          </a:p>
        </p:txBody>
      </p:sp>
    </p:spTree>
    <p:extLst>
      <p:ext uri="{BB962C8B-B14F-4D97-AF65-F5344CB8AC3E}">
        <p14:creationId xmlns:p14="http://schemas.microsoft.com/office/powerpoint/2010/main" val="29817049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21</a:t>
            </a:fld>
            <a:endParaRPr lang="en-US">
              <a:solidFill>
                <a:schemeClr val="tx2"/>
              </a:solidFill>
            </a:endParaRPr>
          </a:p>
        </p:txBody>
      </p:sp>
    </p:spTree>
    <p:extLst>
      <p:ext uri="{BB962C8B-B14F-4D97-AF65-F5344CB8AC3E}">
        <p14:creationId xmlns:p14="http://schemas.microsoft.com/office/powerpoint/2010/main" val="3378487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9415E-C36C-2C28-581C-782054E98D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B94BFB-0F0D-6D0E-4A0C-F1B5507AEC11}"/>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E9322245-EE8D-A68B-0171-ED549C9E4A9D}"/>
              </a:ext>
            </a:extLst>
          </p:cNvPr>
          <p:cNvSpPr>
            <a:spLocks noGrp="1"/>
          </p:cNvSpPr>
          <p:nvPr>
            <p:ph type="body" idx="1"/>
          </p:nvPr>
        </p:nvSpPr>
        <p:spPr/>
        <p:txBody>
          <a:bodyPr/>
          <a:lstStyle/>
          <a:p>
            <a:pPr marL="228600" marR="0" lvl="0" indent="-228600" algn="l" defTabSz="914400" rtl="0" eaLnBrk="1" fontAlgn="auto" latinLnBrk="0" hangingPunct="1">
              <a:lnSpc>
                <a:spcPct val="107000"/>
              </a:lnSpc>
              <a:spcBef>
                <a:spcPts val="0"/>
              </a:spcBef>
              <a:spcAft>
                <a:spcPts val="600"/>
              </a:spcAft>
              <a:buClrTx/>
              <a:buSzTx/>
              <a:buFontTx/>
              <a:buAutoNum type="arabicPeriod"/>
              <a:tabLst>
                <a:tab pos="457200" algn="l"/>
              </a:tabLst>
              <a:defRPr/>
            </a:pPr>
            <a:endParaRPr lang="de-DE" dirty="0"/>
          </a:p>
        </p:txBody>
      </p:sp>
      <p:sp>
        <p:nvSpPr>
          <p:cNvPr id="4" name="Slide Number Placeholder 3">
            <a:extLst>
              <a:ext uri="{FF2B5EF4-FFF2-40B4-BE49-F238E27FC236}">
                <a16:creationId xmlns:a16="http://schemas.microsoft.com/office/drawing/2014/main" id="{490CAE4D-2D76-E9F7-89B5-948F920D9D38}"/>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22</a:t>
            </a:fld>
            <a:endParaRPr lang="en-US">
              <a:solidFill>
                <a:schemeClr val="tx2"/>
              </a:solidFill>
            </a:endParaRPr>
          </a:p>
        </p:txBody>
      </p:sp>
    </p:spTree>
    <p:extLst>
      <p:ext uri="{BB962C8B-B14F-4D97-AF65-F5344CB8AC3E}">
        <p14:creationId xmlns:p14="http://schemas.microsoft.com/office/powerpoint/2010/main" val="2468489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3</a:t>
            </a:fld>
            <a:endParaRPr lang="en-US">
              <a:solidFill>
                <a:schemeClr val="tx2"/>
              </a:solidFill>
            </a:endParaRPr>
          </a:p>
        </p:txBody>
      </p:sp>
    </p:spTree>
    <p:extLst>
      <p:ext uri="{BB962C8B-B14F-4D97-AF65-F5344CB8AC3E}">
        <p14:creationId xmlns:p14="http://schemas.microsoft.com/office/powerpoint/2010/main" val="254749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4</a:t>
            </a:fld>
            <a:endParaRPr lang="en-US">
              <a:solidFill>
                <a:schemeClr val="tx2"/>
              </a:solidFill>
            </a:endParaRPr>
          </a:p>
        </p:txBody>
      </p:sp>
    </p:spTree>
    <p:extLst>
      <p:ext uri="{BB962C8B-B14F-4D97-AF65-F5344CB8AC3E}">
        <p14:creationId xmlns:p14="http://schemas.microsoft.com/office/powerpoint/2010/main" val="1308650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0157D-CDED-04D7-6DBB-6D73CACF7B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24D63A-0BCB-29E1-9318-73E73CF5B864}"/>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40D52793-2516-3EF1-A754-D092B1B8D3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8AEB558-D3E2-A749-94C1-F449E98B505F}"/>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
                <a:srgbClr val="009999"/>
              </a:buClr>
              <a:buSzTx/>
              <a:buFontTx/>
              <a:buNone/>
              <a:tabLst/>
              <a:defRPr/>
            </a:pPr>
            <a:r>
              <a:rPr kumimoji="0" lang="en-US" sz="1050" b="1" i="0" u="none" strike="noStrike" kern="0" cap="none" spc="0" normalizeH="0" baseline="0" noProof="0">
                <a:ln>
                  <a:noFill/>
                </a:ln>
                <a:solidFill>
                  <a:srgbClr val="00D7A0"/>
                </a:solidFill>
                <a:effectLst/>
                <a:uLnTx/>
                <a:uFillTx/>
              </a:rPr>
              <a:t>Notes</a:t>
            </a:r>
            <a:r>
              <a:rPr kumimoji="0" lang="en-US" sz="1050" b="0" i="0" u="none" strike="noStrike" kern="0" cap="none" spc="0" normalizeH="0" baseline="0" noProof="0">
                <a:ln>
                  <a:noFill/>
                </a:ln>
                <a:solidFill>
                  <a:sysClr val="windowText" lastClr="000000"/>
                </a:solidFill>
                <a:effectLst/>
                <a:uLnTx/>
                <a:uFillTx/>
              </a:rPr>
              <a:t> </a:t>
            </a:r>
            <a:fld id="{E76C657F-0E32-4130-ADDA-66B81138A76A}" type="slidenum">
              <a:rPr kumimoji="0" lang="en-US" sz="1050" b="0" i="0" u="none" strike="noStrike" kern="0" cap="none" spc="0" normalizeH="0" baseline="0" noProof="0" smtClean="0">
                <a:ln>
                  <a:noFill/>
                </a:ln>
                <a:solidFill>
                  <a:srgbClr val="000028"/>
                </a:solidFill>
                <a:effectLst/>
                <a:uLnTx/>
                <a:uFillTx/>
              </a:rPr>
              <a:pPr marL="0" marR="0" lvl="0" indent="0" algn="r" defTabSz="914400" eaLnBrk="1" fontAlgn="auto" latinLnBrk="0" hangingPunct="1">
                <a:lnSpc>
                  <a:spcPct val="100000"/>
                </a:lnSpc>
                <a:spcBef>
                  <a:spcPts val="0"/>
                </a:spcBef>
                <a:spcAft>
                  <a:spcPts val="0"/>
                </a:spcAft>
                <a:buClr>
                  <a:srgbClr val="009999"/>
                </a:buClr>
                <a:buSzTx/>
                <a:buFontTx/>
                <a:buNone/>
                <a:tabLst/>
                <a:defRPr/>
              </a:pPr>
              <a:t>5</a:t>
            </a:fld>
            <a:endParaRPr kumimoji="0" lang="en-US" sz="1050" b="0" i="0" u="none" strike="noStrike" kern="0" cap="none" spc="0" normalizeH="0" baseline="0" noProof="0">
              <a:ln>
                <a:noFill/>
              </a:ln>
              <a:solidFill>
                <a:srgbClr val="000028"/>
              </a:solidFill>
              <a:effectLst/>
              <a:uLnTx/>
              <a:uFillTx/>
            </a:endParaRPr>
          </a:p>
        </p:txBody>
      </p:sp>
    </p:spTree>
    <p:extLst>
      <p:ext uri="{BB962C8B-B14F-4D97-AF65-F5344CB8AC3E}">
        <p14:creationId xmlns:p14="http://schemas.microsoft.com/office/powerpoint/2010/main" val="969683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C033C-5AC3-A9F6-FE48-6AA21BA012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7DFA1B-53E7-BC04-214E-18804C82BCEB}"/>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0781977C-4D1F-2AC5-F17F-220081CFD20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0311D25-6F54-C5B2-9750-E4A67BE5FB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0C823-1607-4AF4-9F57-80207D340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55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633413"/>
            <a:ext cx="6194425" cy="3484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9363" rtl="0">
              <a:buClrTx/>
              <a:defRPr/>
            </a:pPr>
            <a:fld id="{5BEAB4BD-79E2-4A07-8CED-4DBC845386E4}" type="slidenum">
              <a:rPr lang="en-US" kern="1200">
                <a:solidFill>
                  <a:srgbClr val="000000"/>
                </a:solidFill>
                <a:latin typeface="Arial"/>
                <a:ea typeface="+mn-ea"/>
                <a:cs typeface="+mn-cs"/>
              </a:rPr>
              <a:pPr defTabSz="939363" rtl="0">
                <a:buClrTx/>
                <a:defRPr/>
              </a:pPr>
              <a:t>7</a:t>
            </a:fld>
            <a:endParaRPr lang="en-US" kern="1200">
              <a:solidFill>
                <a:srgbClr val="000000"/>
              </a:solidFill>
              <a:latin typeface="Arial"/>
              <a:ea typeface="+mn-ea"/>
              <a:cs typeface="+mn-cs"/>
            </a:endParaRPr>
          </a:p>
        </p:txBody>
      </p:sp>
    </p:spTree>
    <p:extLst>
      <p:ext uri="{BB962C8B-B14F-4D97-AF65-F5344CB8AC3E}">
        <p14:creationId xmlns:p14="http://schemas.microsoft.com/office/powerpoint/2010/main" val="16086077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633413"/>
            <a:ext cx="6194425" cy="3484562"/>
          </a:xfrm>
        </p:spPr>
      </p:sp>
      <p:sp>
        <p:nvSpPr>
          <p:cNvPr id="3" name="Notes Placeholder 2"/>
          <p:cNvSpPr>
            <a:spLocks noGrp="1"/>
          </p:cNvSpPr>
          <p:nvPr>
            <p:ph type="body" idx="1"/>
          </p:nvPr>
        </p:nvSpPr>
        <p:spPr/>
        <p:txBody>
          <a:bodyPr/>
          <a:lstStyle/>
          <a:p>
            <a:endParaRPr lang="en-US" b="1" dirty="0">
              <a:solidFill>
                <a:srgbClr val="FFFFFF"/>
              </a:solidFill>
              <a:latin typeface="Arial"/>
            </a:endParaRPr>
          </a:p>
        </p:txBody>
      </p:sp>
      <p:sp>
        <p:nvSpPr>
          <p:cNvPr id="4" name="Slide Number Placeholder 3"/>
          <p:cNvSpPr>
            <a:spLocks noGrp="1"/>
          </p:cNvSpPr>
          <p:nvPr>
            <p:ph type="sldNum" sz="quarter" idx="5"/>
          </p:nvPr>
        </p:nvSpPr>
        <p:spPr/>
        <p:txBody>
          <a:bodyPr/>
          <a:lstStyle/>
          <a:p>
            <a:pPr defTabSz="939363" rtl="0">
              <a:buClrTx/>
              <a:defRPr/>
            </a:pPr>
            <a:fld id="{A7A35049-C0C0-4EA8-806A-4289709955B1}" type="slidenum">
              <a:rPr lang="en-US" sz="1200" kern="1200">
                <a:solidFill>
                  <a:prstClr val="black"/>
                </a:solidFill>
                <a:latin typeface="Calibri" panose="020F0502020204030204"/>
                <a:ea typeface="+mn-ea"/>
                <a:cs typeface="+mn-cs"/>
              </a:rPr>
              <a:pPr defTabSz="939363" rtl="0">
                <a:buClrTx/>
                <a:defRPr/>
              </a:pPr>
              <a:t>8</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968802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100BD-F285-C0E8-3C1B-DB3D705E3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3FBFB6-62E7-E151-A880-6C74DCAED05C}"/>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DEFF450C-8C56-D8B7-FCAE-A5360FCEDD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6EED163-29E8-9787-139D-D758E00BD0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solidFill>
                <a:effectLst/>
                <a:uLnTx/>
                <a:uFillTx/>
                <a:latin typeface="Calibri" panose="020F0502020204030204"/>
                <a:ea typeface="+mn-ea"/>
                <a:cs typeface="+mn-cs"/>
              </a:rPr>
              <a:t>Notes</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fld id="{E76C657F-0E32-4130-ADDA-66B81138A76A}" type="slidenum">
              <a:rPr kumimoji="0" lang="en-US" sz="1200" b="0"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041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5.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2"/>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2025 | Raghav Tripathi</a:t>
            </a:r>
          </a:p>
        </p:txBody>
      </p:sp>
    </p:spTree>
    <p:extLst>
      <p:ext uri="{BB962C8B-B14F-4D97-AF65-F5344CB8AC3E}">
        <p14:creationId xmlns:p14="http://schemas.microsoft.com/office/powerpoint/2010/main" val="2662922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2"/>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2025 | Raghav Tripathi</a:t>
            </a:r>
          </a:p>
        </p:txBody>
      </p:sp>
    </p:spTree>
    <p:extLst>
      <p:ext uri="{BB962C8B-B14F-4D97-AF65-F5344CB8AC3E}">
        <p14:creationId xmlns:p14="http://schemas.microsoft.com/office/powerpoint/2010/main" val="37924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2"/>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2025 | Raghav Tripathi</a:t>
            </a:r>
          </a:p>
        </p:txBody>
      </p:sp>
    </p:spTree>
    <p:extLst>
      <p:ext uri="{BB962C8B-B14F-4D97-AF65-F5344CB8AC3E}">
        <p14:creationId xmlns:p14="http://schemas.microsoft.com/office/powerpoint/2010/main" val="38740176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1160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37132854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35021664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422370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0933629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3477977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33220784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4960269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42236877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666566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8041666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358240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4678897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9087869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32806408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763417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191606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9457729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6FD70AD7-1356-4F56-BCF5-60206B8893D8}"/>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BC751AD9-F368-4030-BEF3-878CBEED0E5B}"/>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0F638833-9358-4A10-8860-60EC0C65D974}"/>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2"/>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2025 | Raghav Tripathi</a:t>
            </a:r>
          </a:p>
        </p:txBody>
      </p:sp>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2"/>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2025 | Raghav Tripathi</a:t>
            </a:r>
          </a:p>
        </p:txBody>
      </p:sp>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2"/>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2025 | Raghav Tripathi</a:t>
            </a:r>
          </a:p>
        </p:txBody>
      </p:sp>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4246279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1"/>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2025 | Raghav Tripathi</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1"/>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p>
            <a:r>
              <a:rPr lang="en-US"/>
              <a:t>Unrestricted | © Siemens 2025 | Raghav Tripathi</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1"/>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2025 | Raghav Tripathi</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200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2025 | Raghav Tripathi</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831546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200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2025 | Raghav Tripathi</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6704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200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200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2025 | Raghav Tripathi</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713831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2025 | Raghav Tripathi</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1"/>
            <a:ext cx="9288000"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2025 | Raghav Tripathi</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399" y="1414463"/>
            <a:ext cx="11370437"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lvl1pPr>
              <a:defRPr>
                <a:solidFill>
                  <a:schemeClr val="tx1"/>
                </a:solidFill>
              </a:defRPr>
            </a:lvl1pPr>
          </a:lstStyle>
          <a:p>
            <a:r>
              <a:rPr lang="en-US"/>
              <a:t>Unrestricted | © Siemens 2025 | Raghav Tripathi</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dex / Agenda 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p>
            <a:r>
              <a:rPr lang="en-US" err="1"/>
              <a:t>Mastertitelformat</a:t>
            </a:r>
            <a:r>
              <a:rPr lang="en-US"/>
              <a:t> </a:t>
            </a:r>
            <a:r>
              <a:rPr lang="en-US" err="1"/>
              <a:t>bearbeiten</a:t>
            </a:r>
            <a:endParaRPr lang="en-US"/>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7199311"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151364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dex / Agenda 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err="1"/>
              <a:t>Mastertitelformat</a:t>
            </a:r>
            <a:r>
              <a:rPr lang="en-US"/>
              <a:t> </a:t>
            </a:r>
            <a:r>
              <a:rPr lang="en-US" err="1"/>
              <a:t>bearbeiten</a:t>
            </a:r>
            <a:endParaRPr lang="en-US"/>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5903912" cy="4751387"/>
          </a:xfrm>
        </p:spPr>
        <p:txBody>
          <a:bodyPr/>
          <a:lstStyle>
            <a:lvl1pPr>
              <a:spcAft>
                <a:spcPts val="900"/>
              </a:spcAft>
              <a:tabLst>
                <a:tab pos="5902325" algn="r"/>
              </a:tabLst>
              <a:defRPr/>
            </a:lvl1pPr>
            <a:lvl2pPr>
              <a:spcAft>
                <a:spcPts val="900"/>
              </a:spcAft>
              <a:buClr>
                <a:schemeClr val="tx1"/>
              </a:buClr>
              <a:tabLst>
                <a:tab pos="5902325" algn="r"/>
              </a:tabLst>
              <a:defRPr/>
            </a:lvl2pPr>
            <a:lvl3pPr marL="180000">
              <a:spcAft>
                <a:spcPts val="900"/>
              </a:spcAft>
              <a:buClr>
                <a:schemeClr val="tx1"/>
              </a:buClr>
              <a:tabLst>
                <a:tab pos="5902325" algn="r"/>
              </a:tabLst>
              <a:defRPr b="1"/>
            </a:lvl3pPr>
            <a:lvl4pPr marL="360000">
              <a:spcAft>
                <a:spcPts val="900"/>
              </a:spcAft>
              <a:buClr>
                <a:schemeClr val="tx1"/>
              </a:buClr>
              <a:tabLst>
                <a:tab pos="5902325" algn="r"/>
              </a:tabLst>
              <a:defRPr/>
            </a:lvl4pPr>
            <a:lvl5pPr marL="360000">
              <a:spcAft>
                <a:spcPts val="900"/>
              </a:spcAft>
              <a:buClr>
                <a:schemeClr val="tx1"/>
              </a:buClr>
              <a:tabLst>
                <a:tab pos="5902325" algn="r"/>
              </a:tabLst>
              <a:defRPr b="1"/>
            </a:lvl5pPr>
            <a:lvl6pPr marL="180000">
              <a:spcAft>
                <a:spcPts val="600"/>
              </a:spcAft>
              <a:buClr>
                <a:schemeClr val="tx1"/>
              </a:buClr>
              <a:tabLst>
                <a:tab pos="5902325" algn="r"/>
              </a:tabLst>
              <a:defRPr sz="1600"/>
            </a:lvl6pPr>
            <a:lvl7pPr marL="180000">
              <a:spcAft>
                <a:spcPts val="600"/>
              </a:spcAft>
              <a:buClr>
                <a:schemeClr val="tx1"/>
              </a:buClr>
              <a:tabLst>
                <a:tab pos="5902325" algn="r"/>
              </a:tabLst>
              <a:defRPr sz="1600" b="1"/>
            </a:lvl7pPr>
            <a:lvl8pPr marL="360000">
              <a:spcAft>
                <a:spcPts val="600"/>
              </a:spcAft>
              <a:buClr>
                <a:schemeClr val="tx1"/>
              </a:buClr>
              <a:tabLst>
                <a:tab pos="5902325" algn="r"/>
              </a:tabLst>
              <a:defRPr sz="1600"/>
            </a:lvl8pPr>
            <a:lvl9pPr marL="360000">
              <a:spcAft>
                <a:spcPts val="600"/>
              </a:spcAft>
              <a:buClr>
                <a:schemeClr val="tx1"/>
              </a:buClr>
              <a:tabLst>
                <a:tab pos="5902325" algn="r"/>
              </a:tabLst>
              <a:defRPr sz="1600" b="1"/>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12" name="Copy 2" descr="Agenda text frame">
            <a:extLst>
              <a:ext uri="{FF2B5EF4-FFF2-40B4-BE49-F238E27FC236}">
                <a16:creationId xmlns:a16="http://schemas.microsoft.com/office/drawing/2014/main" id="{F3AAF44F-3461-47E2-8680-A8CD08522059}"/>
              </a:ext>
            </a:extLst>
          </p:cNvPr>
          <p:cNvSpPr>
            <a:spLocks noGrp="1"/>
          </p:cNvSpPr>
          <p:nvPr>
            <p:ph type="body" sz="quarter" idx="13"/>
          </p:nvPr>
        </p:nvSpPr>
        <p:spPr bwMode="black">
          <a:xfrm>
            <a:off x="6743700" y="1414463"/>
            <a:ext cx="5043488" cy="4751387"/>
          </a:xfrm>
        </p:spPr>
        <p:txBody>
          <a:bodyPr/>
          <a:lstStyle>
            <a:lvl1pPr>
              <a:spcAft>
                <a:spcPts val="900"/>
              </a:spcAft>
              <a:tabLst>
                <a:tab pos="5040000" algn="r"/>
              </a:tabLst>
              <a:defRPr/>
            </a:lvl1pPr>
            <a:lvl2pPr>
              <a:spcAft>
                <a:spcPts val="900"/>
              </a:spcAft>
              <a:buClr>
                <a:schemeClr val="tx1"/>
              </a:buClr>
              <a:tabLst>
                <a:tab pos="5040000" algn="r"/>
              </a:tabLst>
              <a:defRPr/>
            </a:lvl2pPr>
            <a:lvl3pPr marL="180000">
              <a:spcAft>
                <a:spcPts val="900"/>
              </a:spcAft>
              <a:buClr>
                <a:schemeClr val="tx1"/>
              </a:buClr>
              <a:tabLst>
                <a:tab pos="5040000" algn="r"/>
              </a:tabLst>
              <a:defRPr b="1"/>
            </a:lvl3pPr>
            <a:lvl4pPr marL="360000">
              <a:spcAft>
                <a:spcPts val="900"/>
              </a:spcAft>
              <a:buClr>
                <a:schemeClr val="tx1"/>
              </a:buClr>
              <a:tabLst>
                <a:tab pos="5040000" algn="r"/>
              </a:tabLst>
              <a:defRPr/>
            </a:lvl4pPr>
            <a:lvl5pPr marL="360000">
              <a:spcAft>
                <a:spcPts val="900"/>
              </a:spcAft>
              <a:buClr>
                <a:schemeClr val="tx1"/>
              </a:buClr>
              <a:tabLst>
                <a:tab pos="5040000" algn="r"/>
              </a:tabLst>
              <a:defRPr b="1"/>
            </a:lvl5pPr>
            <a:lvl6pPr marL="180000">
              <a:spcAft>
                <a:spcPts val="600"/>
              </a:spcAft>
              <a:buClr>
                <a:schemeClr val="tx1"/>
              </a:buClr>
              <a:tabLst>
                <a:tab pos="5040000" algn="r"/>
              </a:tabLst>
              <a:defRPr sz="1600"/>
            </a:lvl6pPr>
            <a:lvl7pPr marL="180000">
              <a:spcAft>
                <a:spcPts val="600"/>
              </a:spcAft>
              <a:buClr>
                <a:schemeClr val="tx1"/>
              </a:buClr>
              <a:tabLst>
                <a:tab pos="5040000" algn="r"/>
              </a:tabLst>
              <a:defRPr sz="1600" b="1"/>
            </a:lvl7pPr>
            <a:lvl8pPr marL="360000">
              <a:spcAft>
                <a:spcPts val="600"/>
              </a:spcAft>
              <a:buClr>
                <a:schemeClr val="tx1"/>
              </a:buClr>
              <a:tabLst>
                <a:tab pos="5040000" algn="r"/>
              </a:tabLst>
              <a:defRPr sz="1600"/>
            </a:lvl8pPr>
            <a:lvl9pPr marL="360000">
              <a:spcAft>
                <a:spcPts val="600"/>
              </a:spcAft>
              <a:buClr>
                <a:schemeClr val="tx1"/>
              </a:buClr>
              <a:tabLst>
                <a:tab pos="5040000" algn="r"/>
              </a:tabLst>
              <a:defRPr sz="1600" b="1"/>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5553635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en-US"/>
              <a:t>Unrestricted | © Siemens 2025 | Raghav Tripathi</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tx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2025 | Raghav Tripathi</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2025 | Raghav Tripathi</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290073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2025 | Raghav Tripathi</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0B5B909-59BC-F3B4-7611-EE5121128C89}"/>
              </a:ext>
            </a:extLst>
          </p:cNvPr>
          <p:cNvGraphicFramePr>
            <a:graphicFrameLocks noChangeAspect="1"/>
          </p:cNvGraphicFramePr>
          <p:nvPr userDrawn="1">
            <p:custDataLst>
              <p:tags r:id="rId1"/>
            </p:custDataLst>
            <p:extLst>
              <p:ext uri="{D42A27DB-BD31-4B8C-83A1-F6EECF244321}">
                <p14:modId xmlns:p14="http://schemas.microsoft.com/office/powerpoint/2010/main" val="244498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50B5B909-59BC-F3B4-7611-EE5121128C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vert="horz"/>
          <a:lstStyle>
            <a:lvl1pPr>
              <a:defRPr>
                <a:solidFill>
                  <a:schemeClr val="tx1"/>
                </a:solidFill>
              </a:defRPr>
            </a:lvl1pPr>
          </a:lstStyle>
          <a:p>
            <a:r>
              <a:rPr lang="en-US" err="1"/>
              <a:t>Mastertitelformat</a:t>
            </a:r>
            <a:r>
              <a:rPr lang="en-US"/>
              <a:t> </a:t>
            </a:r>
            <a:r>
              <a:rPr lang="en-US" err="1"/>
              <a:t>bearbeiten</a:t>
            </a:r>
            <a:endParaRPr lang="en-US"/>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err="1"/>
              <a:t>Mastertitelformat</a:t>
            </a:r>
            <a:r>
              <a:rPr lang="en-US"/>
              <a:t> </a:t>
            </a:r>
            <a:r>
              <a:rPr lang="en-US" err="1"/>
              <a:t>bearbeiten</a:t>
            </a:r>
            <a:endParaRPr lang="en-US"/>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err="1"/>
              <a:t>Mastertitelformat</a:t>
            </a:r>
            <a:r>
              <a:rPr lang="en-US"/>
              <a:t> </a:t>
            </a:r>
            <a:r>
              <a:rPr lang="en-US" err="1"/>
              <a:t>bearbeiten</a:t>
            </a:r>
            <a:endParaRPr lang="en-US"/>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en-US"/>
              <a:t>Unrestricted | © Siemens 2025 | Raghav Tripathi</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75381909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7199313"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11376026"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9208743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0000"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298400" y="1414800"/>
            <a:ext cx="3600000"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86400" y="1414800"/>
            <a:ext cx="3600000"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en-US"/>
              <a:t>Unrestricted | © Siemens 2025 | Raghav Tripathi</a:t>
            </a:r>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Unrestricted | © Siemens 2025 | Raghav Tripathi</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err="1"/>
              <a:t>Mastertitelformat</a:t>
            </a:r>
            <a:r>
              <a:rPr lang="en-US"/>
              <a:t> </a:t>
            </a:r>
            <a:r>
              <a:rPr lang="en-US" err="1"/>
              <a:t>bearbeiten</a:t>
            </a:r>
            <a:endParaRPr lang="en-US"/>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414800"/>
            <a:ext cx="3744000" cy="4752000"/>
          </a:xfrm>
          <a:prstGeom prst="rect">
            <a:avLst/>
          </a:prstGeom>
        </p:spPr>
        <p:txBody>
          <a:bodyPr>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en-US"/>
              <a:t>Unrestricted | © Siemens 2025 | Raghav Tripathi</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err="1"/>
              <a:t>Mastertitelformat</a:t>
            </a:r>
            <a:r>
              <a:rPr lang="en-US"/>
              <a:t> </a:t>
            </a:r>
            <a:r>
              <a:rPr lang="en-US" err="1"/>
              <a:t>bearbeiten</a:t>
            </a:r>
            <a:endParaRPr lang="en-US"/>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p>
            <a:r>
              <a:rPr lang="en-US" err="1"/>
              <a:t>Tabelle</a:t>
            </a:r>
            <a:r>
              <a:rPr lang="en-US"/>
              <a:t> </a:t>
            </a:r>
            <a:r>
              <a:rPr lang="en-US" err="1"/>
              <a:t>durch</a:t>
            </a:r>
            <a:r>
              <a:rPr lang="en-US"/>
              <a:t> </a:t>
            </a:r>
            <a:r>
              <a:rPr lang="en-US" err="1"/>
              <a:t>Klicken</a:t>
            </a:r>
            <a:r>
              <a:rPr lang="en-US"/>
              <a:t> auf Symbol </a:t>
            </a:r>
            <a:r>
              <a:rPr lang="en-US" err="1"/>
              <a:t>hinzufügen</a:t>
            </a:r>
            <a:endParaRPr lang="en-US"/>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en-US"/>
              <a:t>Unrestricted | © Siemens 2025 | Raghav Tripathi</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err="1"/>
              <a:t>Mastertitelformat</a:t>
            </a:r>
            <a:r>
              <a:rPr lang="en-US"/>
              <a:t> </a:t>
            </a:r>
            <a:r>
              <a:rPr lang="en-US" err="1"/>
              <a:t>bearbeiten</a:t>
            </a:r>
            <a:endParaRPr lang="en-US"/>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2025 | Raghav Tripathi</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err="1"/>
              <a:t>Mastertitelformat</a:t>
            </a:r>
            <a:r>
              <a:rPr lang="en-US"/>
              <a:t> </a:t>
            </a:r>
            <a:r>
              <a:rPr lang="en-US" err="1"/>
              <a:t>bearbeiten</a:t>
            </a:r>
            <a:endParaRPr lang="en-US"/>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2025 | Raghav Tripathi</a:t>
            </a:r>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162" y="-540000"/>
            <a:ext cx="9863138" cy="360000"/>
          </a:xfrm>
        </p:spPr>
        <p:txBody>
          <a:bodyPr/>
          <a:lstStyle>
            <a:lvl1pPr>
              <a:defRPr b="0">
                <a:solidFill>
                  <a:schemeClr val="accent1">
                    <a:alpha val="0"/>
                  </a:schemeClr>
                </a:solidFill>
              </a:defRPr>
            </a:lvl1pPr>
          </a:lstStyle>
          <a:p>
            <a:r>
              <a:rPr lang="en-US" err="1"/>
              <a:t>Mastertitelformat</a:t>
            </a:r>
            <a:r>
              <a:rPr lang="en-US"/>
              <a:t> </a:t>
            </a:r>
            <a:r>
              <a:rPr lang="en-US" err="1"/>
              <a:t>bearbeiten</a:t>
            </a:r>
            <a:endParaRPr lang="en-US"/>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en-US"/>
              <a:t>Unrestricted | © Siemens 2025 | Raghav Tripathi</a:t>
            </a:r>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0799"/>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err="1"/>
              <a:t>Mastertitelformat</a:t>
            </a:r>
            <a:r>
              <a:rPr lang="en-US"/>
              <a:t> </a:t>
            </a:r>
            <a:r>
              <a:rPr lang="en-US" err="1"/>
              <a:t>bearbeiten</a:t>
            </a:r>
            <a:endParaRPr lang="en-US"/>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1538"/>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err="1"/>
              <a:t>Mastertitelformat</a:t>
            </a:r>
            <a:r>
              <a:rPr lang="en-US"/>
              <a:t> </a:t>
            </a:r>
            <a:r>
              <a:rPr lang="en-US" err="1"/>
              <a:t>bearbeiten</a:t>
            </a:r>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1291605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a:p>
            <a:pPr lvl="2"/>
            <a:r>
              <a:rPr lang="en-US"/>
              <a:t>Skills etc.</a:t>
            </a:r>
          </a:p>
          <a:p>
            <a:pPr lvl="3"/>
            <a:r>
              <a:rPr lang="en-US"/>
              <a:t>Name etc. sublevel</a:t>
            </a:r>
          </a:p>
          <a:p>
            <a:pPr lvl="4"/>
            <a:r>
              <a:rPr lang="en-US"/>
              <a:t>Skills etc. sublevel</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Unrestricted | © Siemens 2025 | Raghav Tripathi</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able of contents / Agenda">
    <p:bg>
      <p:bgRef idx="1001">
        <a:schemeClr val="bg2"/>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7741F3-A180-DB02-E158-08A247D4AE3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1" imgH="411" progId="TCLayout.ActiveDocument.1">
                  <p:embed/>
                </p:oleObj>
              </mc:Choice>
              <mc:Fallback>
                <p:oleObj name="think-cell Folie" r:id="rId3" imgW="411" imgH="411" progId="TCLayout.ActiveDocument.1">
                  <p:embed/>
                  <p:pic>
                    <p:nvPicPr>
                      <p:cNvPr id="4" name="think-cell data - do not delete" hidden="1">
                        <a:extLst>
                          <a:ext uri="{FF2B5EF4-FFF2-40B4-BE49-F238E27FC236}">
                            <a16:creationId xmlns:a16="http://schemas.microsoft.com/office/drawing/2014/main" id="{887741F3-A180-DB02-E158-08A247D4AE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vert="horz"/>
          <a:lstStyle>
            <a:lvl1pPr rtl="0">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a:xfrm>
            <a:off x="1059160" y="6310800"/>
            <a:ext cx="9216000" cy="547200"/>
          </a:xfrm>
          <a:prstGeom prst="rect">
            <a:avLst/>
          </a:prstGeom>
        </p:spPr>
        <p:txBody>
          <a:bodyPr/>
          <a:lstStyle>
            <a:lvl1pPr rtl="0">
              <a:defRPr/>
            </a:lvl1pPr>
          </a:lstStyle>
          <a:p>
            <a:r>
              <a:rPr lang="en-US"/>
              <a:t>Unrestricted | © Siemens 2025 | Raghav Tripathi</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a:xfrm>
            <a:off x="411162" y="6310800"/>
            <a:ext cx="648000" cy="547200"/>
          </a:xfrm>
          <a:prstGeom prst="rect">
            <a:avLst/>
          </a:prstGeom>
        </p:spPr>
        <p:txBody>
          <a:bodyPr/>
          <a:lstStyle>
            <a:lvl1pPr rtl="0">
              <a:defRPr/>
            </a:lvl1p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7918311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41539785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33613854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8756FD-704E-CE3A-D732-0EC6E75BA3E7}"/>
              </a:ext>
            </a:extLst>
          </p:cNvPr>
          <p:cNvGraphicFramePr>
            <a:graphicFrameLocks noChangeAspect="1"/>
          </p:cNvGraphicFramePr>
          <p:nvPr userDrawn="1">
            <p:custDataLst>
              <p:tags r:id="rId73"/>
            </p:custDataLst>
            <p:extLst>
              <p:ext uri="{D42A27DB-BD31-4B8C-83A1-F6EECF244321}">
                <p14:modId xmlns:p14="http://schemas.microsoft.com/office/powerpoint/2010/main" val="4145680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4" imgW="306" imgH="306" progId="TCLayout.ActiveDocument.1">
                  <p:embed/>
                </p:oleObj>
              </mc:Choice>
              <mc:Fallback>
                <p:oleObj name="think-cell Folie" r:id="rId74" imgW="306" imgH="306" progId="TCLayout.ActiveDocument.1">
                  <p:embed/>
                  <p:pic>
                    <p:nvPicPr>
                      <p:cNvPr id="7" name="think-cell data - do not delete" hidden="1">
                        <a:extLst>
                          <a:ext uri="{FF2B5EF4-FFF2-40B4-BE49-F238E27FC236}">
                            <a16:creationId xmlns:a16="http://schemas.microsoft.com/office/drawing/2014/main" id="{738756FD-704E-CE3A-D732-0EC6E75BA3E7}"/>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err="1"/>
              <a:t>Mastertitelformat</a:t>
            </a:r>
            <a:r>
              <a:rPr lang="en-US"/>
              <a:t> </a:t>
            </a:r>
            <a:r>
              <a:rPr lang="en-US" err="1"/>
              <a:t>bearbeiten</a:t>
            </a:r>
            <a:endParaRPr lang="en-US"/>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Unrestricted | © Siemens 2025 | Raghav Tripathi</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76" r:id="rId4"/>
    <p:sldLayoutId id="2147483777" r:id="rId5"/>
    <p:sldLayoutId id="2147483778" r:id="rId6"/>
    <p:sldLayoutId id="2147483793" r:id="rId7"/>
    <p:sldLayoutId id="2147483794" r:id="rId8"/>
    <p:sldLayoutId id="2147483795" r:id="rId9"/>
    <p:sldLayoutId id="2147483796" r:id="rId10"/>
    <p:sldLayoutId id="2147483797" r:id="rId11"/>
    <p:sldLayoutId id="2147483798" r:id="rId12"/>
    <p:sldLayoutId id="2147483773" r:id="rId13"/>
    <p:sldLayoutId id="2147483774" r:id="rId14"/>
    <p:sldLayoutId id="2147483775" r:id="rId15"/>
    <p:sldLayoutId id="2147483781" r:id="rId16"/>
    <p:sldLayoutId id="2147483782" r:id="rId17"/>
    <p:sldLayoutId id="2147483783" r:id="rId18"/>
    <p:sldLayoutId id="2147483790" r:id="rId19"/>
    <p:sldLayoutId id="2147483791" r:id="rId20"/>
    <p:sldLayoutId id="2147483792" r:id="rId21"/>
    <p:sldLayoutId id="2147483770" r:id="rId22"/>
    <p:sldLayoutId id="2147483771" r:id="rId23"/>
    <p:sldLayoutId id="2147483772" r:id="rId24"/>
    <p:sldLayoutId id="2147483784" r:id="rId25"/>
    <p:sldLayoutId id="2147483785" r:id="rId26"/>
    <p:sldLayoutId id="2147483786" r:id="rId27"/>
    <p:sldLayoutId id="2147483787" r:id="rId28"/>
    <p:sldLayoutId id="2147483788" r:id="rId29"/>
    <p:sldLayoutId id="2147483789" r:id="rId30"/>
    <p:sldLayoutId id="2147483724" r:id="rId31"/>
    <p:sldLayoutId id="2147483725" r:id="rId32"/>
    <p:sldLayoutId id="2147483726" r:id="rId33"/>
    <p:sldLayoutId id="2147483730" r:id="rId34"/>
    <p:sldLayoutId id="2147483731" r:id="rId35"/>
    <p:sldLayoutId id="2147483732" r:id="rId36"/>
    <p:sldLayoutId id="2147483727" r:id="rId37"/>
    <p:sldLayoutId id="2147483728" r:id="rId38"/>
    <p:sldLayoutId id="2147483729" r:id="rId39"/>
    <p:sldLayoutId id="2147483736" r:id="rId40"/>
    <p:sldLayoutId id="2147483737" r:id="rId41"/>
    <p:sldLayoutId id="2147483738" r:id="rId42"/>
    <p:sldLayoutId id="2147483753" r:id="rId43"/>
    <p:sldLayoutId id="2147483754" r:id="rId44"/>
    <p:sldLayoutId id="2147483755" r:id="rId45"/>
    <p:sldLayoutId id="2147483739" r:id="rId46"/>
    <p:sldLayoutId id="2147483740" r:id="rId47"/>
    <p:sldLayoutId id="2147483741" r:id="rId48"/>
    <p:sldLayoutId id="2147483744" r:id="rId49"/>
    <p:sldLayoutId id="2147483756" r:id="rId50"/>
    <p:sldLayoutId id="2147483655" r:id="rId51"/>
    <p:sldLayoutId id="2147483677" r:id="rId52"/>
    <p:sldLayoutId id="2147483779" r:id="rId53"/>
    <p:sldLayoutId id="2147483709" r:id="rId54"/>
    <p:sldLayoutId id="2147483691" r:id="rId55"/>
    <p:sldLayoutId id="2147483692" r:id="rId56"/>
    <p:sldLayoutId id="2147483780" r:id="rId57"/>
    <p:sldLayoutId id="2147483650" r:id="rId58"/>
    <p:sldLayoutId id="2147483665" r:id="rId59"/>
    <p:sldLayoutId id="2147483666" r:id="rId60"/>
    <p:sldLayoutId id="2147483697" r:id="rId61"/>
    <p:sldLayoutId id="2147483698" r:id="rId62"/>
    <p:sldLayoutId id="2147483652" r:id="rId63"/>
    <p:sldLayoutId id="2147483694" r:id="rId64"/>
    <p:sldLayoutId id="2147483687" r:id="rId65"/>
    <p:sldLayoutId id="2147483690" r:id="rId66"/>
    <p:sldLayoutId id="2147483681" r:id="rId67"/>
    <p:sldLayoutId id="2147483682" r:id="rId68"/>
    <p:sldLayoutId id="2147483711" r:id="rId69"/>
    <p:sldLayoutId id="2147483678" r:id="rId70"/>
    <p:sldLayoutId id="2147483799" r:id="rId71"/>
  </p:sldLayoutIdLst>
  <p:hf sldNum="0"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5.xml"/><Relationship Id="rId1" Type="http://schemas.openxmlformats.org/officeDocument/2006/relationships/tags" Target="../tags/tag25.xml"/><Relationship Id="rId5" Type="http://schemas.openxmlformats.org/officeDocument/2006/relationships/image" Target="../media/image46.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5.xml"/><Relationship Id="rId1" Type="http://schemas.openxmlformats.org/officeDocument/2006/relationships/tags" Target="../tags/tag26.xml"/><Relationship Id="rId5" Type="http://schemas.openxmlformats.org/officeDocument/2006/relationships/image" Target="../media/image46.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5.xml"/><Relationship Id="rId1" Type="http://schemas.openxmlformats.org/officeDocument/2006/relationships/tags" Target="../tags/tag27.xml"/><Relationship Id="rId5" Type="http://schemas.openxmlformats.org/officeDocument/2006/relationships/image" Target="../media/image46.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5.xml"/><Relationship Id="rId1" Type="http://schemas.openxmlformats.org/officeDocument/2006/relationships/tags" Target="../tags/tag28.xml"/><Relationship Id="rId5" Type="http://schemas.openxmlformats.org/officeDocument/2006/relationships/image" Target="../media/image46.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notesSlide" Target="../notesSlides/notesSlide14.xml"/><Relationship Id="rId3" Type="http://schemas.openxmlformats.org/officeDocument/2006/relationships/tags" Target="../tags/tag31.xml"/><Relationship Id="rId21" Type="http://schemas.microsoft.com/office/2007/relationships/hdphoto" Target="../media/hdphoto5.wdp"/><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Layout" Target="../slideLayouts/slideLayout5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image" Target="../media/image47.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19" Type="http://schemas.microsoft.com/office/2018/10/relationships/comments" Target="../comments/modernComment_10A_35845EF3.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5.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5.xml"/><Relationship Id="rId1" Type="http://schemas.openxmlformats.org/officeDocument/2006/relationships/tags" Target="../tags/tag46.xml"/><Relationship Id="rId6" Type="http://schemas.openxmlformats.org/officeDocument/2006/relationships/image" Target="../media/image51.emf"/><Relationship Id="rId5" Type="http://schemas.openxmlformats.org/officeDocument/2006/relationships/oleObject" Target="../embeddings/oleObject11.bin"/><Relationship Id="rId4" Type="http://schemas.openxmlformats.org/officeDocument/2006/relationships/image" Target="../media/image50.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4.jpeg"/><Relationship Id="rId2" Type="http://schemas.openxmlformats.org/officeDocument/2006/relationships/slideLayout" Target="../slideLayouts/slideLayout55.xml"/><Relationship Id="rId1" Type="http://schemas.openxmlformats.org/officeDocument/2006/relationships/tags" Target="../tags/tag47.xml"/><Relationship Id="rId6" Type="http://schemas.openxmlformats.org/officeDocument/2006/relationships/image" Target="../media/image53.png"/><Relationship Id="rId5" Type="http://schemas.openxmlformats.org/officeDocument/2006/relationships/image" Target="../media/image52.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18.xml"/><Relationship Id="rId7" Type="http://schemas.microsoft.com/office/2007/relationships/hdphoto" Target="../media/hdphoto6.wdp"/><Relationship Id="rId12" Type="http://schemas.openxmlformats.org/officeDocument/2006/relationships/image" Target="../media/image60.svg"/><Relationship Id="rId2" Type="http://schemas.openxmlformats.org/officeDocument/2006/relationships/slideLayout" Target="../slideLayouts/slideLayout55.xml"/><Relationship Id="rId1" Type="http://schemas.openxmlformats.org/officeDocument/2006/relationships/tags" Target="../tags/tag48.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1.emf"/><Relationship Id="rId10" Type="http://schemas.openxmlformats.org/officeDocument/2006/relationships/image" Target="../media/image58.svg"/><Relationship Id="rId4" Type="http://schemas.openxmlformats.org/officeDocument/2006/relationships/oleObject" Target="../embeddings/oleObject13.bin"/><Relationship Id="rId9"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5.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5.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22.xml"/><Relationship Id="rId7" Type="http://schemas.openxmlformats.org/officeDocument/2006/relationships/image" Target="../media/image18.jpeg"/><Relationship Id="rId12" Type="http://schemas.openxmlformats.org/officeDocument/2006/relationships/image" Target="../media/image22.jpeg"/><Relationship Id="rId2" Type="http://schemas.openxmlformats.org/officeDocument/2006/relationships/slideLayout" Target="../slideLayouts/slideLayout55.xml"/><Relationship Id="rId1" Type="http://schemas.openxmlformats.org/officeDocument/2006/relationships/tags" Target="../tags/tag51.xml"/><Relationship Id="rId6" Type="http://schemas.openxmlformats.org/officeDocument/2006/relationships/image" Target="../media/image17.jpeg"/><Relationship Id="rId11" Type="http://schemas.microsoft.com/office/2007/relationships/hdphoto" Target="../media/hdphoto1.wdp"/><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5.bin"/><Relationship Id="rId9" Type="http://schemas.openxmlformats.org/officeDocument/2006/relationships/image" Target="../media/image20.jpe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55.xml"/><Relationship Id="rId1" Type="http://schemas.openxmlformats.org/officeDocument/2006/relationships/tags" Target="../tags/tag52.xml"/><Relationship Id="rId5" Type="http://schemas.openxmlformats.org/officeDocument/2006/relationships/image" Target="../media/image61.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5.xml"/><Relationship Id="rId1" Type="http://schemas.openxmlformats.org/officeDocument/2006/relationships/tags" Target="../tags/tag53.xml"/><Relationship Id="rId5" Type="http://schemas.openxmlformats.org/officeDocument/2006/relationships/image" Target="../media/image6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3.xml"/><Relationship Id="rId7" Type="http://schemas.openxmlformats.org/officeDocument/2006/relationships/image" Target="../media/image18.jpeg"/><Relationship Id="rId12" Type="http://schemas.openxmlformats.org/officeDocument/2006/relationships/image" Target="../media/image22.jpeg"/><Relationship Id="rId2" Type="http://schemas.openxmlformats.org/officeDocument/2006/relationships/slideLayout" Target="../slideLayouts/slideLayout55.xml"/><Relationship Id="rId1" Type="http://schemas.openxmlformats.org/officeDocument/2006/relationships/tags" Target="../tags/tag6.xml"/><Relationship Id="rId6" Type="http://schemas.openxmlformats.org/officeDocument/2006/relationships/image" Target="../media/image17.jpeg"/><Relationship Id="rId11" Type="http://schemas.microsoft.com/office/2007/relationships/hdphoto" Target="../media/hdphoto1.wdp"/><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5.bin"/><Relationship Id="rId9" Type="http://schemas.openxmlformats.org/officeDocument/2006/relationships/image" Target="../media/image2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55.xml"/><Relationship Id="rId7" Type="http://schemas.openxmlformats.org/officeDocument/2006/relationships/image" Target="../media/image24.png"/><Relationship Id="rId2" Type="http://schemas.openxmlformats.org/officeDocument/2006/relationships/tags" Target="../tags/tag8.xml"/><Relationship Id="rId1" Type="http://schemas.openxmlformats.org/officeDocument/2006/relationships/tags" Target="../tags/tag7.xml"/><Relationship Id="rId6" Type="http://schemas.microsoft.com/office/2007/relationships/hdphoto" Target="../media/hdphoto2.wdp"/><Relationship Id="rId5" Type="http://schemas.openxmlformats.org/officeDocument/2006/relationships/image" Target="../media/image23.png"/><Relationship Id="rId10" Type="http://schemas.openxmlformats.org/officeDocument/2006/relationships/image" Target="../media/image27.png"/><Relationship Id="rId4" Type="http://schemas.openxmlformats.org/officeDocument/2006/relationships/notesSlide" Target="../notesSlides/notesSlide5.xml"/><Relationship Id="rId9"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5.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jpeg"/><Relationship Id="rId3" Type="http://schemas.openxmlformats.org/officeDocument/2006/relationships/notesSlide" Target="../notesSlides/notesSlide7.xml"/><Relationship Id="rId7" Type="http://schemas.openxmlformats.org/officeDocument/2006/relationships/image" Target="../media/image30.svg"/><Relationship Id="rId12" Type="http://schemas.openxmlformats.org/officeDocument/2006/relationships/image" Target="../media/image35.jpeg"/><Relationship Id="rId2" Type="http://schemas.openxmlformats.org/officeDocument/2006/relationships/slideLayout" Target="../slideLayouts/slideLayout71.xml"/><Relationship Id="rId1" Type="http://schemas.openxmlformats.org/officeDocument/2006/relationships/tags" Target="../tags/tag10.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emf"/><Relationship Id="rId10" Type="http://schemas.openxmlformats.org/officeDocument/2006/relationships/image" Target="../media/image33.png"/><Relationship Id="rId4" Type="http://schemas.openxmlformats.org/officeDocument/2006/relationships/oleObject" Target="../embeddings/oleObject7.bin"/><Relationship Id="rId9" Type="http://schemas.openxmlformats.org/officeDocument/2006/relationships/image" Target="../media/image32.png"/><Relationship Id="rId14" Type="http://schemas.openxmlformats.org/officeDocument/2006/relationships/image" Target="../media/image37.png"/></Relationships>
</file>

<file path=ppt/slides/_rels/slide8.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39.png"/><Relationship Id="rId26" Type="http://schemas.openxmlformats.org/officeDocument/2006/relationships/image" Target="../media/image45.png"/><Relationship Id="rId3" Type="http://schemas.openxmlformats.org/officeDocument/2006/relationships/tags" Target="../tags/tag13.xml"/><Relationship Id="rId21" Type="http://schemas.microsoft.com/office/2007/relationships/hdphoto" Target="../media/hdphoto4.wdp"/><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38.emf"/><Relationship Id="rId25" Type="http://schemas.openxmlformats.org/officeDocument/2006/relationships/image" Target="../media/image44.svg"/><Relationship Id="rId2" Type="http://schemas.openxmlformats.org/officeDocument/2006/relationships/tags" Target="../tags/tag12.xml"/><Relationship Id="rId16" Type="http://schemas.openxmlformats.org/officeDocument/2006/relationships/oleObject" Target="../embeddings/oleObject8.bin"/><Relationship Id="rId20" Type="http://schemas.openxmlformats.org/officeDocument/2006/relationships/image" Target="../media/image40.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43.png"/><Relationship Id="rId5" Type="http://schemas.openxmlformats.org/officeDocument/2006/relationships/tags" Target="../tags/tag15.xml"/><Relationship Id="rId15" Type="http://schemas.openxmlformats.org/officeDocument/2006/relationships/notesSlide" Target="../notesSlides/notesSlide8.xml"/><Relationship Id="rId23" Type="http://schemas.openxmlformats.org/officeDocument/2006/relationships/image" Target="../media/image42.png"/><Relationship Id="rId10" Type="http://schemas.openxmlformats.org/officeDocument/2006/relationships/tags" Target="../tags/tag20.xml"/><Relationship Id="rId19" Type="http://schemas.microsoft.com/office/2007/relationships/hdphoto" Target="../media/hdphoto3.wdp"/><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71.xml"/><Relationship Id="rId22"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5.xml"/><Relationship Id="rId1" Type="http://schemas.openxmlformats.org/officeDocument/2006/relationships/tags" Target="../tags/tag24.xml"/><Relationship Id="rId5" Type="http://schemas.openxmlformats.org/officeDocument/2006/relationships/image" Target="../media/image4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F35389-15FC-8313-3EFD-6FF566D61C72}"/>
              </a:ext>
            </a:extLst>
          </p:cNvPr>
          <p:cNvGraphicFramePr>
            <a:graphicFrameLocks noChangeAspect="1"/>
          </p:cNvGraphicFramePr>
          <p:nvPr>
            <p:custDataLst>
              <p:tags r:id="rId1"/>
            </p:custDataLst>
            <p:extLst>
              <p:ext uri="{D42A27DB-BD31-4B8C-83A1-F6EECF244321}">
                <p14:modId xmlns:p14="http://schemas.microsoft.com/office/powerpoint/2010/main" val="1197851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0CF35389-15FC-8313-3EFD-6FF566D61C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356016-501D-E7BC-6EB3-787CD9F4630B}"/>
              </a:ext>
            </a:extLst>
          </p:cNvPr>
          <p:cNvSpPr>
            <a:spLocks noGrp="1"/>
          </p:cNvSpPr>
          <p:nvPr>
            <p:ph type="title"/>
          </p:nvPr>
        </p:nvSpPr>
        <p:spPr>
          <a:xfrm>
            <a:off x="410400" y="1722241"/>
            <a:ext cx="6549200" cy="2154436"/>
          </a:xfrm>
        </p:spPr>
        <p:txBody>
          <a:bodyPr vert="horz"/>
          <a:lstStyle/>
          <a:p>
            <a:r>
              <a:rPr lang="en-US" b="1" dirty="0"/>
              <a:t>Digital Twins and Process Control with Software Defined Automation</a:t>
            </a:r>
            <a:br>
              <a:rPr lang="en-US" dirty="0"/>
            </a:br>
            <a:r>
              <a:rPr lang="en-US" sz="2000" dirty="0"/>
              <a:t>Accelerating autonomous production</a:t>
            </a:r>
          </a:p>
        </p:txBody>
      </p:sp>
      <p:sp>
        <p:nvSpPr>
          <p:cNvPr id="3" name="Subtitle 2">
            <a:extLst>
              <a:ext uri="{FF2B5EF4-FFF2-40B4-BE49-F238E27FC236}">
                <a16:creationId xmlns:a16="http://schemas.microsoft.com/office/drawing/2014/main" id="{9CA49859-DB8D-1A3E-A649-53CEBEA0336E}"/>
              </a:ext>
            </a:extLst>
          </p:cNvPr>
          <p:cNvSpPr>
            <a:spLocks noGrp="1"/>
          </p:cNvSpPr>
          <p:nvPr>
            <p:ph type="subTitle" idx="1"/>
          </p:nvPr>
        </p:nvSpPr>
        <p:spPr>
          <a:xfrm>
            <a:off x="411163" y="3876675"/>
            <a:ext cx="4266345" cy="1930123"/>
          </a:xfrm>
        </p:spPr>
        <p:txBody>
          <a:bodyPr/>
          <a:lstStyle/>
          <a:p>
            <a:pPr>
              <a:lnSpc>
                <a:spcPct val="100000"/>
              </a:lnSpc>
              <a:spcAft>
                <a:spcPts val="600"/>
              </a:spcAft>
            </a:pPr>
            <a:r>
              <a:rPr lang="en-US" b="1" dirty="0"/>
              <a:t>Raghav Tripathi</a:t>
            </a:r>
          </a:p>
          <a:p>
            <a:pPr>
              <a:lnSpc>
                <a:spcPct val="100000"/>
              </a:lnSpc>
              <a:spcAft>
                <a:spcPts val="600"/>
              </a:spcAft>
            </a:pPr>
            <a:r>
              <a:rPr lang="en-US" dirty="0"/>
              <a:t>Product Manager, Process Control Systems</a:t>
            </a:r>
          </a:p>
          <a:p>
            <a:pPr>
              <a:lnSpc>
                <a:spcPct val="100000"/>
              </a:lnSpc>
              <a:spcAft>
                <a:spcPts val="600"/>
              </a:spcAft>
            </a:pPr>
            <a:r>
              <a:rPr lang="en-US" dirty="0"/>
              <a:t>Siemens, UK &amp; Ireland</a:t>
            </a:r>
          </a:p>
          <a:p>
            <a:pPr>
              <a:lnSpc>
                <a:spcPct val="100000"/>
              </a:lnSpc>
              <a:spcAft>
                <a:spcPts val="600"/>
              </a:spcAft>
            </a:pPr>
            <a:endParaRPr lang="en-US" dirty="0"/>
          </a:p>
        </p:txBody>
      </p:sp>
      <p:sp>
        <p:nvSpPr>
          <p:cNvPr id="4" name="Footer Placeholder 3">
            <a:extLst>
              <a:ext uri="{FF2B5EF4-FFF2-40B4-BE49-F238E27FC236}">
                <a16:creationId xmlns:a16="http://schemas.microsoft.com/office/drawing/2014/main" id="{0E847AC8-F384-56A3-8236-AA3503C125F5}"/>
              </a:ext>
            </a:extLst>
          </p:cNvPr>
          <p:cNvSpPr>
            <a:spLocks noGrp="1"/>
          </p:cNvSpPr>
          <p:nvPr>
            <p:ph type="ftr" sz="quarter" idx="12"/>
          </p:nvPr>
        </p:nvSpPr>
        <p:spPr/>
        <p:txBody>
          <a:bodyPr/>
          <a:lstStyle/>
          <a:p>
            <a:r>
              <a:rPr lang="en-US">
                <a:solidFill>
                  <a:srgbClr val="FFFFFF"/>
                </a:solidFill>
                <a:latin typeface="Arial" panose="020B0604020202020204" pitchFamily="34" charset="0"/>
              </a:rPr>
              <a:t>Unrestricted | © Siemens 2025 | Raghav Tripathi</a:t>
            </a:r>
            <a:endParaRPr lang="en-US" dirty="0"/>
          </a:p>
        </p:txBody>
      </p:sp>
      <p:pic>
        <p:nvPicPr>
          <p:cNvPr id="5" name="Main shape &quot;Combining the real and the digital&quot;">
            <a:extLst>
              <a:ext uri="{FF2B5EF4-FFF2-40B4-BE49-F238E27FC236}">
                <a16:creationId xmlns:a16="http://schemas.microsoft.com/office/drawing/2014/main" id="{24928689-2B36-C44E-8D43-9C950B0472E9}"/>
              </a:ext>
              <a:ext uri="{C183D7F6-B498-43B3-948B-1728B52AA6E4}">
                <adec:decorative xmlns:adec="http://schemas.microsoft.com/office/drawing/2017/decorative" val="1"/>
              </a:ext>
            </a:extLst>
          </p:cNvPr>
          <p:cNvPicPr>
            <a:picLocks noChangeAspect="1"/>
          </p:cNvPicPr>
          <p:nvPr/>
        </p:nvPicPr>
        <p:blipFill rotWithShape="1">
          <a:blip r:embed="rId6"/>
          <a:srcRect t="-8" r="17036" b="-8"/>
          <a:stretch/>
        </p:blipFill>
        <p:spPr bwMode="ltGray">
          <a:xfrm>
            <a:off x="6530547" y="1691640"/>
            <a:ext cx="5661453" cy="3384676"/>
          </a:xfrm>
          <a:prstGeom prst="rect">
            <a:avLst/>
          </a:prstGeom>
        </p:spPr>
      </p:pic>
    </p:spTree>
    <p:extLst>
      <p:ext uri="{BB962C8B-B14F-4D97-AF65-F5344CB8AC3E}">
        <p14:creationId xmlns:p14="http://schemas.microsoft.com/office/powerpoint/2010/main" val="155755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B8588-0ACC-25A1-4A3D-A7CB8F4EA24C}"/>
            </a:ext>
          </a:extLst>
        </p:cNvPr>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18306509-48FE-76E2-E838-9EFB8E9F1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52" name="think-cell data - do not delete" hidden="1">
                        <a:extLst>
                          <a:ext uri="{FF2B5EF4-FFF2-40B4-BE49-F238E27FC236}">
                            <a16:creationId xmlns:a16="http://schemas.microsoft.com/office/drawing/2014/main" id="{18306509-48FE-76E2-E838-9EFB8E9F1E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09A75AA-632A-67C6-27D0-894315254024}"/>
              </a:ext>
            </a:extLst>
          </p:cNvPr>
          <p:cNvSpPr>
            <a:spLocks noGrp="1"/>
          </p:cNvSpPr>
          <p:nvPr>
            <p:ph type="title"/>
          </p:nvPr>
        </p:nvSpPr>
        <p:spPr/>
        <p:txBody>
          <a:bodyPr vert="horz"/>
          <a:lstStyle/>
          <a:p>
            <a:r>
              <a:rPr lang="en-US"/>
              <a:t>Software-Defined</a:t>
            </a:r>
            <a:r>
              <a:rPr lang="en-US" b="0"/>
              <a:t> </a:t>
            </a:r>
            <a:r>
              <a:rPr lang="en-US"/>
              <a:t>Automation</a:t>
            </a:r>
            <a:r>
              <a:rPr lang="en-US" sz="2000" b="1"/>
              <a:t> comprises </a:t>
            </a:r>
            <a:r>
              <a:rPr lang="en-US"/>
              <a:t>four key</a:t>
            </a:r>
            <a:r>
              <a:rPr lang="en-US" sz="2000" b="1"/>
              <a:t> elements</a:t>
            </a:r>
            <a:endParaRPr lang="en-US" b="0"/>
          </a:p>
        </p:txBody>
      </p:sp>
      <p:sp>
        <p:nvSpPr>
          <p:cNvPr id="4" name="Footer Placeholder 3">
            <a:extLst>
              <a:ext uri="{FF2B5EF4-FFF2-40B4-BE49-F238E27FC236}">
                <a16:creationId xmlns:a16="http://schemas.microsoft.com/office/drawing/2014/main" id="{0483DBF8-65F4-CC8A-0028-63751175E95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Unrestricted | © Siemens 2025 | Raghav Tripathi</a:t>
            </a:r>
          </a:p>
        </p:txBody>
      </p:sp>
      <p:sp>
        <p:nvSpPr>
          <p:cNvPr id="6" name="Rectangle 165">
            <a:extLst>
              <a:ext uri="{FF2B5EF4-FFF2-40B4-BE49-F238E27FC236}">
                <a16:creationId xmlns:a16="http://schemas.microsoft.com/office/drawing/2014/main" id="{039AF09D-4CA0-D7D3-5764-D798D50F4098}"/>
              </a:ext>
            </a:extLst>
          </p:cNvPr>
          <p:cNvSpPr>
            <a:spLocks/>
          </p:cNvSpPr>
          <p:nvPr/>
        </p:nvSpPr>
        <p:spPr>
          <a:xfrm>
            <a:off x="4520082"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pPr>
            <a:r>
              <a:rPr lang="en-US" sz="1200" kern="1200">
                <a:solidFill>
                  <a:prstClr val="white"/>
                </a:solidFill>
                <a:cs typeface="Arial"/>
              </a:rPr>
              <a:t>PCS neo engineering </a:t>
            </a:r>
            <a:br>
              <a:rPr lang="en-US" sz="1200" kern="1200">
                <a:solidFill>
                  <a:prstClr val="white"/>
                </a:solidFill>
                <a:cs typeface="Arial"/>
              </a:rPr>
            </a:br>
            <a:r>
              <a:rPr lang="en-US" sz="1200" kern="1200">
                <a:solidFill>
                  <a:prstClr val="white"/>
                </a:solidFill>
                <a:cs typeface="Arial"/>
              </a:rPr>
              <a:t>in the cloud</a:t>
            </a:r>
          </a:p>
        </p:txBody>
      </p:sp>
      <p:sp>
        <p:nvSpPr>
          <p:cNvPr id="16" name="Rectangle 27">
            <a:extLst>
              <a:ext uri="{FF2B5EF4-FFF2-40B4-BE49-F238E27FC236}">
                <a16:creationId xmlns:a16="http://schemas.microsoft.com/office/drawing/2014/main" id="{24D29C78-CEB5-A5F2-49C9-BC228D04B7FE}"/>
              </a:ext>
            </a:extLst>
          </p:cNvPr>
          <p:cNvSpPr>
            <a:spLocks/>
          </p:cNvSpPr>
          <p:nvPr/>
        </p:nvSpPr>
        <p:spPr>
          <a:xfrm>
            <a:off x="6966343"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defRPr/>
            </a:pPr>
            <a:r>
              <a:rPr lang="en-US" sz="1200" kern="1200">
                <a:solidFill>
                  <a:prstClr val="white"/>
                </a:solidFill>
                <a:cs typeface="Arial"/>
              </a:rPr>
              <a:t>DCS Co-Pilo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0">
            <a:extLst>
              <a:ext uri="{FF2B5EF4-FFF2-40B4-BE49-F238E27FC236}">
                <a16:creationId xmlns:a16="http://schemas.microsoft.com/office/drawing/2014/main" id="{DF7CBEB3-26A0-F82C-893D-855D7D865771}"/>
              </a:ext>
            </a:extLst>
          </p:cNvPr>
          <p:cNvSpPr txBox="1">
            <a:spLocks noChangeAspect="1"/>
          </p:cNvSpPr>
          <p:nvPr/>
        </p:nvSpPr>
        <p:spPr>
          <a:xfrm>
            <a:off x="411163" y="4421788"/>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Siemens Portfolio</a:t>
            </a:r>
          </a:p>
        </p:txBody>
      </p:sp>
      <p:sp>
        <p:nvSpPr>
          <p:cNvPr id="27" name="Rechteck 51">
            <a:extLst>
              <a:ext uri="{FF2B5EF4-FFF2-40B4-BE49-F238E27FC236}">
                <a16:creationId xmlns:a16="http://schemas.microsoft.com/office/drawing/2014/main" id="{5FC6016F-C001-C7A6-31EF-9EE5D2D5E6BF}"/>
              </a:ext>
            </a:extLst>
          </p:cNvPr>
          <p:cNvSpPr>
            <a:spLocks/>
          </p:cNvSpPr>
          <p:nvPr/>
        </p:nvSpPr>
        <p:spPr>
          <a:xfrm>
            <a:off x="2071043" y="1417050"/>
            <a:ext cx="2304833"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IT-like </a:t>
            </a: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Engineering</a:t>
            </a:r>
            <a:endParaRPr kumimoji="0" lang="en-US" sz="1800" b="1" i="0" u="none" strike="noStrike" kern="1200" cap="none" spc="0" normalizeH="0" baseline="0" noProof="0">
              <a:ln>
                <a:noFill/>
              </a:ln>
              <a:solidFill>
                <a:schemeClr val="tx1"/>
              </a:solidFill>
              <a:effectLst/>
              <a:uLnTx/>
              <a:uFillTx/>
              <a:latin typeface="Arial"/>
              <a:ea typeface="+mn-ea"/>
              <a:cs typeface="+mn-cs"/>
            </a:endParaRPr>
          </a:p>
        </p:txBody>
      </p:sp>
      <p:sp>
        <p:nvSpPr>
          <p:cNvPr id="30" name="Rechteck 53">
            <a:extLst>
              <a:ext uri="{FF2B5EF4-FFF2-40B4-BE49-F238E27FC236}">
                <a16:creationId xmlns:a16="http://schemas.microsoft.com/office/drawing/2014/main" id="{EA71B42C-1747-EC69-829E-552DEA5E8059}"/>
              </a:ext>
            </a:extLst>
          </p:cNvPr>
          <p:cNvSpPr>
            <a:spLocks/>
          </p:cNvSpPr>
          <p:nvPr/>
        </p:nvSpPr>
        <p:spPr>
          <a:xfrm>
            <a:off x="6969123" y="1417050"/>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a:solidFill>
                  <a:prstClr val="white"/>
                </a:solidFill>
                <a:latin typeface="Arial"/>
              </a:rPr>
              <a:t>Intelligent Operations</a:t>
            </a:r>
            <a:endParaRPr kumimoji="0" lang="en-US" sz="1800" b="1" i="0" u="none" strike="noStrike" kern="1200" cap="none" spc="0" normalizeH="0" baseline="0" noProof="0">
              <a:ln>
                <a:noFill/>
              </a:ln>
              <a:solidFill>
                <a:prstClr val="white"/>
              </a:solidFill>
              <a:effectLst/>
              <a:uLnTx/>
              <a:uFillTx/>
              <a:latin typeface="Arial"/>
            </a:endParaRPr>
          </a:p>
        </p:txBody>
      </p:sp>
      <p:sp>
        <p:nvSpPr>
          <p:cNvPr id="31" name="Rechteck 52">
            <a:extLst>
              <a:ext uri="{FF2B5EF4-FFF2-40B4-BE49-F238E27FC236}">
                <a16:creationId xmlns:a16="http://schemas.microsoft.com/office/drawing/2014/main" id="{C0C493E6-3929-A57F-AB4B-0DF44541FD40}"/>
              </a:ext>
            </a:extLst>
          </p:cNvPr>
          <p:cNvSpPr>
            <a:spLocks/>
          </p:cNvSpPr>
          <p:nvPr/>
        </p:nvSpPr>
        <p:spPr>
          <a:xfrm>
            <a:off x="4520083"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Cloud &amp; Virtualizatio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20">
            <a:extLst>
              <a:ext uri="{FF2B5EF4-FFF2-40B4-BE49-F238E27FC236}">
                <a16:creationId xmlns:a16="http://schemas.microsoft.com/office/drawing/2014/main" id="{090AEB23-018D-3900-DA01-82694AFBA7E9}"/>
              </a:ext>
            </a:extLst>
          </p:cNvPr>
          <p:cNvSpPr txBox="1">
            <a:spLocks noChangeAspect="1"/>
          </p:cNvSpPr>
          <p:nvPr/>
        </p:nvSpPr>
        <p:spPr>
          <a:xfrm>
            <a:off x="410400" y="2243136"/>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Explanation</a:t>
            </a:r>
          </a:p>
        </p:txBody>
      </p:sp>
      <p:sp>
        <p:nvSpPr>
          <p:cNvPr id="38" name="TextBox 20">
            <a:extLst>
              <a:ext uri="{FF2B5EF4-FFF2-40B4-BE49-F238E27FC236}">
                <a16:creationId xmlns:a16="http://schemas.microsoft.com/office/drawing/2014/main" id="{CBA46727-B774-39E3-5099-5F3EF561CB45}"/>
              </a:ext>
            </a:extLst>
          </p:cNvPr>
          <p:cNvSpPr txBox="1">
            <a:spLocks/>
          </p:cNvSpPr>
          <p:nvPr/>
        </p:nvSpPr>
        <p:spPr>
          <a:xfrm>
            <a:off x="207104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W development principles, applied to industrial automation</a:t>
            </a:r>
          </a:p>
        </p:txBody>
      </p:sp>
      <p:sp>
        <p:nvSpPr>
          <p:cNvPr id="39" name="TextBox 13">
            <a:extLst>
              <a:ext uri="{FF2B5EF4-FFF2-40B4-BE49-F238E27FC236}">
                <a16:creationId xmlns:a16="http://schemas.microsoft.com/office/drawing/2014/main" id="{0C574B86-B648-259B-6E84-FCB671F02924}"/>
              </a:ext>
            </a:extLst>
          </p:cNvPr>
          <p:cNvSpPr txBox="1">
            <a:spLocks/>
          </p:cNvSpPr>
          <p:nvPr/>
        </p:nvSpPr>
        <p:spPr>
          <a:xfrm>
            <a:off x="452008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Decoupling fixed hardware from automation </a:t>
            </a:r>
            <a:r>
              <a:rPr lang="en-US" sz="1200" kern="1200">
                <a:solidFill>
                  <a:prstClr val="white"/>
                </a:solidFill>
                <a:latin typeface="Arial"/>
                <a:ea typeface="+mn-ea"/>
                <a:cs typeface="Arial"/>
              </a:rPr>
              <a:t>s</a:t>
            </a:r>
            <a:r>
              <a:rPr kumimoji="0" lang="en-US" sz="1200" b="0" i="0" u="none" strike="noStrike" kern="1200" cap="none" spc="0" normalizeH="0" baseline="0" noProof="0" err="1">
                <a:ln>
                  <a:noFill/>
                </a:ln>
                <a:solidFill>
                  <a:prstClr val="white"/>
                </a:solidFill>
                <a:effectLst/>
                <a:uLnTx/>
                <a:uFillTx/>
                <a:latin typeface="Arial"/>
                <a:ea typeface="+mn-ea"/>
                <a:cs typeface="Arial"/>
              </a:rPr>
              <a:t>oftware</a:t>
            </a:r>
            <a:r>
              <a:rPr kumimoji="0" lang="en-US" sz="1200" b="0" i="0" u="none" strike="noStrike" kern="1200" cap="none" spc="0" normalizeH="0" baseline="0" noProof="0">
                <a:ln>
                  <a:noFill/>
                </a:ln>
                <a:solidFill>
                  <a:prstClr val="white"/>
                </a:solidFill>
                <a:effectLst/>
                <a:uLnTx/>
                <a:uFillTx/>
                <a:latin typeface="Arial"/>
                <a:ea typeface="+mn-ea"/>
                <a:cs typeface="Arial"/>
              </a:rPr>
              <a:t> </a:t>
            </a:r>
          </a:p>
        </p:txBody>
      </p:sp>
      <p:sp>
        <p:nvSpPr>
          <p:cNvPr id="40" name="TextBox 20">
            <a:extLst>
              <a:ext uri="{FF2B5EF4-FFF2-40B4-BE49-F238E27FC236}">
                <a16:creationId xmlns:a16="http://schemas.microsoft.com/office/drawing/2014/main" id="{CDDE5C48-59B1-6439-7F66-0634D6959A37}"/>
              </a:ext>
            </a:extLst>
          </p:cNvPr>
          <p:cNvSpPr txBox="1">
            <a:spLocks/>
          </p:cNvSpPr>
          <p:nvPr/>
        </p:nvSpPr>
        <p:spPr>
          <a:xfrm>
            <a:off x="696912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mart solutions that build upon Software-</a:t>
            </a:r>
            <a:r>
              <a:rPr lang="en-US" sz="1200" kern="1200">
                <a:solidFill>
                  <a:prstClr val="white"/>
                </a:solidFill>
                <a:latin typeface="Arial"/>
                <a:ea typeface="+mn-ea"/>
                <a:cs typeface="Arial"/>
              </a:rPr>
              <a:t>D</a:t>
            </a:r>
            <a:r>
              <a:rPr kumimoji="0" lang="en-US" sz="1200" i="0" u="none" strike="noStrike" kern="1200" cap="none" spc="0" normalizeH="0" baseline="0" noProof="0" err="1">
                <a:ln>
                  <a:noFill/>
                </a:ln>
                <a:solidFill>
                  <a:prstClr val="white"/>
                </a:solidFill>
                <a:effectLst/>
                <a:uLnTx/>
                <a:uFillTx/>
                <a:latin typeface="Arial"/>
                <a:ea typeface="+mn-ea"/>
                <a:cs typeface="Arial"/>
              </a:rPr>
              <a:t>efined</a:t>
            </a:r>
            <a:r>
              <a:rPr kumimoji="0" lang="en-US" sz="1200" i="0" u="none" strike="noStrike" kern="1200" cap="none" spc="0" normalizeH="0" baseline="0" noProof="0">
                <a:ln>
                  <a:noFill/>
                </a:ln>
                <a:solidFill>
                  <a:prstClr val="white"/>
                </a:solidFill>
                <a:effectLst/>
                <a:uLnTx/>
                <a:uFillTx/>
                <a:latin typeface="Arial"/>
                <a:ea typeface="+mn-ea"/>
                <a:cs typeface="Arial"/>
              </a:rPr>
              <a:t> </a:t>
            </a:r>
            <a:r>
              <a:rPr lang="en-US" sz="1200" kern="1200">
                <a:solidFill>
                  <a:prstClr val="white"/>
                </a:solidFill>
                <a:latin typeface="Arial"/>
                <a:ea typeface="+mn-ea"/>
                <a:cs typeface="Arial"/>
              </a:rPr>
              <a:t>A</a:t>
            </a:r>
            <a:r>
              <a:rPr kumimoji="0" lang="en-US" sz="1200" i="0" u="none" strike="noStrike" kern="1200" cap="none" spc="0" normalizeH="0" baseline="0" noProof="0" err="1">
                <a:ln>
                  <a:noFill/>
                </a:ln>
                <a:solidFill>
                  <a:prstClr val="white"/>
                </a:solidFill>
                <a:effectLst/>
                <a:uLnTx/>
                <a:uFillTx/>
                <a:latin typeface="Arial"/>
                <a:ea typeface="+mn-ea"/>
                <a:cs typeface="Arial"/>
              </a:rPr>
              <a:t>utomation</a:t>
            </a:r>
            <a:endParaRPr kumimoji="0" lang="en-US" sz="1200" i="0" u="none" strike="noStrike" kern="1200" cap="none" spc="0" normalizeH="0" baseline="0" noProof="0">
              <a:ln>
                <a:noFill/>
              </a:ln>
              <a:solidFill>
                <a:prstClr val="white"/>
              </a:solidFill>
              <a:effectLst/>
              <a:uLnTx/>
              <a:uFillTx/>
              <a:latin typeface="Arial"/>
              <a:ea typeface="+mn-ea"/>
              <a:cs typeface="Arial"/>
            </a:endParaRPr>
          </a:p>
        </p:txBody>
      </p:sp>
      <p:sp>
        <p:nvSpPr>
          <p:cNvPr id="41" name="Rechteck 52">
            <a:extLst>
              <a:ext uri="{FF2B5EF4-FFF2-40B4-BE49-F238E27FC236}">
                <a16:creationId xmlns:a16="http://schemas.microsoft.com/office/drawing/2014/main" id="{F0E047C2-4C19-883F-EC0B-B20E8881AC60}"/>
              </a:ext>
            </a:extLst>
          </p:cNvPr>
          <p:cNvSpPr>
            <a:spLocks/>
          </p:cNvSpPr>
          <p:nvPr/>
        </p:nvSpPr>
        <p:spPr>
          <a:xfrm>
            <a:off x="410400" y="5279668"/>
            <a:ext cx="11384805" cy="527408"/>
          </a:xfrm>
          <a:prstGeom prst="rect">
            <a:avLst/>
          </a:prstGeom>
          <a:solidFill>
            <a:srgbClr val="333353"/>
          </a:solidFill>
        </p:spPr>
        <p:txBody>
          <a:bodyPr wrap="square" lIns="72000" tIns="72000" rIns="72000" bIns="72000" anchor="ctr">
            <a:noAutofit/>
          </a:bodyPr>
          <a:lstStyle/>
          <a:p>
            <a:pPr lvl="0" algn="ctr" rtl="0">
              <a:buClrTx/>
              <a:defRPr/>
            </a:pPr>
            <a:r>
              <a:rPr lang="en-US" sz="2000" b="1" kern="1200">
                <a:solidFill>
                  <a:schemeClr val="tx1"/>
                </a:solidFill>
                <a:latin typeface="Arial"/>
                <a:ea typeface="+mn-ea"/>
                <a:cs typeface="Arial"/>
              </a:rPr>
              <a:t>Cybersecurity offering as strong protection layer for the software-based production</a:t>
            </a:r>
            <a:endParaRPr kumimoji="0" lang="en-US" sz="2000" b="1" i="0" u="none" strike="noStrike" kern="1200" cap="none" spc="0" normalizeH="0" baseline="0" noProof="0">
              <a:ln>
                <a:noFill/>
              </a:ln>
              <a:solidFill>
                <a:schemeClr val="tx1"/>
              </a:solidFill>
              <a:effectLst/>
              <a:uLnTx/>
              <a:uFillTx/>
              <a:latin typeface="Arial"/>
              <a:ea typeface="+mn-ea"/>
              <a:cs typeface="Arial"/>
            </a:endParaRPr>
          </a:p>
        </p:txBody>
      </p:sp>
      <p:sp>
        <p:nvSpPr>
          <p:cNvPr id="42" name="Freeform 5">
            <a:extLst>
              <a:ext uri="{FF2B5EF4-FFF2-40B4-BE49-F238E27FC236}">
                <a16:creationId xmlns:a16="http://schemas.microsoft.com/office/drawing/2014/main" id="{88596DB6-BA51-6472-6DB6-8EF509855C59}"/>
              </a:ext>
            </a:extLst>
          </p:cNvPr>
          <p:cNvSpPr>
            <a:spLocks/>
          </p:cNvSpPr>
          <p:nvPr/>
        </p:nvSpPr>
        <p:spPr bwMode="auto">
          <a:xfrm>
            <a:off x="2071042" y="3019766"/>
            <a:ext cx="645283" cy="553998"/>
          </a:xfrm>
          <a:custGeom>
            <a:avLst/>
            <a:gdLst>
              <a:gd name="T0" fmla="*/ 48 w 84"/>
              <a:gd name="T1" fmla="*/ 0 h 72"/>
              <a:gd name="T2" fmla="*/ 12 w 84"/>
              <a:gd name="T3" fmla="*/ 36 h 72"/>
              <a:gd name="T4" fmla="*/ 0 w 84"/>
              <a:gd name="T5" fmla="*/ 36 h 72"/>
              <a:gd name="T6" fmla="*/ 16 w 84"/>
              <a:gd name="T7" fmla="*/ 56 h 72"/>
              <a:gd name="T8" fmla="*/ 32 w 84"/>
              <a:gd name="T9" fmla="*/ 36 h 72"/>
              <a:gd name="T10" fmla="*/ 20 w 84"/>
              <a:gd name="T11" fmla="*/ 36 h 72"/>
              <a:gd name="T12" fmla="*/ 48 w 84"/>
              <a:gd name="T13" fmla="*/ 8 h 72"/>
              <a:gd name="T14" fmla="*/ 76 w 84"/>
              <a:gd name="T15" fmla="*/ 36 h 72"/>
              <a:gd name="T16" fmla="*/ 48 w 84"/>
              <a:gd name="T17" fmla="*/ 64 h 72"/>
              <a:gd name="T18" fmla="*/ 33 w 84"/>
              <a:gd name="T19" fmla="*/ 60 h 72"/>
              <a:gd name="T20" fmla="*/ 28 w 84"/>
              <a:gd name="T21" fmla="*/ 66 h 72"/>
              <a:gd name="T22" fmla="*/ 48 w 84"/>
              <a:gd name="T23" fmla="*/ 72 h 72"/>
              <a:gd name="T24" fmla="*/ 84 w 84"/>
              <a:gd name="T25" fmla="*/ 36 h 72"/>
              <a:gd name="T26" fmla="*/ 48 w 84"/>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2">
                <a:moveTo>
                  <a:pt x="48" y="0"/>
                </a:moveTo>
                <a:cubicBezTo>
                  <a:pt x="28" y="0"/>
                  <a:pt x="12" y="16"/>
                  <a:pt x="12" y="36"/>
                </a:cubicBezTo>
                <a:cubicBezTo>
                  <a:pt x="0" y="36"/>
                  <a:pt x="0" y="36"/>
                  <a:pt x="0" y="36"/>
                </a:cubicBezTo>
                <a:cubicBezTo>
                  <a:pt x="16" y="56"/>
                  <a:pt x="16" y="56"/>
                  <a:pt x="16" y="56"/>
                </a:cubicBezTo>
                <a:cubicBezTo>
                  <a:pt x="32" y="36"/>
                  <a:pt x="32" y="36"/>
                  <a:pt x="32" y="36"/>
                </a:cubicBezTo>
                <a:cubicBezTo>
                  <a:pt x="20" y="36"/>
                  <a:pt x="20" y="36"/>
                  <a:pt x="20" y="36"/>
                </a:cubicBezTo>
                <a:cubicBezTo>
                  <a:pt x="20" y="21"/>
                  <a:pt x="33" y="8"/>
                  <a:pt x="48" y="8"/>
                </a:cubicBezTo>
                <a:cubicBezTo>
                  <a:pt x="63" y="8"/>
                  <a:pt x="76" y="21"/>
                  <a:pt x="76" y="36"/>
                </a:cubicBezTo>
                <a:cubicBezTo>
                  <a:pt x="76" y="51"/>
                  <a:pt x="63" y="64"/>
                  <a:pt x="48" y="64"/>
                </a:cubicBezTo>
                <a:cubicBezTo>
                  <a:pt x="43" y="64"/>
                  <a:pt x="38" y="62"/>
                  <a:pt x="33" y="60"/>
                </a:cubicBezTo>
                <a:cubicBezTo>
                  <a:pt x="28" y="66"/>
                  <a:pt x="28" y="66"/>
                  <a:pt x="28" y="66"/>
                </a:cubicBezTo>
                <a:cubicBezTo>
                  <a:pt x="34" y="70"/>
                  <a:pt x="41" y="72"/>
                  <a:pt x="48" y="72"/>
                </a:cubicBezTo>
                <a:cubicBezTo>
                  <a:pt x="68" y="72"/>
                  <a:pt x="84" y="56"/>
                  <a:pt x="84" y="36"/>
                </a:cubicBezTo>
                <a:cubicBezTo>
                  <a:pt x="84" y="16"/>
                  <a:pt x="68" y="0"/>
                  <a:pt x="48" y="0"/>
                </a:cubicBezTo>
                <a:close/>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eck 49">
            <a:extLst>
              <a:ext uri="{FF2B5EF4-FFF2-40B4-BE49-F238E27FC236}">
                <a16:creationId xmlns:a16="http://schemas.microsoft.com/office/drawing/2014/main" id="{2335C512-2CCC-BA0C-FC37-2ACF217B8021}"/>
              </a:ext>
            </a:extLst>
          </p:cNvPr>
          <p:cNvSpPr>
            <a:spLocks/>
          </p:cNvSpPr>
          <p:nvPr/>
        </p:nvSpPr>
        <p:spPr>
          <a:xfrm>
            <a:off x="9418164"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l" rtl="0">
              <a:buClrTx/>
              <a:defRPr/>
            </a:pPr>
            <a:r>
              <a:rPr lang="en-US" b="1" kern="1200">
                <a:latin typeface="Arial"/>
              </a:rPr>
              <a:t>Dynamic </a:t>
            </a:r>
            <a:r>
              <a:rPr lang="en-US" b="1" kern="1200">
                <a:solidFill>
                  <a:schemeClr val="tx1"/>
                </a:solidFill>
                <a:latin typeface="Arial"/>
              </a:rPr>
              <a:t>Lifecycle Management</a:t>
            </a:r>
            <a:endParaRPr kumimoji="0" lang="en-US" sz="1800" b="1" i="0" u="none" strike="noStrike" kern="1200" cap="none" spc="0" normalizeH="0" baseline="0" noProof="0">
              <a:ln>
                <a:noFill/>
              </a:ln>
              <a:solidFill>
                <a:schemeClr val="tx1"/>
              </a:solidFill>
              <a:effectLst/>
              <a:uLnTx/>
              <a:uFillTx/>
              <a:latin typeface="Arial"/>
            </a:endParaRPr>
          </a:p>
        </p:txBody>
      </p:sp>
      <p:sp>
        <p:nvSpPr>
          <p:cNvPr id="44" name="TextBox 20">
            <a:extLst>
              <a:ext uri="{FF2B5EF4-FFF2-40B4-BE49-F238E27FC236}">
                <a16:creationId xmlns:a16="http://schemas.microsoft.com/office/drawing/2014/main" id="{1DF92EC1-85F4-7960-91FF-C2287AFFDF6C}"/>
              </a:ext>
            </a:extLst>
          </p:cNvPr>
          <p:cNvSpPr txBox="1">
            <a:spLocks/>
          </p:cNvSpPr>
          <p:nvPr/>
        </p:nvSpPr>
        <p:spPr>
          <a:xfrm>
            <a:off x="9418164" y="2223475"/>
            <a:ext cx="2151609" cy="36933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Management</a:t>
            </a:r>
            <a:br>
              <a:rPr kumimoji="0" lang="en-US" sz="1200" b="0" i="0" u="none" strike="noStrike" kern="1200" cap="none" spc="0" normalizeH="0" baseline="0" noProof="0">
                <a:ln>
                  <a:noFill/>
                </a:ln>
                <a:solidFill>
                  <a:prstClr val="white"/>
                </a:solidFill>
                <a:effectLst/>
                <a:uLnTx/>
                <a:uFillTx/>
                <a:latin typeface="Arial"/>
                <a:ea typeface="+mn-ea"/>
                <a:cs typeface="Arial"/>
              </a:rPr>
            </a:br>
            <a:r>
              <a:rPr kumimoji="0" lang="en-US" sz="1200" b="0" i="0" u="none" strike="noStrike" kern="1200" cap="none" spc="0" normalizeH="0" baseline="0" noProof="0">
                <a:ln>
                  <a:noFill/>
                </a:ln>
                <a:solidFill>
                  <a:prstClr val="white"/>
                </a:solidFill>
                <a:effectLst/>
                <a:uLnTx/>
                <a:uFillTx/>
                <a:latin typeface="Arial"/>
                <a:ea typeface="+mn-ea"/>
                <a:cs typeface="Arial"/>
              </a:rPr>
              <a:t>&amp;</a:t>
            </a:r>
            <a:r>
              <a:rPr lang="en-US" sz="1200" kern="1200">
                <a:solidFill>
                  <a:prstClr val="white"/>
                </a:solidFill>
                <a:latin typeface="Arial"/>
                <a:ea typeface="+mn-ea"/>
                <a:cs typeface="Arial"/>
              </a:rPr>
              <a:t> </a:t>
            </a:r>
            <a:r>
              <a:rPr kumimoji="0" lang="en-US" sz="1200" b="0" i="0" u="none" strike="noStrike" kern="1200" cap="none" spc="0" normalizeH="0" baseline="0" noProof="0">
                <a:ln>
                  <a:noFill/>
                </a:ln>
                <a:solidFill>
                  <a:prstClr val="white"/>
                </a:solidFill>
                <a:effectLst/>
                <a:uLnTx/>
                <a:uFillTx/>
                <a:latin typeface="Arial"/>
                <a:ea typeface="+mn-ea"/>
                <a:cs typeface="Arial"/>
              </a:rPr>
              <a:t>Deployment infrastructure</a:t>
            </a:r>
          </a:p>
        </p:txBody>
      </p:sp>
      <p:sp>
        <p:nvSpPr>
          <p:cNvPr id="45" name="Freeform 6">
            <a:extLst>
              <a:ext uri="{FF2B5EF4-FFF2-40B4-BE49-F238E27FC236}">
                <a16:creationId xmlns:a16="http://schemas.microsoft.com/office/drawing/2014/main" id="{1274A130-455C-38A0-3742-ABF2BA2DE0C2}"/>
              </a:ext>
            </a:extLst>
          </p:cNvPr>
          <p:cNvSpPr>
            <a:spLocks noChangeAspect="1" noEditPoints="1"/>
          </p:cNvSpPr>
          <p:nvPr/>
        </p:nvSpPr>
        <p:spPr bwMode="auto">
          <a:xfrm>
            <a:off x="9418163" y="3021499"/>
            <a:ext cx="404423" cy="550287"/>
          </a:xfrm>
          <a:custGeom>
            <a:avLst/>
            <a:gdLst>
              <a:gd name="T0" fmla="*/ 1892 w 2362"/>
              <a:gd name="T1" fmla="*/ 0 h 3213"/>
              <a:gd name="T2" fmla="*/ 1892 w 2362"/>
              <a:gd name="T3" fmla="*/ 475 h 3213"/>
              <a:gd name="T4" fmla="*/ 470 w 2362"/>
              <a:gd name="T5" fmla="*/ 475 h 3213"/>
              <a:gd name="T6" fmla="*/ 470 w 2362"/>
              <a:gd name="T7" fmla="*/ 0 h 3213"/>
              <a:gd name="T8" fmla="*/ 0 w 2362"/>
              <a:gd name="T9" fmla="*/ 0 h 3213"/>
              <a:gd name="T10" fmla="*/ 0 w 2362"/>
              <a:gd name="T11" fmla="*/ 3213 h 3213"/>
              <a:gd name="T12" fmla="*/ 2362 w 2362"/>
              <a:gd name="T13" fmla="*/ 3213 h 3213"/>
              <a:gd name="T14" fmla="*/ 2362 w 2362"/>
              <a:gd name="T15" fmla="*/ 0 h 3213"/>
              <a:gd name="T16" fmla="*/ 1892 w 2362"/>
              <a:gd name="T17" fmla="*/ 0 h 3213"/>
              <a:gd name="T18" fmla="*/ 756 w 2362"/>
              <a:gd name="T19" fmla="*/ 2646 h 3213"/>
              <a:gd name="T20" fmla="*/ 378 w 2362"/>
              <a:gd name="T21" fmla="*/ 2646 h 3213"/>
              <a:gd name="T22" fmla="*/ 378 w 2362"/>
              <a:gd name="T23" fmla="*/ 2268 h 3213"/>
              <a:gd name="T24" fmla="*/ 756 w 2362"/>
              <a:gd name="T25" fmla="*/ 2268 h 3213"/>
              <a:gd name="T26" fmla="*/ 756 w 2362"/>
              <a:gd name="T27" fmla="*/ 2646 h 3213"/>
              <a:gd name="T28" fmla="*/ 756 w 2362"/>
              <a:gd name="T29" fmla="*/ 1607 h 3213"/>
              <a:gd name="T30" fmla="*/ 378 w 2362"/>
              <a:gd name="T31" fmla="*/ 1607 h 3213"/>
              <a:gd name="T32" fmla="*/ 378 w 2362"/>
              <a:gd name="T33" fmla="*/ 1229 h 3213"/>
              <a:gd name="T34" fmla="*/ 756 w 2362"/>
              <a:gd name="T35" fmla="*/ 1229 h 3213"/>
              <a:gd name="T36" fmla="*/ 756 w 2362"/>
              <a:gd name="T37" fmla="*/ 1607 h 3213"/>
              <a:gd name="T38" fmla="*/ 1423 w 2362"/>
              <a:gd name="T39" fmla="*/ 2786 h 3213"/>
              <a:gd name="T40" fmla="*/ 1067 w 2362"/>
              <a:gd name="T41" fmla="*/ 2430 h 3213"/>
              <a:gd name="T42" fmla="*/ 1172 w 2362"/>
              <a:gd name="T43" fmla="*/ 2324 h 3213"/>
              <a:gd name="T44" fmla="*/ 1400 w 2362"/>
              <a:gd name="T45" fmla="*/ 2522 h 3213"/>
              <a:gd name="T46" fmla="*/ 1980 w 2362"/>
              <a:gd name="T47" fmla="*/ 2019 h 3213"/>
              <a:gd name="T48" fmla="*/ 2085 w 2362"/>
              <a:gd name="T49" fmla="*/ 2124 h 3213"/>
              <a:gd name="T50" fmla="*/ 1423 w 2362"/>
              <a:gd name="T51" fmla="*/ 2786 h 3213"/>
              <a:gd name="T52" fmla="*/ 1423 w 2362"/>
              <a:gd name="T53" fmla="*/ 1747 h 3213"/>
              <a:gd name="T54" fmla="*/ 1067 w 2362"/>
              <a:gd name="T55" fmla="*/ 1390 h 3213"/>
              <a:gd name="T56" fmla="*/ 1172 w 2362"/>
              <a:gd name="T57" fmla="*/ 1285 h 3213"/>
              <a:gd name="T58" fmla="*/ 1400 w 2362"/>
              <a:gd name="T59" fmla="*/ 1483 h 3213"/>
              <a:gd name="T60" fmla="*/ 1980 w 2362"/>
              <a:gd name="T61" fmla="*/ 979 h 3213"/>
              <a:gd name="T62" fmla="*/ 2085 w 2362"/>
              <a:gd name="T63" fmla="*/ 1085 h 3213"/>
              <a:gd name="T64" fmla="*/ 1423 w 2362"/>
              <a:gd name="T65" fmla="*/ 1747 h 3213"/>
              <a:gd name="T66" fmla="*/ 1698 w 2362"/>
              <a:gd name="T67" fmla="*/ 281 h 3213"/>
              <a:gd name="T68" fmla="*/ 664 w 2362"/>
              <a:gd name="T69" fmla="*/ 281 h 3213"/>
              <a:gd name="T70" fmla="*/ 664 w 2362"/>
              <a:gd name="T71" fmla="*/ 0 h 3213"/>
              <a:gd name="T72" fmla="*/ 1698 w 2362"/>
              <a:gd name="T73" fmla="*/ 0 h 3213"/>
              <a:gd name="T74" fmla="*/ 1698 w 2362"/>
              <a:gd name="T75" fmla="*/ 281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2" h="3213">
                <a:moveTo>
                  <a:pt x="1892" y="0"/>
                </a:moveTo>
                <a:lnTo>
                  <a:pt x="1892" y="475"/>
                </a:lnTo>
                <a:lnTo>
                  <a:pt x="470" y="475"/>
                </a:lnTo>
                <a:lnTo>
                  <a:pt x="470" y="0"/>
                </a:lnTo>
                <a:lnTo>
                  <a:pt x="0" y="0"/>
                </a:lnTo>
                <a:lnTo>
                  <a:pt x="0" y="3213"/>
                </a:lnTo>
                <a:lnTo>
                  <a:pt x="2362" y="3213"/>
                </a:lnTo>
                <a:lnTo>
                  <a:pt x="2362" y="0"/>
                </a:lnTo>
                <a:lnTo>
                  <a:pt x="1892" y="0"/>
                </a:lnTo>
                <a:close/>
                <a:moveTo>
                  <a:pt x="756" y="2646"/>
                </a:moveTo>
                <a:lnTo>
                  <a:pt x="378" y="2646"/>
                </a:lnTo>
                <a:lnTo>
                  <a:pt x="378" y="2268"/>
                </a:lnTo>
                <a:lnTo>
                  <a:pt x="756" y="2268"/>
                </a:lnTo>
                <a:lnTo>
                  <a:pt x="756" y="2646"/>
                </a:lnTo>
                <a:close/>
                <a:moveTo>
                  <a:pt x="756" y="1607"/>
                </a:moveTo>
                <a:lnTo>
                  <a:pt x="378" y="1607"/>
                </a:lnTo>
                <a:lnTo>
                  <a:pt x="378" y="1229"/>
                </a:lnTo>
                <a:lnTo>
                  <a:pt x="756" y="1229"/>
                </a:lnTo>
                <a:lnTo>
                  <a:pt x="756" y="1607"/>
                </a:lnTo>
                <a:close/>
                <a:moveTo>
                  <a:pt x="1423" y="2786"/>
                </a:moveTo>
                <a:lnTo>
                  <a:pt x="1067" y="2430"/>
                </a:lnTo>
                <a:lnTo>
                  <a:pt x="1172" y="2324"/>
                </a:lnTo>
                <a:lnTo>
                  <a:pt x="1400" y="2522"/>
                </a:lnTo>
                <a:lnTo>
                  <a:pt x="1980" y="2019"/>
                </a:lnTo>
                <a:lnTo>
                  <a:pt x="2085" y="2124"/>
                </a:lnTo>
                <a:lnTo>
                  <a:pt x="1423" y="2786"/>
                </a:lnTo>
                <a:close/>
                <a:moveTo>
                  <a:pt x="1423" y="1747"/>
                </a:moveTo>
                <a:lnTo>
                  <a:pt x="1067" y="1390"/>
                </a:lnTo>
                <a:lnTo>
                  <a:pt x="1172" y="1285"/>
                </a:lnTo>
                <a:lnTo>
                  <a:pt x="1400" y="1483"/>
                </a:lnTo>
                <a:lnTo>
                  <a:pt x="1980" y="979"/>
                </a:lnTo>
                <a:lnTo>
                  <a:pt x="2085" y="1085"/>
                </a:lnTo>
                <a:lnTo>
                  <a:pt x="1423" y="1747"/>
                </a:lnTo>
                <a:close/>
                <a:moveTo>
                  <a:pt x="1698" y="281"/>
                </a:moveTo>
                <a:lnTo>
                  <a:pt x="664" y="281"/>
                </a:lnTo>
                <a:lnTo>
                  <a:pt x="664" y="0"/>
                </a:lnTo>
                <a:lnTo>
                  <a:pt x="1698" y="0"/>
                </a:lnTo>
                <a:lnTo>
                  <a:pt x="1698" y="281"/>
                </a:ln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6">
            <a:extLst>
              <a:ext uri="{FF2B5EF4-FFF2-40B4-BE49-F238E27FC236}">
                <a16:creationId xmlns:a16="http://schemas.microsoft.com/office/drawing/2014/main" id="{CE3E2DF5-9B03-B93D-47BB-C6A4A32F8118}"/>
              </a:ext>
            </a:extLst>
          </p:cNvPr>
          <p:cNvSpPr>
            <a:spLocks noChangeAspect="1" noEditPoints="1"/>
          </p:cNvSpPr>
          <p:nvPr/>
        </p:nvSpPr>
        <p:spPr bwMode="auto">
          <a:xfrm>
            <a:off x="4520082" y="3000549"/>
            <a:ext cx="600131" cy="595114"/>
          </a:xfrm>
          <a:custGeom>
            <a:avLst/>
            <a:gdLst>
              <a:gd name="T0" fmla="*/ 1319 w 3239"/>
              <a:gd name="T1" fmla="*/ 2759 h 3212"/>
              <a:gd name="T2" fmla="*/ 1181 w 3239"/>
              <a:gd name="T3" fmla="*/ 3212 h 3212"/>
              <a:gd name="T4" fmla="*/ 0 w 3239"/>
              <a:gd name="T5" fmla="*/ 2031 h 3212"/>
              <a:gd name="T6" fmla="*/ 591 w 3239"/>
              <a:gd name="T7" fmla="*/ 2409 h 3212"/>
              <a:gd name="T8" fmla="*/ 1181 w 3239"/>
              <a:gd name="T9" fmla="*/ 2031 h 3212"/>
              <a:gd name="T10" fmla="*/ 1319 w 3239"/>
              <a:gd name="T11" fmla="*/ 2484 h 3212"/>
              <a:gd name="T12" fmla="*/ 1559 w 3239"/>
              <a:gd name="T13" fmla="*/ 2622 h 3212"/>
              <a:gd name="T14" fmla="*/ 453 w 3239"/>
              <a:gd name="T15" fmla="*/ 1980 h 3212"/>
              <a:gd name="T16" fmla="*/ 590 w 3239"/>
              <a:gd name="T17" fmla="*/ 2220 h 3212"/>
              <a:gd name="T18" fmla="*/ 728 w 3239"/>
              <a:gd name="T19" fmla="*/ 1980 h 3212"/>
              <a:gd name="T20" fmla="*/ 1181 w 3239"/>
              <a:gd name="T21" fmla="*/ 1842 h 3212"/>
              <a:gd name="T22" fmla="*/ 1043 w 3239"/>
              <a:gd name="T23" fmla="*/ 1366 h 3212"/>
              <a:gd name="T24" fmla="*/ 803 w 3239"/>
              <a:gd name="T25" fmla="*/ 1228 h 3212"/>
              <a:gd name="T26" fmla="*/ 1043 w 3239"/>
              <a:gd name="T27" fmla="*/ 1091 h 3212"/>
              <a:gd name="T28" fmla="*/ 1181 w 3239"/>
              <a:gd name="T29" fmla="*/ 661 h 3212"/>
              <a:gd name="T30" fmla="*/ 0 w 3239"/>
              <a:gd name="T31" fmla="*/ 1842 h 3212"/>
              <a:gd name="T32" fmla="*/ 453 w 3239"/>
              <a:gd name="T33" fmla="*/ 1980 h 3212"/>
              <a:gd name="T34" fmla="*/ 2815 w 3239"/>
              <a:gd name="T35" fmla="*/ 1264 h 3212"/>
              <a:gd name="T36" fmla="*/ 3076 w 3239"/>
              <a:gd name="T37" fmla="*/ 664 h 3212"/>
              <a:gd name="T38" fmla="*/ 2873 w 3239"/>
              <a:gd name="T39" fmla="*/ 761 h 3212"/>
              <a:gd name="T40" fmla="*/ 2762 w 3239"/>
              <a:gd name="T41" fmla="*/ 457 h 3212"/>
              <a:gd name="T42" fmla="*/ 2981 w 3239"/>
              <a:gd name="T43" fmla="*/ 401 h 3212"/>
              <a:gd name="T44" fmla="*/ 1725 w 3239"/>
              <a:gd name="T45" fmla="*/ 404 h 3212"/>
              <a:gd name="T46" fmla="*/ 2553 w 3239"/>
              <a:gd name="T47" fmla="*/ 1359 h 3212"/>
              <a:gd name="T48" fmla="*/ 2608 w 3239"/>
              <a:gd name="T49" fmla="*/ 1578 h 3212"/>
              <a:gd name="T50" fmla="*/ 2913 w 3239"/>
              <a:gd name="T51" fmla="*/ 1467 h 3212"/>
              <a:gd name="T52" fmla="*/ 2098 w 3239"/>
              <a:gd name="T53" fmla="*/ 1893 h 3212"/>
              <a:gd name="T54" fmla="*/ 1961 w 3239"/>
              <a:gd name="T55" fmla="*/ 1653 h 3212"/>
              <a:gd name="T56" fmla="*/ 1823 w 3239"/>
              <a:gd name="T57" fmla="*/ 1893 h 3212"/>
              <a:gd name="T58" fmla="*/ 1370 w 3239"/>
              <a:gd name="T59" fmla="*/ 2031 h 3212"/>
              <a:gd name="T60" fmla="*/ 1748 w 3239"/>
              <a:gd name="T61" fmla="*/ 2622 h 3212"/>
              <a:gd name="T62" fmla="*/ 1370 w 3239"/>
              <a:gd name="T63" fmla="*/ 3212 h 3212"/>
              <a:gd name="T64" fmla="*/ 2551 w 3239"/>
              <a:gd name="T65" fmla="*/ 2031 h 3212"/>
              <a:gd name="T66" fmla="*/ 2098 w 3239"/>
              <a:gd name="T67" fmla="*/ 1893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39" h="3212">
                <a:moveTo>
                  <a:pt x="1406" y="2784"/>
                </a:moveTo>
                <a:cubicBezTo>
                  <a:pt x="1376" y="2784"/>
                  <a:pt x="1346" y="2771"/>
                  <a:pt x="1319" y="2759"/>
                </a:cubicBezTo>
                <a:cubicBezTo>
                  <a:pt x="1262" y="2735"/>
                  <a:pt x="1197" y="2690"/>
                  <a:pt x="1181" y="2761"/>
                </a:cubicBezTo>
                <a:lnTo>
                  <a:pt x="1181" y="3212"/>
                </a:lnTo>
                <a:lnTo>
                  <a:pt x="0" y="3212"/>
                </a:lnTo>
                <a:lnTo>
                  <a:pt x="0" y="2031"/>
                </a:lnTo>
                <a:lnTo>
                  <a:pt x="213" y="2031"/>
                </a:lnTo>
                <a:cubicBezTo>
                  <a:pt x="213" y="2240"/>
                  <a:pt x="382" y="2409"/>
                  <a:pt x="591" y="2409"/>
                </a:cubicBezTo>
                <a:cubicBezTo>
                  <a:pt x="799" y="2409"/>
                  <a:pt x="969" y="2240"/>
                  <a:pt x="969" y="2031"/>
                </a:cubicBezTo>
                <a:lnTo>
                  <a:pt x="1181" y="2031"/>
                </a:lnTo>
                <a:lnTo>
                  <a:pt x="1181" y="2482"/>
                </a:lnTo>
                <a:cubicBezTo>
                  <a:pt x="1197" y="2554"/>
                  <a:pt x="1262" y="2509"/>
                  <a:pt x="1319" y="2484"/>
                </a:cubicBezTo>
                <a:cubicBezTo>
                  <a:pt x="1346" y="2473"/>
                  <a:pt x="1376" y="2460"/>
                  <a:pt x="1406" y="2460"/>
                </a:cubicBezTo>
                <a:cubicBezTo>
                  <a:pt x="1491" y="2460"/>
                  <a:pt x="1559" y="2532"/>
                  <a:pt x="1559" y="2622"/>
                </a:cubicBezTo>
                <a:cubicBezTo>
                  <a:pt x="1559" y="2712"/>
                  <a:pt x="1491" y="2784"/>
                  <a:pt x="1406" y="2784"/>
                </a:cubicBezTo>
                <a:close/>
                <a:moveTo>
                  <a:pt x="453" y="1980"/>
                </a:moveTo>
                <a:cubicBezTo>
                  <a:pt x="442" y="2007"/>
                  <a:pt x="429" y="2037"/>
                  <a:pt x="429" y="2067"/>
                </a:cubicBezTo>
                <a:cubicBezTo>
                  <a:pt x="429" y="2152"/>
                  <a:pt x="501" y="2220"/>
                  <a:pt x="590" y="2220"/>
                </a:cubicBezTo>
                <a:cubicBezTo>
                  <a:pt x="680" y="2220"/>
                  <a:pt x="753" y="2152"/>
                  <a:pt x="753" y="2067"/>
                </a:cubicBezTo>
                <a:cubicBezTo>
                  <a:pt x="753" y="2037"/>
                  <a:pt x="740" y="2007"/>
                  <a:pt x="728" y="1980"/>
                </a:cubicBezTo>
                <a:cubicBezTo>
                  <a:pt x="704" y="1923"/>
                  <a:pt x="659" y="1858"/>
                  <a:pt x="730" y="1842"/>
                </a:cubicBezTo>
                <a:lnTo>
                  <a:pt x="1181" y="1842"/>
                </a:lnTo>
                <a:lnTo>
                  <a:pt x="1181" y="1368"/>
                </a:lnTo>
                <a:cubicBezTo>
                  <a:pt x="1166" y="1296"/>
                  <a:pt x="1100" y="1341"/>
                  <a:pt x="1043" y="1366"/>
                </a:cubicBezTo>
                <a:cubicBezTo>
                  <a:pt x="1016" y="1377"/>
                  <a:pt x="987" y="1390"/>
                  <a:pt x="957" y="1390"/>
                </a:cubicBezTo>
                <a:cubicBezTo>
                  <a:pt x="872" y="1390"/>
                  <a:pt x="803" y="1318"/>
                  <a:pt x="803" y="1228"/>
                </a:cubicBezTo>
                <a:cubicBezTo>
                  <a:pt x="803" y="1138"/>
                  <a:pt x="872" y="1066"/>
                  <a:pt x="957" y="1066"/>
                </a:cubicBezTo>
                <a:cubicBezTo>
                  <a:pt x="987" y="1066"/>
                  <a:pt x="1016" y="1079"/>
                  <a:pt x="1043" y="1091"/>
                </a:cubicBezTo>
                <a:cubicBezTo>
                  <a:pt x="1100" y="1115"/>
                  <a:pt x="1166" y="1160"/>
                  <a:pt x="1181" y="1089"/>
                </a:cubicBezTo>
                <a:lnTo>
                  <a:pt x="1181" y="661"/>
                </a:lnTo>
                <a:lnTo>
                  <a:pt x="0" y="661"/>
                </a:lnTo>
                <a:lnTo>
                  <a:pt x="0" y="1842"/>
                </a:lnTo>
                <a:lnTo>
                  <a:pt x="451" y="1842"/>
                </a:lnTo>
                <a:cubicBezTo>
                  <a:pt x="522" y="1858"/>
                  <a:pt x="477" y="1923"/>
                  <a:pt x="453" y="1980"/>
                </a:cubicBezTo>
                <a:close/>
                <a:moveTo>
                  <a:pt x="2860" y="1394"/>
                </a:moveTo>
                <a:cubicBezTo>
                  <a:pt x="2818" y="1349"/>
                  <a:pt x="2753" y="1303"/>
                  <a:pt x="2815" y="1264"/>
                </a:cubicBezTo>
                <a:lnTo>
                  <a:pt x="3239" y="1110"/>
                </a:lnTo>
                <a:lnTo>
                  <a:pt x="3076" y="664"/>
                </a:lnTo>
                <a:cubicBezTo>
                  <a:pt x="3037" y="602"/>
                  <a:pt x="2991" y="667"/>
                  <a:pt x="2946" y="709"/>
                </a:cubicBezTo>
                <a:cubicBezTo>
                  <a:pt x="2924" y="729"/>
                  <a:pt x="2901" y="751"/>
                  <a:pt x="2873" y="761"/>
                </a:cubicBezTo>
                <a:cubicBezTo>
                  <a:pt x="2793" y="791"/>
                  <a:pt x="2704" y="746"/>
                  <a:pt x="2673" y="661"/>
                </a:cubicBezTo>
                <a:cubicBezTo>
                  <a:pt x="2643" y="577"/>
                  <a:pt x="2682" y="486"/>
                  <a:pt x="2762" y="457"/>
                </a:cubicBezTo>
                <a:cubicBezTo>
                  <a:pt x="2790" y="447"/>
                  <a:pt x="2822" y="449"/>
                  <a:pt x="2852" y="451"/>
                </a:cubicBezTo>
                <a:cubicBezTo>
                  <a:pt x="2914" y="454"/>
                  <a:pt x="2991" y="474"/>
                  <a:pt x="2981" y="401"/>
                </a:cubicBezTo>
                <a:lnTo>
                  <a:pt x="2835" y="0"/>
                </a:lnTo>
                <a:lnTo>
                  <a:pt x="1725" y="404"/>
                </a:lnTo>
                <a:lnTo>
                  <a:pt x="2129" y="1514"/>
                </a:lnTo>
                <a:lnTo>
                  <a:pt x="2553" y="1359"/>
                </a:lnTo>
                <a:cubicBezTo>
                  <a:pt x="2625" y="1350"/>
                  <a:pt x="2605" y="1426"/>
                  <a:pt x="2602" y="1488"/>
                </a:cubicBezTo>
                <a:cubicBezTo>
                  <a:pt x="2600" y="1518"/>
                  <a:pt x="2598" y="1550"/>
                  <a:pt x="2608" y="1578"/>
                </a:cubicBezTo>
                <a:cubicBezTo>
                  <a:pt x="2637" y="1658"/>
                  <a:pt x="2728" y="1697"/>
                  <a:pt x="2813" y="1667"/>
                </a:cubicBezTo>
                <a:cubicBezTo>
                  <a:pt x="2897" y="1636"/>
                  <a:pt x="2942" y="1547"/>
                  <a:pt x="2913" y="1467"/>
                </a:cubicBezTo>
                <a:cubicBezTo>
                  <a:pt x="2902" y="1439"/>
                  <a:pt x="2880" y="1416"/>
                  <a:pt x="2860" y="1394"/>
                </a:cubicBezTo>
                <a:close/>
                <a:moveTo>
                  <a:pt x="2098" y="1893"/>
                </a:moveTo>
                <a:cubicBezTo>
                  <a:pt x="2110" y="1866"/>
                  <a:pt x="2123" y="1837"/>
                  <a:pt x="2123" y="1807"/>
                </a:cubicBezTo>
                <a:cubicBezTo>
                  <a:pt x="2123" y="1722"/>
                  <a:pt x="2051" y="1654"/>
                  <a:pt x="1961" y="1653"/>
                </a:cubicBezTo>
                <a:cubicBezTo>
                  <a:pt x="1871" y="1654"/>
                  <a:pt x="1799" y="1722"/>
                  <a:pt x="1799" y="1807"/>
                </a:cubicBezTo>
                <a:cubicBezTo>
                  <a:pt x="1799" y="1837"/>
                  <a:pt x="1812" y="1866"/>
                  <a:pt x="1823" y="1893"/>
                </a:cubicBezTo>
                <a:cubicBezTo>
                  <a:pt x="1847" y="1950"/>
                  <a:pt x="1892" y="2016"/>
                  <a:pt x="1821" y="2031"/>
                </a:cubicBezTo>
                <a:lnTo>
                  <a:pt x="1370" y="2031"/>
                </a:lnTo>
                <a:lnTo>
                  <a:pt x="1370" y="2244"/>
                </a:lnTo>
                <a:cubicBezTo>
                  <a:pt x="1579" y="2244"/>
                  <a:pt x="1748" y="2413"/>
                  <a:pt x="1748" y="2622"/>
                </a:cubicBezTo>
                <a:cubicBezTo>
                  <a:pt x="1748" y="2831"/>
                  <a:pt x="1579" y="3000"/>
                  <a:pt x="1370" y="3000"/>
                </a:cubicBezTo>
                <a:lnTo>
                  <a:pt x="1370" y="3212"/>
                </a:lnTo>
                <a:lnTo>
                  <a:pt x="2551" y="3212"/>
                </a:lnTo>
                <a:lnTo>
                  <a:pt x="2551" y="2031"/>
                </a:lnTo>
                <a:lnTo>
                  <a:pt x="2100" y="2031"/>
                </a:lnTo>
                <a:cubicBezTo>
                  <a:pt x="2029" y="2016"/>
                  <a:pt x="2074" y="1950"/>
                  <a:pt x="2098" y="1893"/>
                </a:cubicBez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tangle 39">
            <a:extLst>
              <a:ext uri="{FF2B5EF4-FFF2-40B4-BE49-F238E27FC236}">
                <a16:creationId xmlns:a16="http://schemas.microsoft.com/office/drawing/2014/main" id="{E500A78B-B164-98A2-256D-DD0D419F5A1C}"/>
              </a:ext>
            </a:extLst>
          </p:cNvPr>
          <p:cNvSpPr>
            <a:spLocks/>
          </p:cNvSpPr>
          <p:nvPr/>
        </p:nvSpPr>
        <p:spPr>
          <a:xfrm>
            <a:off x="207104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neo </a:t>
            </a:r>
          </a:p>
        </p:txBody>
      </p:sp>
      <p:sp>
        <p:nvSpPr>
          <p:cNvPr id="48" name="Rectangle 166">
            <a:extLst>
              <a:ext uri="{FF2B5EF4-FFF2-40B4-BE49-F238E27FC236}">
                <a16:creationId xmlns:a16="http://schemas.microsoft.com/office/drawing/2014/main" id="{CB49551E-315A-3228-630F-59F21C682F36}"/>
              </a:ext>
            </a:extLst>
          </p:cNvPr>
          <p:cNvSpPr>
            <a:spLocks/>
          </p:cNvSpPr>
          <p:nvPr/>
        </p:nvSpPr>
        <p:spPr>
          <a:xfrm>
            <a:off x="4520083"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Virtual Process Controller</a:t>
            </a:r>
          </a:p>
        </p:txBody>
      </p:sp>
      <p:sp>
        <p:nvSpPr>
          <p:cNvPr id="49" name="Rectangle 12">
            <a:extLst>
              <a:ext uri="{FF2B5EF4-FFF2-40B4-BE49-F238E27FC236}">
                <a16:creationId xmlns:a16="http://schemas.microsoft.com/office/drawing/2014/main" id="{38BEAA2C-CD67-0DD7-A2F1-8E01DD780537}"/>
              </a:ext>
            </a:extLst>
          </p:cNvPr>
          <p:cNvSpPr>
            <a:spLocks/>
          </p:cNvSpPr>
          <p:nvPr/>
        </p:nvSpPr>
        <p:spPr>
          <a:xfrm>
            <a:off x="696912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err="1">
                <a:solidFill>
                  <a:prstClr val="white"/>
                </a:solidFill>
                <a:latin typeface="Arial"/>
                <a:cs typeface="Arial"/>
              </a:rPr>
              <a:t>eaSie</a:t>
            </a:r>
            <a:endParaRPr lang="en-US" sz="1200" kern="1200">
              <a:solidFill>
                <a:prstClr val="white"/>
              </a:solidFill>
              <a:latin typeface="Arial"/>
              <a:cs typeface="Arial"/>
            </a:endParaRPr>
          </a:p>
        </p:txBody>
      </p:sp>
      <p:sp>
        <p:nvSpPr>
          <p:cNvPr id="50" name="Rectangle 40">
            <a:extLst>
              <a:ext uri="{FF2B5EF4-FFF2-40B4-BE49-F238E27FC236}">
                <a16:creationId xmlns:a16="http://schemas.microsoft.com/office/drawing/2014/main" id="{950CEADD-B5B8-3DC4-F51D-F32F4E1EAD89}"/>
              </a:ext>
            </a:extLst>
          </p:cNvPr>
          <p:cNvSpPr>
            <a:spLocks/>
          </p:cNvSpPr>
          <p:nvPr/>
        </p:nvSpPr>
        <p:spPr>
          <a:xfrm>
            <a:off x="9418165"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a:t>
            </a:r>
            <a:r>
              <a:rPr lang="en-US" sz="1200" kern="1200" err="1">
                <a:solidFill>
                  <a:prstClr val="white"/>
                </a:solidFill>
                <a:latin typeface="Arial"/>
                <a:cs typeface="Arial"/>
              </a:rPr>
              <a:t>myExpert</a:t>
            </a:r>
            <a:endParaRPr lang="en-US" sz="1200" kern="1200">
              <a:solidFill>
                <a:prstClr val="white"/>
              </a:solidFill>
              <a:latin typeface="Arial"/>
              <a:cs typeface="Arial"/>
            </a:endParaRPr>
          </a:p>
        </p:txBody>
      </p:sp>
      <p:sp>
        <p:nvSpPr>
          <p:cNvPr id="51" name="Freihandform: Form 74">
            <a:extLst>
              <a:ext uri="{FF2B5EF4-FFF2-40B4-BE49-F238E27FC236}">
                <a16:creationId xmlns:a16="http://schemas.microsoft.com/office/drawing/2014/main" id="{CC3F49FA-8BB8-E6DA-5392-F73777994DE2}"/>
              </a:ext>
            </a:extLst>
          </p:cNvPr>
          <p:cNvSpPr/>
          <p:nvPr/>
        </p:nvSpPr>
        <p:spPr bwMode="gray">
          <a:xfrm>
            <a:off x="6969123" y="3013167"/>
            <a:ext cx="750361" cy="568116"/>
          </a:xfrm>
          <a:custGeom>
            <a:avLst/>
            <a:gdLst>
              <a:gd name="connsiteX0" fmla="*/ 224748 w 648997"/>
              <a:gd name="connsiteY0" fmla="*/ 325810 h 491371"/>
              <a:gd name="connsiteX1" fmla="*/ 253408 w 648997"/>
              <a:gd name="connsiteY1" fmla="*/ 309286 h 491371"/>
              <a:gd name="connsiteX2" fmla="*/ 232839 w 648997"/>
              <a:gd name="connsiteY2" fmla="*/ 273634 h 491371"/>
              <a:gd name="connsiteX3" fmla="*/ 204111 w 648997"/>
              <a:gd name="connsiteY3" fmla="*/ 290226 h 491371"/>
              <a:gd name="connsiteX4" fmla="*/ 196638 w 648997"/>
              <a:gd name="connsiteY4" fmla="*/ 282752 h 491371"/>
              <a:gd name="connsiteX5" fmla="*/ 213230 w 648997"/>
              <a:gd name="connsiteY5" fmla="*/ 254025 h 491371"/>
              <a:gd name="connsiteX6" fmla="*/ 177577 w 648997"/>
              <a:gd name="connsiteY6" fmla="*/ 233456 h 491371"/>
              <a:gd name="connsiteX7" fmla="*/ 161054 w 648997"/>
              <a:gd name="connsiteY7" fmla="*/ 262115 h 491371"/>
              <a:gd name="connsiteX8" fmla="*/ 150838 w 648997"/>
              <a:gd name="connsiteY8" fmla="*/ 259373 h 491371"/>
              <a:gd name="connsiteX9" fmla="*/ 150838 w 648997"/>
              <a:gd name="connsiteY9" fmla="*/ 226325 h 491371"/>
              <a:gd name="connsiteX10" fmla="*/ 109700 w 648997"/>
              <a:gd name="connsiteY10" fmla="*/ 226325 h 491371"/>
              <a:gd name="connsiteX11" fmla="*/ 109700 w 648997"/>
              <a:gd name="connsiteY11" fmla="*/ 259373 h 491371"/>
              <a:gd name="connsiteX12" fmla="*/ 99484 w 648997"/>
              <a:gd name="connsiteY12" fmla="*/ 262115 h 491371"/>
              <a:gd name="connsiteX13" fmla="*/ 82961 w 648997"/>
              <a:gd name="connsiteY13" fmla="*/ 233456 h 491371"/>
              <a:gd name="connsiteX14" fmla="*/ 47308 w 648997"/>
              <a:gd name="connsiteY14" fmla="*/ 254025 h 491371"/>
              <a:gd name="connsiteX15" fmla="*/ 63900 w 648997"/>
              <a:gd name="connsiteY15" fmla="*/ 282752 h 491371"/>
              <a:gd name="connsiteX16" fmla="*/ 56427 w 648997"/>
              <a:gd name="connsiteY16" fmla="*/ 290226 h 491371"/>
              <a:gd name="connsiteX17" fmla="*/ 27699 w 648997"/>
              <a:gd name="connsiteY17" fmla="*/ 273634 h 491371"/>
              <a:gd name="connsiteX18" fmla="*/ 7131 w 648997"/>
              <a:gd name="connsiteY18" fmla="*/ 309286 h 491371"/>
              <a:gd name="connsiteX19" fmla="*/ 35790 w 648997"/>
              <a:gd name="connsiteY19" fmla="*/ 325810 h 491371"/>
              <a:gd name="connsiteX20" fmla="*/ 33047 w 648997"/>
              <a:gd name="connsiteY20" fmla="*/ 336026 h 491371"/>
              <a:gd name="connsiteX21" fmla="*/ 0 w 648997"/>
              <a:gd name="connsiteY21" fmla="*/ 336026 h 491371"/>
              <a:gd name="connsiteX22" fmla="*/ 0 w 648997"/>
              <a:gd name="connsiteY22" fmla="*/ 377163 h 491371"/>
              <a:gd name="connsiteX23" fmla="*/ 33047 w 648997"/>
              <a:gd name="connsiteY23" fmla="*/ 377163 h 491371"/>
              <a:gd name="connsiteX24" fmla="*/ 35790 w 648997"/>
              <a:gd name="connsiteY24" fmla="*/ 387379 h 491371"/>
              <a:gd name="connsiteX25" fmla="*/ 7131 w 648997"/>
              <a:gd name="connsiteY25" fmla="*/ 403903 h 491371"/>
              <a:gd name="connsiteX26" fmla="*/ 27699 w 648997"/>
              <a:gd name="connsiteY26" fmla="*/ 439555 h 491371"/>
              <a:gd name="connsiteX27" fmla="*/ 56427 w 648997"/>
              <a:gd name="connsiteY27" fmla="*/ 422963 h 491371"/>
              <a:gd name="connsiteX28" fmla="*/ 63900 w 648997"/>
              <a:gd name="connsiteY28" fmla="*/ 430436 h 491371"/>
              <a:gd name="connsiteX29" fmla="*/ 47308 w 648997"/>
              <a:gd name="connsiteY29" fmla="*/ 459164 h 491371"/>
              <a:gd name="connsiteX30" fmla="*/ 82961 w 648997"/>
              <a:gd name="connsiteY30" fmla="*/ 479733 h 491371"/>
              <a:gd name="connsiteX31" fmla="*/ 99484 w 648997"/>
              <a:gd name="connsiteY31" fmla="*/ 451074 h 491371"/>
              <a:gd name="connsiteX32" fmla="*/ 109700 w 648997"/>
              <a:gd name="connsiteY32" fmla="*/ 453816 h 491371"/>
              <a:gd name="connsiteX33" fmla="*/ 109700 w 648997"/>
              <a:gd name="connsiteY33" fmla="*/ 486864 h 491371"/>
              <a:gd name="connsiteX34" fmla="*/ 150838 w 648997"/>
              <a:gd name="connsiteY34" fmla="*/ 486864 h 491371"/>
              <a:gd name="connsiteX35" fmla="*/ 150838 w 648997"/>
              <a:gd name="connsiteY35" fmla="*/ 453816 h 491371"/>
              <a:gd name="connsiteX36" fmla="*/ 161054 w 648997"/>
              <a:gd name="connsiteY36" fmla="*/ 451074 h 491371"/>
              <a:gd name="connsiteX37" fmla="*/ 177577 w 648997"/>
              <a:gd name="connsiteY37" fmla="*/ 479733 h 491371"/>
              <a:gd name="connsiteX38" fmla="*/ 213230 w 648997"/>
              <a:gd name="connsiteY38" fmla="*/ 459164 h 491371"/>
              <a:gd name="connsiteX39" fmla="*/ 196638 w 648997"/>
              <a:gd name="connsiteY39" fmla="*/ 430436 h 491371"/>
              <a:gd name="connsiteX40" fmla="*/ 204111 w 648997"/>
              <a:gd name="connsiteY40" fmla="*/ 422963 h 491371"/>
              <a:gd name="connsiteX41" fmla="*/ 232839 w 648997"/>
              <a:gd name="connsiteY41" fmla="*/ 439555 h 491371"/>
              <a:gd name="connsiteX42" fmla="*/ 253408 w 648997"/>
              <a:gd name="connsiteY42" fmla="*/ 403903 h 491371"/>
              <a:gd name="connsiteX43" fmla="*/ 224748 w 648997"/>
              <a:gd name="connsiteY43" fmla="*/ 387379 h 491371"/>
              <a:gd name="connsiteX44" fmla="*/ 227491 w 648997"/>
              <a:gd name="connsiteY44" fmla="*/ 377163 h 491371"/>
              <a:gd name="connsiteX45" fmla="*/ 260538 w 648997"/>
              <a:gd name="connsiteY45" fmla="*/ 377163 h 491371"/>
              <a:gd name="connsiteX46" fmla="*/ 260538 w 648997"/>
              <a:gd name="connsiteY46" fmla="*/ 336026 h 491371"/>
              <a:gd name="connsiteX47" fmla="*/ 227491 w 648997"/>
              <a:gd name="connsiteY47" fmla="*/ 336026 h 491371"/>
              <a:gd name="connsiteX48" fmla="*/ 224748 w 648997"/>
              <a:gd name="connsiteY48" fmla="*/ 325810 h 491371"/>
              <a:gd name="connsiteX49" fmla="*/ 202260 w 648997"/>
              <a:gd name="connsiteY49" fmla="*/ 356594 h 491371"/>
              <a:gd name="connsiteX50" fmla="*/ 130269 w 648997"/>
              <a:gd name="connsiteY50" fmla="*/ 428585 h 491371"/>
              <a:gd name="connsiteX51" fmla="*/ 58278 w 648997"/>
              <a:gd name="connsiteY51" fmla="*/ 356594 h 491371"/>
              <a:gd name="connsiteX52" fmla="*/ 130269 w 648997"/>
              <a:gd name="connsiteY52" fmla="*/ 284604 h 491371"/>
              <a:gd name="connsiteX53" fmla="*/ 202260 w 648997"/>
              <a:gd name="connsiteY53" fmla="*/ 356594 h 491371"/>
              <a:gd name="connsiteX54" fmla="*/ 164550 w 648997"/>
              <a:gd name="connsiteY54" fmla="*/ 356594 h 491371"/>
              <a:gd name="connsiteX55" fmla="*/ 130269 w 648997"/>
              <a:gd name="connsiteY55" fmla="*/ 390876 h 491371"/>
              <a:gd name="connsiteX56" fmla="*/ 95988 w 648997"/>
              <a:gd name="connsiteY56" fmla="*/ 356594 h 491371"/>
              <a:gd name="connsiteX57" fmla="*/ 130269 w 648997"/>
              <a:gd name="connsiteY57" fmla="*/ 322313 h 491371"/>
              <a:gd name="connsiteX58" fmla="*/ 164550 w 648997"/>
              <a:gd name="connsiteY58" fmla="*/ 356594 h 491371"/>
              <a:gd name="connsiteX59" fmla="*/ 307778 w 648997"/>
              <a:gd name="connsiteY59" fmla="*/ 105655 h 491371"/>
              <a:gd name="connsiteX60" fmla="*/ 286866 w 648997"/>
              <a:gd name="connsiteY60" fmla="*/ 93588 h 491371"/>
              <a:gd name="connsiteX61" fmla="*/ 286866 w 648997"/>
              <a:gd name="connsiteY61" fmla="*/ 71099 h 491371"/>
              <a:gd name="connsiteX62" fmla="*/ 307778 w 648997"/>
              <a:gd name="connsiteY62" fmla="*/ 59032 h 491371"/>
              <a:gd name="connsiteX63" fmla="*/ 287209 w 648997"/>
              <a:gd name="connsiteY63" fmla="*/ 23380 h 491371"/>
              <a:gd name="connsiteX64" fmla="*/ 266297 w 648997"/>
              <a:gd name="connsiteY64" fmla="*/ 35447 h 491371"/>
              <a:gd name="connsiteX65" fmla="*/ 246826 w 648997"/>
              <a:gd name="connsiteY65" fmla="*/ 24203 h 491371"/>
              <a:gd name="connsiteX66" fmla="*/ 246826 w 648997"/>
              <a:gd name="connsiteY66" fmla="*/ 0 h 491371"/>
              <a:gd name="connsiteX67" fmla="*/ 205688 w 648997"/>
              <a:gd name="connsiteY67" fmla="*/ 0 h 491371"/>
              <a:gd name="connsiteX68" fmla="*/ 205688 w 648997"/>
              <a:gd name="connsiteY68" fmla="*/ 24203 h 491371"/>
              <a:gd name="connsiteX69" fmla="*/ 186216 w 648997"/>
              <a:gd name="connsiteY69" fmla="*/ 35447 h 491371"/>
              <a:gd name="connsiteX70" fmla="*/ 165305 w 648997"/>
              <a:gd name="connsiteY70" fmla="*/ 23380 h 491371"/>
              <a:gd name="connsiteX71" fmla="*/ 144736 w 648997"/>
              <a:gd name="connsiteY71" fmla="*/ 59032 h 491371"/>
              <a:gd name="connsiteX72" fmla="*/ 165647 w 648997"/>
              <a:gd name="connsiteY72" fmla="*/ 71099 h 491371"/>
              <a:gd name="connsiteX73" fmla="*/ 165647 w 648997"/>
              <a:gd name="connsiteY73" fmla="*/ 93588 h 491371"/>
              <a:gd name="connsiteX74" fmla="*/ 144736 w 648997"/>
              <a:gd name="connsiteY74" fmla="*/ 105655 h 491371"/>
              <a:gd name="connsiteX75" fmla="*/ 165305 w 648997"/>
              <a:gd name="connsiteY75" fmla="*/ 141308 h 491371"/>
              <a:gd name="connsiteX76" fmla="*/ 186216 w 648997"/>
              <a:gd name="connsiteY76" fmla="*/ 129241 h 491371"/>
              <a:gd name="connsiteX77" fmla="*/ 205688 w 648997"/>
              <a:gd name="connsiteY77" fmla="*/ 140485 h 491371"/>
              <a:gd name="connsiteX78" fmla="*/ 205688 w 648997"/>
              <a:gd name="connsiteY78" fmla="*/ 164688 h 491371"/>
              <a:gd name="connsiteX79" fmla="*/ 246826 w 648997"/>
              <a:gd name="connsiteY79" fmla="*/ 164688 h 491371"/>
              <a:gd name="connsiteX80" fmla="*/ 246826 w 648997"/>
              <a:gd name="connsiteY80" fmla="*/ 140485 h 491371"/>
              <a:gd name="connsiteX81" fmla="*/ 266297 w 648997"/>
              <a:gd name="connsiteY81" fmla="*/ 129241 h 491371"/>
              <a:gd name="connsiteX82" fmla="*/ 287209 w 648997"/>
              <a:gd name="connsiteY82" fmla="*/ 141308 h 491371"/>
              <a:gd name="connsiteX83" fmla="*/ 307778 w 648997"/>
              <a:gd name="connsiteY83" fmla="*/ 105655 h 491371"/>
              <a:gd name="connsiteX84" fmla="*/ 226257 w 648997"/>
              <a:gd name="connsiteY84" fmla="*/ 116625 h 491371"/>
              <a:gd name="connsiteX85" fmla="*/ 191975 w 648997"/>
              <a:gd name="connsiteY85" fmla="*/ 82344 h 491371"/>
              <a:gd name="connsiteX86" fmla="*/ 226257 w 648997"/>
              <a:gd name="connsiteY86" fmla="*/ 48062 h 491371"/>
              <a:gd name="connsiteX87" fmla="*/ 260538 w 648997"/>
              <a:gd name="connsiteY87" fmla="*/ 82344 h 491371"/>
              <a:gd name="connsiteX88" fmla="*/ 226257 w 648997"/>
              <a:gd name="connsiteY88" fmla="*/ 116625 h 491371"/>
              <a:gd name="connsiteX89" fmla="*/ 637633 w 648997"/>
              <a:gd name="connsiteY89" fmla="*/ 425157 h 491371"/>
              <a:gd name="connsiteX90" fmla="*/ 466226 w 648997"/>
              <a:gd name="connsiteY90" fmla="*/ 253750 h 491371"/>
              <a:gd name="connsiteX91" fmla="*/ 466226 w 648997"/>
              <a:gd name="connsiteY91" fmla="*/ 192250 h 491371"/>
              <a:gd name="connsiteX92" fmla="*/ 427420 w 648997"/>
              <a:gd name="connsiteY92" fmla="*/ 153443 h 491371"/>
              <a:gd name="connsiteX93" fmla="*/ 378946 w 648997"/>
              <a:gd name="connsiteY93" fmla="*/ 153443 h 491371"/>
              <a:gd name="connsiteX94" fmla="*/ 365576 w 648997"/>
              <a:gd name="connsiteY94" fmla="*/ 166813 h 491371"/>
              <a:gd name="connsiteX95" fmla="*/ 418232 w 648997"/>
              <a:gd name="connsiteY95" fmla="*/ 219469 h 491371"/>
              <a:gd name="connsiteX96" fmla="*/ 377095 w 648997"/>
              <a:gd name="connsiteY96" fmla="*/ 260607 h 491371"/>
              <a:gd name="connsiteX97" fmla="*/ 324439 w 648997"/>
              <a:gd name="connsiteY97" fmla="*/ 207951 h 491371"/>
              <a:gd name="connsiteX98" fmla="*/ 311069 w 648997"/>
              <a:gd name="connsiteY98" fmla="*/ 221320 h 491371"/>
              <a:gd name="connsiteX99" fmla="*/ 311069 w 648997"/>
              <a:gd name="connsiteY99" fmla="*/ 269794 h 491371"/>
              <a:gd name="connsiteX100" fmla="*/ 349875 w 648997"/>
              <a:gd name="connsiteY100" fmla="*/ 308601 h 491371"/>
              <a:gd name="connsiteX101" fmla="*/ 411376 w 648997"/>
              <a:gd name="connsiteY101" fmla="*/ 308601 h 491371"/>
              <a:gd name="connsiteX102" fmla="*/ 582783 w 648997"/>
              <a:gd name="connsiteY102" fmla="*/ 480007 h 491371"/>
              <a:gd name="connsiteX103" fmla="*/ 637633 w 648997"/>
              <a:gd name="connsiteY103" fmla="*/ 480007 h 491371"/>
              <a:gd name="connsiteX104" fmla="*/ 637633 w 648997"/>
              <a:gd name="connsiteY104" fmla="*/ 425157 h 491371"/>
              <a:gd name="connsiteX105" fmla="*/ 610208 w 648997"/>
              <a:gd name="connsiteY105" fmla="*/ 466295 h 491371"/>
              <a:gd name="connsiteX106" fmla="*/ 596495 w 648997"/>
              <a:gd name="connsiteY106" fmla="*/ 452582 h 491371"/>
              <a:gd name="connsiteX107" fmla="*/ 610208 w 648997"/>
              <a:gd name="connsiteY107" fmla="*/ 438870 h 491371"/>
              <a:gd name="connsiteX108" fmla="*/ 623920 w 648997"/>
              <a:gd name="connsiteY108" fmla="*/ 452582 h 491371"/>
              <a:gd name="connsiteX109" fmla="*/ 610208 w 648997"/>
              <a:gd name="connsiteY109" fmla="*/ 466295 h 49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648997" h="491371">
                <a:moveTo>
                  <a:pt x="224748" y="325810"/>
                </a:moveTo>
                <a:lnTo>
                  <a:pt x="253408" y="309286"/>
                </a:lnTo>
                <a:lnTo>
                  <a:pt x="232839" y="273634"/>
                </a:lnTo>
                <a:lnTo>
                  <a:pt x="204111" y="290226"/>
                </a:lnTo>
                <a:cubicBezTo>
                  <a:pt x="201780" y="287620"/>
                  <a:pt x="199312" y="285152"/>
                  <a:pt x="196638" y="282752"/>
                </a:cubicBezTo>
                <a:lnTo>
                  <a:pt x="213230" y="254025"/>
                </a:lnTo>
                <a:lnTo>
                  <a:pt x="177577" y="233456"/>
                </a:lnTo>
                <a:lnTo>
                  <a:pt x="161054" y="262115"/>
                </a:lnTo>
                <a:cubicBezTo>
                  <a:pt x="157694" y="261018"/>
                  <a:pt x="154266" y="260058"/>
                  <a:pt x="150838" y="259373"/>
                </a:cubicBezTo>
                <a:lnTo>
                  <a:pt x="150838" y="226325"/>
                </a:lnTo>
                <a:lnTo>
                  <a:pt x="109700" y="226325"/>
                </a:lnTo>
                <a:lnTo>
                  <a:pt x="109700" y="259373"/>
                </a:lnTo>
                <a:cubicBezTo>
                  <a:pt x="106272" y="260127"/>
                  <a:pt x="102844" y="261018"/>
                  <a:pt x="99484" y="262115"/>
                </a:cubicBezTo>
                <a:lnTo>
                  <a:pt x="82961" y="233456"/>
                </a:lnTo>
                <a:lnTo>
                  <a:pt x="47308" y="254025"/>
                </a:lnTo>
                <a:lnTo>
                  <a:pt x="63900" y="282752"/>
                </a:lnTo>
                <a:cubicBezTo>
                  <a:pt x="61295" y="285084"/>
                  <a:pt x="58827" y="287552"/>
                  <a:pt x="56427" y="290226"/>
                </a:cubicBezTo>
                <a:lnTo>
                  <a:pt x="27699" y="273634"/>
                </a:lnTo>
                <a:lnTo>
                  <a:pt x="7131" y="309286"/>
                </a:lnTo>
                <a:lnTo>
                  <a:pt x="35790" y="325810"/>
                </a:lnTo>
                <a:cubicBezTo>
                  <a:pt x="34693" y="329169"/>
                  <a:pt x="33733" y="332598"/>
                  <a:pt x="33047" y="336026"/>
                </a:cubicBezTo>
                <a:lnTo>
                  <a:pt x="0" y="336026"/>
                </a:lnTo>
                <a:lnTo>
                  <a:pt x="0" y="377163"/>
                </a:lnTo>
                <a:lnTo>
                  <a:pt x="33047" y="377163"/>
                </a:lnTo>
                <a:cubicBezTo>
                  <a:pt x="33801" y="380591"/>
                  <a:pt x="34693" y="384020"/>
                  <a:pt x="35790" y="387379"/>
                </a:cubicBezTo>
                <a:lnTo>
                  <a:pt x="7131" y="403903"/>
                </a:lnTo>
                <a:lnTo>
                  <a:pt x="27699" y="439555"/>
                </a:lnTo>
                <a:lnTo>
                  <a:pt x="56427" y="422963"/>
                </a:lnTo>
                <a:cubicBezTo>
                  <a:pt x="58758" y="425568"/>
                  <a:pt x="61226" y="428037"/>
                  <a:pt x="63900" y="430436"/>
                </a:cubicBezTo>
                <a:lnTo>
                  <a:pt x="47308" y="459164"/>
                </a:lnTo>
                <a:lnTo>
                  <a:pt x="82961" y="479733"/>
                </a:lnTo>
                <a:lnTo>
                  <a:pt x="99484" y="451074"/>
                </a:lnTo>
                <a:cubicBezTo>
                  <a:pt x="102844" y="452171"/>
                  <a:pt x="106272" y="453131"/>
                  <a:pt x="109700" y="453816"/>
                </a:cubicBezTo>
                <a:lnTo>
                  <a:pt x="109700" y="486864"/>
                </a:lnTo>
                <a:lnTo>
                  <a:pt x="150838" y="486864"/>
                </a:lnTo>
                <a:lnTo>
                  <a:pt x="150838" y="453816"/>
                </a:lnTo>
                <a:cubicBezTo>
                  <a:pt x="154266" y="453062"/>
                  <a:pt x="157694" y="452171"/>
                  <a:pt x="161054" y="451074"/>
                </a:cubicBezTo>
                <a:lnTo>
                  <a:pt x="177577" y="479733"/>
                </a:lnTo>
                <a:lnTo>
                  <a:pt x="213230" y="459164"/>
                </a:lnTo>
                <a:lnTo>
                  <a:pt x="196638" y="430436"/>
                </a:lnTo>
                <a:cubicBezTo>
                  <a:pt x="199243" y="428105"/>
                  <a:pt x="201711" y="425637"/>
                  <a:pt x="204111" y="422963"/>
                </a:cubicBezTo>
                <a:lnTo>
                  <a:pt x="232839" y="439555"/>
                </a:lnTo>
                <a:lnTo>
                  <a:pt x="253408" y="403903"/>
                </a:lnTo>
                <a:lnTo>
                  <a:pt x="224748" y="387379"/>
                </a:lnTo>
                <a:cubicBezTo>
                  <a:pt x="225845" y="384020"/>
                  <a:pt x="226805" y="380591"/>
                  <a:pt x="227491" y="377163"/>
                </a:cubicBezTo>
                <a:lnTo>
                  <a:pt x="260538" y="377163"/>
                </a:lnTo>
                <a:lnTo>
                  <a:pt x="260538" y="336026"/>
                </a:lnTo>
                <a:lnTo>
                  <a:pt x="227491" y="336026"/>
                </a:lnTo>
                <a:cubicBezTo>
                  <a:pt x="226737" y="332598"/>
                  <a:pt x="225845" y="329169"/>
                  <a:pt x="224748" y="325810"/>
                </a:cubicBezTo>
                <a:close/>
                <a:moveTo>
                  <a:pt x="202260" y="356594"/>
                </a:moveTo>
                <a:cubicBezTo>
                  <a:pt x="202260" y="396361"/>
                  <a:pt x="170035" y="428585"/>
                  <a:pt x="130269" y="428585"/>
                </a:cubicBezTo>
                <a:cubicBezTo>
                  <a:pt x="90503" y="428585"/>
                  <a:pt x="58278" y="396361"/>
                  <a:pt x="58278" y="356594"/>
                </a:cubicBezTo>
                <a:cubicBezTo>
                  <a:pt x="58278" y="316828"/>
                  <a:pt x="90503" y="284604"/>
                  <a:pt x="130269" y="284604"/>
                </a:cubicBezTo>
                <a:cubicBezTo>
                  <a:pt x="170035" y="284604"/>
                  <a:pt x="202191" y="316828"/>
                  <a:pt x="202260" y="356594"/>
                </a:cubicBezTo>
                <a:close/>
                <a:moveTo>
                  <a:pt x="164550" y="356594"/>
                </a:moveTo>
                <a:cubicBezTo>
                  <a:pt x="164550" y="375518"/>
                  <a:pt x="149192" y="390876"/>
                  <a:pt x="130269" y="390876"/>
                </a:cubicBezTo>
                <a:cubicBezTo>
                  <a:pt x="111346" y="390876"/>
                  <a:pt x="95988" y="375518"/>
                  <a:pt x="95988" y="356594"/>
                </a:cubicBezTo>
                <a:cubicBezTo>
                  <a:pt x="95988" y="337671"/>
                  <a:pt x="111346" y="322313"/>
                  <a:pt x="130269" y="322313"/>
                </a:cubicBezTo>
                <a:cubicBezTo>
                  <a:pt x="149192" y="322313"/>
                  <a:pt x="164550" y="337671"/>
                  <a:pt x="164550" y="356594"/>
                </a:cubicBezTo>
                <a:close/>
                <a:moveTo>
                  <a:pt x="307778" y="105655"/>
                </a:moveTo>
                <a:lnTo>
                  <a:pt x="286866" y="93588"/>
                </a:lnTo>
                <a:cubicBezTo>
                  <a:pt x="288306" y="86183"/>
                  <a:pt x="288306" y="78504"/>
                  <a:pt x="286866" y="71099"/>
                </a:cubicBezTo>
                <a:lnTo>
                  <a:pt x="307778" y="59032"/>
                </a:lnTo>
                <a:lnTo>
                  <a:pt x="287209" y="23380"/>
                </a:lnTo>
                <a:lnTo>
                  <a:pt x="266297" y="35447"/>
                </a:lnTo>
                <a:cubicBezTo>
                  <a:pt x="260538" y="30510"/>
                  <a:pt x="253956" y="26739"/>
                  <a:pt x="246826" y="24203"/>
                </a:cubicBezTo>
                <a:lnTo>
                  <a:pt x="246826" y="0"/>
                </a:lnTo>
                <a:lnTo>
                  <a:pt x="205688" y="0"/>
                </a:lnTo>
                <a:lnTo>
                  <a:pt x="205688" y="24203"/>
                </a:lnTo>
                <a:cubicBezTo>
                  <a:pt x="198557" y="26739"/>
                  <a:pt x="191975" y="30510"/>
                  <a:pt x="186216" y="35447"/>
                </a:cubicBezTo>
                <a:lnTo>
                  <a:pt x="165305" y="23380"/>
                </a:lnTo>
                <a:lnTo>
                  <a:pt x="144736" y="59032"/>
                </a:lnTo>
                <a:lnTo>
                  <a:pt x="165647" y="71099"/>
                </a:lnTo>
                <a:cubicBezTo>
                  <a:pt x="164208" y="78504"/>
                  <a:pt x="164208" y="86183"/>
                  <a:pt x="165647" y="93588"/>
                </a:cubicBezTo>
                <a:lnTo>
                  <a:pt x="144736" y="105655"/>
                </a:lnTo>
                <a:lnTo>
                  <a:pt x="165305" y="141308"/>
                </a:lnTo>
                <a:lnTo>
                  <a:pt x="186216" y="129241"/>
                </a:lnTo>
                <a:cubicBezTo>
                  <a:pt x="191975" y="134177"/>
                  <a:pt x="198557" y="137948"/>
                  <a:pt x="205688" y="140485"/>
                </a:cubicBezTo>
                <a:lnTo>
                  <a:pt x="205688" y="164688"/>
                </a:lnTo>
                <a:lnTo>
                  <a:pt x="246826" y="164688"/>
                </a:lnTo>
                <a:lnTo>
                  <a:pt x="246826" y="140485"/>
                </a:lnTo>
                <a:cubicBezTo>
                  <a:pt x="253956" y="137948"/>
                  <a:pt x="260538" y="134177"/>
                  <a:pt x="266297" y="129241"/>
                </a:cubicBezTo>
                <a:lnTo>
                  <a:pt x="287209" y="141308"/>
                </a:lnTo>
                <a:lnTo>
                  <a:pt x="307778" y="105655"/>
                </a:lnTo>
                <a:close/>
                <a:moveTo>
                  <a:pt x="226257" y="116625"/>
                </a:moveTo>
                <a:cubicBezTo>
                  <a:pt x="207334" y="116625"/>
                  <a:pt x="191975" y="101267"/>
                  <a:pt x="191975" y="82344"/>
                </a:cubicBezTo>
                <a:cubicBezTo>
                  <a:pt x="191975" y="63420"/>
                  <a:pt x="207334" y="48062"/>
                  <a:pt x="226257" y="48062"/>
                </a:cubicBezTo>
                <a:cubicBezTo>
                  <a:pt x="245180" y="48062"/>
                  <a:pt x="260538" y="63420"/>
                  <a:pt x="260538" y="82344"/>
                </a:cubicBezTo>
                <a:cubicBezTo>
                  <a:pt x="260538" y="101267"/>
                  <a:pt x="245180" y="116625"/>
                  <a:pt x="226257" y="116625"/>
                </a:cubicBezTo>
                <a:close/>
                <a:moveTo>
                  <a:pt x="637633" y="425157"/>
                </a:moveTo>
                <a:lnTo>
                  <a:pt x="466226" y="253750"/>
                </a:lnTo>
                <a:lnTo>
                  <a:pt x="466226" y="192250"/>
                </a:lnTo>
                <a:lnTo>
                  <a:pt x="427420" y="153443"/>
                </a:lnTo>
                <a:cubicBezTo>
                  <a:pt x="414050" y="140074"/>
                  <a:pt x="392316" y="140074"/>
                  <a:pt x="378946" y="153443"/>
                </a:cubicBezTo>
                <a:lnTo>
                  <a:pt x="365576" y="166813"/>
                </a:lnTo>
                <a:lnTo>
                  <a:pt x="418232" y="219469"/>
                </a:lnTo>
                <a:lnTo>
                  <a:pt x="377095" y="260607"/>
                </a:lnTo>
                <a:lnTo>
                  <a:pt x="324439" y="207951"/>
                </a:lnTo>
                <a:lnTo>
                  <a:pt x="311069" y="221320"/>
                </a:lnTo>
                <a:cubicBezTo>
                  <a:pt x="297699" y="234690"/>
                  <a:pt x="297699" y="256424"/>
                  <a:pt x="311069" y="269794"/>
                </a:cubicBezTo>
                <a:lnTo>
                  <a:pt x="349875" y="308601"/>
                </a:lnTo>
                <a:lnTo>
                  <a:pt x="411376" y="308601"/>
                </a:lnTo>
                <a:lnTo>
                  <a:pt x="582783" y="480007"/>
                </a:lnTo>
                <a:cubicBezTo>
                  <a:pt x="597935" y="495160"/>
                  <a:pt x="622480" y="495160"/>
                  <a:pt x="637633" y="480007"/>
                </a:cubicBezTo>
                <a:cubicBezTo>
                  <a:pt x="652785" y="464855"/>
                  <a:pt x="652785" y="440309"/>
                  <a:pt x="637633" y="425157"/>
                </a:cubicBezTo>
                <a:close/>
                <a:moveTo>
                  <a:pt x="610208" y="466295"/>
                </a:moveTo>
                <a:cubicBezTo>
                  <a:pt x="602666" y="466295"/>
                  <a:pt x="596495" y="460124"/>
                  <a:pt x="596495" y="452582"/>
                </a:cubicBezTo>
                <a:cubicBezTo>
                  <a:pt x="596495" y="445040"/>
                  <a:pt x="602666" y="438870"/>
                  <a:pt x="610208" y="438870"/>
                </a:cubicBezTo>
                <a:cubicBezTo>
                  <a:pt x="617750" y="438870"/>
                  <a:pt x="623920" y="445040"/>
                  <a:pt x="623920" y="452582"/>
                </a:cubicBezTo>
                <a:cubicBezTo>
                  <a:pt x="623920" y="460124"/>
                  <a:pt x="617750" y="466295"/>
                  <a:pt x="610208" y="466295"/>
                </a:cubicBezTo>
                <a:close/>
              </a:path>
            </a:pathLst>
          </a:custGeom>
          <a:solidFill>
            <a:srgbClr val="00C1B6"/>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cxnSp>
        <p:nvCxnSpPr>
          <p:cNvPr id="52" name="Straight Connector 37">
            <a:extLst>
              <a:ext uri="{FF2B5EF4-FFF2-40B4-BE49-F238E27FC236}">
                <a16:creationId xmlns:a16="http://schemas.microsoft.com/office/drawing/2014/main" id="{7D255982-D80D-9666-1BE5-01545806130D}"/>
              </a:ext>
            </a:extLst>
          </p:cNvPr>
          <p:cNvCxnSpPr>
            <a:cxnSpLocks/>
          </p:cNvCxnSpPr>
          <p:nvPr/>
        </p:nvCxnSpPr>
        <p:spPr>
          <a:xfrm>
            <a:off x="1924050"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Straight Connector 39">
            <a:extLst>
              <a:ext uri="{FF2B5EF4-FFF2-40B4-BE49-F238E27FC236}">
                <a16:creationId xmlns:a16="http://schemas.microsoft.com/office/drawing/2014/main" id="{2E3EFA56-5118-A824-DF71-23B7A88D245E}"/>
              </a:ext>
            </a:extLst>
          </p:cNvPr>
          <p:cNvCxnSpPr>
            <a:cxnSpLocks/>
          </p:cNvCxnSpPr>
          <p:nvPr/>
        </p:nvCxnSpPr>
        <p:spPr>
          <a:xfrm>
            <a:off x="4375876"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40">
            <a:extLst>
              <a:ext uri="{FF2B5EF4-FFF2-40B4-BE49-F238E27FC236}">
                <a16:creationId xmlns:a16="http://schemas.microsoft.com/office/drawing/2014/main" id="{CAA57AC8-7FA5-9CB2-9AD7-2128160C8676}"/>
              </a:ext>
            </a:extLst>
          </p:cNvPr>
          <p:cNvCxnSpPr>
            <a:cxnSpLocks/>
          </p:cNvCxnSpPr>
          <p:nvPr/>
        </p:nvCxnSpPr>
        <p:spPr>
          <a:xfrm>
            <a:off x="6824918"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41">
            <a:extLst>
              <a:ext uri="{FF2B5EF4-FFF2-40B4-BE49-F238E27FC236}">
                <a16:creationId xmlns:a16="http://schemas.microsoft.com/office/drawing/2014/main" id="{5D3BF680-4F05-02E6-CB36-116B3775CE6A}"/>
              </a:ext>
            </a:extLst>
          </p:cNvPr>
          <p:cNvCxnSpPr>
            <a:cxnSpLocks/>
          </p:cNvCxnSpPr>
          <p:nvPr/>
        </p:nvCxnSpPr>
        <p:spPr>
          <a:xfrm>
            <a:off x="9269451"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 name="Rectangle 59">
            <a:extLst>
              <a:ext uri="{FF2B5EF4-FFF2-40B4-BE49-F238E27FC236}">
                <a16:creationId xmlns:a16="http://schemas.microsoft.com/office/drawing/2014/main" id="{7E2C83F8-CE92-EEC3-2602-FFDDB5AC2D33}"/>
              </a:ext>
            </a:extLst>
          </p:cNvPr>
          <p:cNvSpPr/>
          <p:nvPr/>
        </p:nvSpPr>
        <p:spPr>
          <a:xfrm>
            <a:off x="4249323" y="1056212"/>
            <a:ext cx="7593846" cy="3927107"/>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Tree>
    <p:extLst>
      <p:ext uri="{BB962C8B-B14F-4D97-AF65-F5344CB8AC3E}">
        <p14:creationId xmlns:p14="http://schemas.microsoft.com/office/powerpoint/2010/main" val="1727496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7B0E4-A9FA-0E1D-40DE-FCB113FF84CD}"/>
            </a:ext>
          </a:extLst>
        </p:cNvPr>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BFC30BA2-678C-C96E-362B-FA130F176F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52" name="think-cell data - do not delete" hidden="1">
                        <a:extLst>
                          <a:ext uri="{FF2B5EF4-FFF2-40B4-BE49-F238E27FC236}">
                            <a16:creationId xmlns:a16="http://schemas.microsoft.com/office/drawing/2014/main" id="{BFC30BA2-678C-C96E-362B-FA130F176F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A7CC204-584C-67F8-861E-BFEC224F5E91}"/>
              </a:ext>
            </a:extLst>
          </p:cNvPr>
          <p:cNvSpPr>
            <a:spLocks noGrp="1"/>
          </p:cNvSpPr>
          <p:nvPr>
            <p:ph type="title"/>
          </p:nvPr>
        </p:nvSpPr>
        <p:spPr/>
        <p:txBody>
          <a:bodyPr vert="horz"/>
          <a:lstStyle/>
          <a:p>
            <a:r>
              <a:rPr lang="en-US"/>
              <a:t>Software-Defined</a:t>
            </a:r>
            <a:r>
              <a:rPr lang="en-US" b="0"/>
              <a:t> </a:t>
            </a:r>
            <a:r>
              <a:rPr lang="en-US"/>
              <a:t>Automation</a:t>
            </a:r>
            <a:r>
              <a:rPr lang="en-US" sz="2000" b="1"/>
              <a:t> comprises </a:t>
            </a:r>
            <a:r>
              <a:rPr lang="en-US"/>
              <a:t>four key</a:t>
            </a:r>
            <a:r>
              <a:rPr lang="en-US" sz="2000" b="1"/>
              <a:t> elements</a:t>
            </a:r>
            <a:endParaRPr lang="en-US" b="0"/>
          </a:p>
        </p:txBody>
      </p:sp>
      <p:sp>
        <p:nvSpPr>
          <p:cNvPr id="4" name="Footer Placeholder 3">
            <a:extLst>
              <a:ext uri="{FF2B5EF4-FFF2-40B4-BE49-F238E27FC236}">
                <a16:creationId xmlns:a16="http://schemas.microsoft.com/office/drawing/2014/main" id="{C98FBFBF-DA1A-5F35-0A76-9E5B0C406DB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Unrestricted | © Siemens 2025 | Raghav Tripathi</a:t>
            </a:r>
          </a:p>
        </p:txBody>
      </p:sp>
      <p:sp>
        <p:nvSpPr>
          <p:cNvPr id="6" name="Rectangle 165">
            <a:extLst>
              <a:ext uri="{FF2B5EF4-FFF2-40B4-BE49-F238E27FC236}">
                <a16:creationId xmlns:a16="http://schemas.microsoft.com/office/drawing/2014/main" id="{8C82557D-556B-BDC2-332B-23B4E42CA5DE}"/>
              </a:ext>
            </a:extLst>
          </p:cNvPr>
          <p:cNvSpPr>
            <a:spLocks/>
          </p:cNvSpPr>
          <p:nvPr/>
        </p:nvSpPr>
        <p:spPr>
          <a:xfrm>
            <a:off x="4520082"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pPr>
            <a:r>
              <a:rPr lang="en-US" sz="1200" kern="1200">
                <a:solidFill>
                  <a:prstClr val="white"/>
                </a:solidFill>
                <a:cs typeface="Arial"/>
              </a:rPr>
              <a:t>PCS neo engineering </a:t>
            </a:r>
            <a:br>
              <a:rPr lang="en-US" sz="1200" kern="1200">
                <a:solidFill>
                  <a:prstClr val="white"/>
                </a:solidFill>
                <a:cs typeface="Arial"/>
              </a:rPr>
            </a:br>
            <a:r>
              <a:rPr lang="en-US" sz="1200" kern="1200">
                <a:solidFill>
                  <a:prstClr val="white"/>
                </a:solidFill>
                <a:cs typeface="Arial"/>
              </a:rPr>
              <a:t>in the cloud</a:t>
            </a:r>
          </a:p>
        </p:txBody>
      </p:sp>
      <p:sp>
        <p:nvSpPr>
          <p:cNvPr id="16" name="Rectangle 27">
            <a:extLst>
              <a:ext uri="{FF2B5EF4-FFF2-40B4-BE49-F238E27FC236}">
                <a16:creationId xmlns:a16="http://schemas.microsoft.com/office/drawing/2014/main" id="{ED332E29-ABB7-7C53-F9C9-2207B874B88A}"/>
              </a:ext>
            </a:extLst>
          </p:cNvPr>
          <p:cNvSpPr>
            <a:spLocks/>
          </p:cNvSpPr>
          <p:nvPr/>
        </p:nvSpPr>
        <p:spPr>
          <a:xfrm>
            <a:off x="6966343"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defRPr/>
            </a:pPr>
            <a:r>
              <a:rPr lang="en-US" sz="1200" kern="1200">
                <a:solidFill>
                  <a:prstClr val="white"/>
                </a:solidFill>
                <a:cs typeface="Arial"/>
              </a:rPr>
              <a:t>DCS Co-Pilo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0">
            <a:extLst>
              <a:ext uri="{FF2B5EF4-FFF2-40B4-BE49-F238E27FC236}">
                <a16:creationId xmlns:a16="http://schemas.microsoft.com/office/drawing/2014/main" id="{9C5FF23B-AA5B-CEF1-C984-157AF69DBB47}"/>
              </a:ext>
            </a:extLst>
          </p:cNvPr>
          <p:cNvSpPr txBox="1">
            <a:spLocks noChangeAspect="1"/>
          </p:cNvSpPr>
          <p:nvPr/>
        </p:nvSpPr>
        <p:spPr>
          <a:xfrm>
            <a:off x="411163" y="4421788"/>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Siemens Portfolio</a:t>
            </a:r>
          </a:p>
        </p:txBody>
      </p:sp>
      <p:sp>
        <p:nvSpPr>
          <p:cNvPr id="27" name="Rechteck 51">
            <a:extLst>
              <a:ext uri="{FF2B5EF4-FFF2-40B4-BE49-F238E27FC236}">
                <a16:creationId xmlns:a16="http://schemas.microsoft.com/office/drawing/2014/main" id="{03C797DB-8299-3FF5-7965-F537342AC7D5}"/>
              </a:ext>
            </a:extLst>
          </p:cNvPr>
          <p:cNvSpPr>
            <a:spLocks/>
          </p:cNvSpPr>
          <p:nvPr/>
        </p:nvSpPr>
        <p:spPr>
          <a:xfrm>
            <a:off x="2071043" y="1417050"/>
            <a:ext cx="2304833"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IT-like </a:t>
            </a: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Engineering</a:t>
            </a:r>
            <a:endParaRPr kumimoji="0" lang="en-US" sz="1800" b="1" i="0" u="none" strike="noStrike" kern="1200" cap="none" spc="0" normalizeH="0" baseline="0" noProof="0">
              <a:ln>
                <a:noFill/>
              </a:ln>
              <a:solidFill>
                <a:schemeClr val="tx1"/>
              </a:solidFill>
              <a:effectLst/>
              <a:uLnTx/>
              <a:uFillTx/>
              <a:latin typeface="Arial"/>
              <a:ea typeface="+mn-ea"/>
              <a:cs typeface="+mn-cs"/>
            </a:endParaRPr>
          </a:p>
        </p:txBody>
      </p:sp>
      <p:sp>
        <p:nvSpPr>
          <p:cNvPr id="30" name="Rechteck 53">
            <a:extLst>
              <a:ext uri="{FF2B5EF4-FFF2-40B4-BE49-F238E27FC236}">
                <a16:creationId xmlns:a16="http://schemas.microsoft.com/office/drawing/2014/main" id="{4048FA3E-4E08-8F33-1E16-AC35F0E9ABDD}"/>
              </a:ext>
            </a:extLst>
          </p:cNvPr>
          <p:cNvSpPr>
            <a:spLocks/>
          </p:cNvSpPr>
          <p:nvPr/>
        </p:nvSpPr>
        <p:spPr>
          <a:xfrm>
            <a:off x="6969123" y="1417050"/>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a:solidFill>
                  <a:prstClr val="white"/>
                </a:solidFill>
                <a:latin typeface="Arial"/>
              </a:rPr>
              <a:t>Intelligent Operations</a:t>
            </a:r>
            <a:endParaRPr kumimoji="0" lang="en-US" sz="1800" b="1" i="0" u="none" strike="noStrike" kern="1200" cap="none" spc="0" normalizeH="0" baseline="0" noProof="0">
              <a:ln>
                <a:noFill/>
              </a:ln>
              <a:solidFill>
                <a:prstClr val="white"/>
              </a:solidFill>
              <a:effectLst/>
              <a:uLnTx/>
              <a:uFillTx/>
              <a:latin typeface="Arial"/>
            </a:endParaRPr>
          </a:p>
        </p:txBody>
      </p:sp>
      <p:sp>
        <p:nvSpPr>
          <p:cNvPr id="31" name="Rechteck 52">
            <a:extLst>
              <a:ext uri="{FF2B5EF4-FFF2-40B4-BE49-F238E27FC236}">
                <a16:creationId xmlns:a16="http://schemas.microsoft.com/office/drawing/2014/main" id="{CBAB028D-E0A8-FCCB-59E2-958C02FD3108}"/>
              </a:ext>
            </a:extLst>
          </p:cNvPr>
          <p:cNvSpPr>
            <a:spLocks/>
          </p:cNvSpPr>
          <p:nvPr/>
        </p:nvSpPr>
        <p:spPr>
          <a:xfrm>
            <a:off x="4520083"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Cloud &amp; Virtualizatio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20">
            <a:extLst>
              <a:ext uri="{FF2B5EF4-FFF2-40B4-BE49-F238E27FC236}">
                <a16:creationId xmlns:a16="http://schemas.microsoft.com/office/drawing/2014/main" id="{6CE47D6F-27D4-F5C2-FAF0-B0721AF187C1}"/>
              </a:ext>
            </a:extLst>
          </p:cNvPr>
          <p:cNvSpPr txBox="1">
            <a:spLocks noChangeAspect="1"/>
          </p:cNvSpPr>
          <p:nvPr/>
        </p:nvSpPr>
        <p:spPr>
          <a:xfrm>
            <a:off x="410400" y="2243136"/>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Explanation</a:t>
            </a:r>
          </a:p>
        </p:txBody>
      </p:sp>
      <p:sp>
        <p:nvSpPr>
          <p:cNvPr id="38" name="TextBox 20">
            <a:extLst>
              <a:ext uri="{FF2B5EF4-FFF2-40B4-BE49-F238E27FC236}">
                <a16:creationId xmlns:a16="http://schemas.microsoft.com/office/drawing/2014/main" id="{14E99462-DDAF-ED8D-871F-DCC2AF3EDAA3}"/>
              </a:ext>
            </a:extLst>
          </p:cNvPr>
          <p:cNvSpPr txBox="1">
            <a:spLocks/>
          </p:cNvSpPr>
          <p:nvPr/>
        </p:nvSpPr>
        <p:spPr>
          <a:xfrm>
            <a:off x="207104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W development principles, applied to industrial automation</a:t>
            </a:r>
          </a:p>
        </p:txBody>
      </p:sp>
      <p:sp>
        <p:nvSpPr>
          <p:cNvPr id="39" name="TextBox 13">
            <a:extLst>
              <a:ext uri="{FF2B5EF4-FFF2-40B4-BE49-F238E27FC236}">
                <a16:creationId xmlns:a16="http://schemas.microsoft.com/office/drawing/2014/main" id="{4D7ABC26-E79D-EDEA-7979-74E0F138A352}"/>
              </a:ext>
            </a:extLst>
          </p:cNvPr>
          <p:cNvSpPr txBox="1">
            <a:spLocks/>
          </p:cNvSpPr>
          <p:nvPr/>
        </p:nvSpPr>
        <p:spPr>
          <a:xfrm>
            <a:off x="452008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Decoupling fixed hardware from automation </a:t>
            </a:r>
            <a:r>
              <a:rPr lang="en-US" sz="1200" kern="1200">
                <a:solidFill>
                  <a:prstClr val="white"/>
                </a:solidFill>
                <a:latin typeface="Arial"/>
                <a:ea typeface="+mn-ea"/>
                <a:cs typeface="Arial"/>
              </a:rPr>
              <a:t>s</a:t>
            </a:r>
            <a:r>
              <a:rPr kumimoji="0" lang="en-US" sz="1200" b="0" i="0" u="none" strike="noStrike" kern="1200" cap="none" spc="0" normalizeH="0" baseline="0" noProof="0" err="1">
                <a:ln>
                  <a:noFill/>
                </a:ln>
                <a:solidFill>
                  <a:prstClr val="white"/>
                </a:solidFill>
                <a:effectLst/>
                <a:uLnTx/>
                <a:uFillTx/>
                <a:latin typeface="Arial"/>
                <a:ea typeface="+mn-ea"/>
                <a:cs typeface="Arial"/>
              </a:rPr>
              <a:t>oftware</a:t>
            </a:r>
            <a:r>
              <a:rPr kumimoji="0" lang="en-US" sz="1200" b="0" i="0" u="none" strike="noStrike" kern="1200" cap="none" spc="0" normalizeH="0" baseline="0" noProof="0">
                <a:ln>
                  <a:noFill/>
                </a:ln>
                <a:solidFill>
                  <a:prstClr val="white"/>
                </a:solidFill>
                <a:effectLst/>
                <a:uLnTx/>
                <a:uFillTx/>
                <a:latin typeface="Arial"/>
                <a:ea typeface="+mn-ea"/>
                <a:cs typeface="Arial"/>
              </a:rPr>
              <a:t> </a:t>
            </a:r>
          </a:p>
        </p:txBody>
      </p:sp>
      <p:sp>
        <p:nvSpPr>
          <p:cNvPr id="40" name="TextBox 20">
            <a:extLst>
              <a:ext uri="{FF2B5EF4-FFF2-40B4-BE49-F238E27FC236}">
                <a16:creationId xmlns:a16="http://schemas.microsoft.com/office/drawing/2014/main" id="{66D49334-62C6-B050-00F0-B963D6515323}"/>
              </a:ext>
            </a:extLst>
          </p:cNvPr>
          <p:cNvSpPr txBox="1">
            <a:spLocks/>
          </p:cNvSpPr>
          <p:nvPr/>
        </p:nvSpPr>
        <p:spPr>
          <a:xfrm>
            <a:off x="696912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mart solutions that build upon Software-</a:t>
            </a:r>
            <a:r>
              <a:rPr lang="en-US" sz="1200" kern="1200">
                <a:solidFill>
                  <a:prstClr val="white"/>
                </a:solidFill>
                <a:latin typeface="Arial"/>
                <a:ea typeface="+mn-ea"/>
                <a:cs typeface="Arial"/>
              </a:rPr>
              <a:t>D</a:t>
            </a:r>
            <a:r>
              <a:rPr kumimoji="0" lang="en-US" sz="1200" i="0" u="none" strike="noStrike" kern="1200" cap="none" spc="0" normalizeH="0" baseline="0" noProof="0" err="1">
                <a:ln>
                  <a:noFill/>
                </a:ln>
                <a:solidFill>
                  <a:prstClr val="white"/>
                </a:solidFill>
                <a:effectLst/>
                <a:uLnTx/>
                <a:uFillTx/>
                <a:latin typeface="Arial"/>
                <a:ea typeface="+mn-ea"/>
                <a:cs typeface="Arial"/>
              </a:rPr>
              <a:t>efined</a:t>
            </a:r>
            <a:r>
              <a:rPr kumimoji="0" lang="en-US" sz="1200" i="0" u="none" strike="noStrike" kern="1200" cap="none" spc="0" normalizeH="0" baseline="0" noProof="0">
                <a:ln>
                  <a:noFill/>
                </a:ln>
                <a:solidFill>
                  <a:prstClr val="white"/>
                </a:solidFill>
                <a:effectLst/>
                <a:uLnTx/>
                <a:uFillTx/>
                <a:latin typeface="Arial"/>
                <a:ea typeface="+mn-ea"/>
                <a:cs typeface="Arial"/>
              </a:rPr>
              <a:t> </a:t>
            </a:r>
            <a:r>
              <a:rPr lang="en-US" sz="1200" kern="1200">
                <a:solidFill>
                  <a:prstClr val="white"/>
                </a:solidFill>
                <a:latin typeface="Arial"/>
                <a:ea typeface="+mn-ea"/>
                <a:cs typeface="Arial"/>
              </a:rPr>
              <a:t>A</a:t>
            </a:r>
            <a:r>
              <a:rPr kumimoji="0" lang="en-US" sz="1200" i="0" u="none" strike="noStrike" kern="1200" cap="none" spc="0" normalizeH="0" baseline="0" noProof="0" err="1">
                <a:ln>
                  <a:noFill/>
                </a:ln>
                <a:solidFill>
                  <a:prstClr val="white"/>
                </a:solidFill>
                <a:effectLst/>
                <a:uLnTx/>
                <a:uFillTx/>
                <a:latin typeface="Arial"/>
                <a:ea typeface="+mn-ea"/>
                <a:cs typeface="Arial"/>
              </a:rPr>
              <a:t>utomation</a:t>
            </a:r>
            <a:endParaRPr kumimoji="0" lang="en-US" sz="1200" i="0" u="none" strike="noStrike" kern="1200" cap="none" spc="0" normalizeH="0" baseline="0" noProof="0">
              <a:ln>
                <a:noFill/>
              </a:ln>
              <a:solidFill>
                <a:prstClr val="white"/>
              </a:solidFill>
              <a:effectLst/>
              <a:uLnTx/>
              <a:uFillTx/>
              <a:latin typeface="Arial"/>
              <a:ea typeface="+mn-ea"/>
              <a:cs typeface="Arial"/>
            </a:endParaRPr>
          </a:p>
        </p:txBody>
      </p:sp>
      <p:sp>
        <p:nvSpPr>
          <p:cNvPr id="41" name="Rechteck 52">
            <a:extLst>
              <a:ext uri="{FF2B5EF4-FFF2-40B4-BE49-F238E27FC236}">
                <a16:creationId xmlns:a16="http://schemas.microsoft.com/office/drawing/2014/main" id="{8E4E8DCB-080E-E9EE-FFA7-FE053950518D}"/>
              </a:ext>
            </a:extLst>
          </p:cNvPr>
          <p:cNvSpPr>
            <a:spLocks/>
          </p:cNvSpPr>
          <p:nvPr/>
        </p:nvSpPr>
        <p:spPr>
          <a:xfrm>
            <a:off x="410400" y="5279668"/>
            <a:ext cx="11384805" cy="527408"/>
          </a:xfrm>
          <a:prstGeom prst="rect">
            <a:avLst/>
          </a:prstGeom>
          <a:solidFill>
            <a:srgbClr val="333353"/>
          </a:solidFill>
        </p:spPr>
        <p:txBody>
          <a:bodyPr wrap="square" lIns="72000" tIns="72000" rIns="72000" bIns="72000" anchor="ctr">
            <a:noAutofit/>
          </a:bodyPr>
          <a:lstStyle/>
          <a:p>
            <a:pPr lvl="0" algn="ctr" rtl="0">
              <a:buClrTx/>
              <a:defRPr/>
            </a:pPr>
            <a:r>
              <a:rPr lang="en-US" sz="2000" b="1" kern="1200">
                <a:solidFill>
                  <a:schemeClr val="tx1"/>
                </a:solidFill>
                <a:latin typeface="Arial"/>
                <a:ea typeface="+mn-ea"/>
                <a:cs typeface="Arial"/>
              </a:rPr>
              <a:t>Cybersecurity offering as strong protection layer for the software-based production</a:t>
            </a:r>
            <a:endParaRPr kumimoji="0" lang="en-US" sz="2000" b="1" i="0" u="none" strike="noStrike" kern="1200" cap="none" spc="0" normalizeH="0" baseline="0" noProof="0">
              <a:ln>
                <a:noFill/>
              </a:ln>
              <a:solidFill>
                <a:schemeClr val="tx1"/>
              </a:solidFill>
              <a:effectLst/>
              <a:uLnTx/>
              <a:uFillTx/>
              <a:latin typeface="Arial"/>
              <a:ea typeface="+mn-ea"/>
              <a:cs typeface="Arial"/>
            </a:endParaRPr>
          </a:p>
        </p:txBody>
      </p:sp>
      <p:sp>
        <p:nvSpPr>
          <p:cNvPr id="42" name="Freeform 5">
            <a:extLst>
              <a:ext uri="{FF2B5EF4-FFF2-40B4-BE49-F238E27FC236}">
                <a16:creationId xmlns:a16="http://schemas.microsoft.com/office/drawing/2014/main" id="{EBC74891-B28B-2830-05CD-F3A3BCBDC84B}"/>
              </a:ext>
            </a:extLst>
          </p:cNvPr>
          <p:cNvSpPr>
            <a:spLocks/>
          </p:cNvSpPr>
          <p:nvPr/>
        </p:nvSpPr>
        <p:spPr bwMode="auto">
          <a:xfrm>
            <a:off x="2071042" y="3019766"/>
            <a:ext cx="645283" cy="553998"/>
          </a:xfrm>
          <a:custGeom>
            <a:avLst/>
            <a:gdLst>
              <a:gd name="T0" fmla="*/ 48 w 84"/>
              <a:gd name="T1" fmla="*/ 0 h 72"/>
              <a:gd name="T2" fmla="*/ 12 w 84"/>
              <a:gd name="T3" fmla="*/ 36 h 72"/>
              <a:gd name="T4" fmla="*/ 0 w 84"/>
              <a:gd name="T5" fmla="*/ 36 h 72"/>
              <a:gd name="T6" fmla="*/ 16 w 84"/>
              <a:gd name="T7" fmla="*/ 56 h 72"/>
              <a:gd name="T8" fmla="*/ 32 w 84"/>
              <a:gd name="T9" fmla="*/ 36 h 72"/>
              <a:gd name="T10" fmla="*/ 20 w 84"/>
              <a:gd name="T11" fmla="*/ 36 h 72"/>
              <a:gd name="T12" fmla="*/ 48 w 84"/>
              <a:gd name="T13" fmla="*/ 8 h 72"/>
              <a:gd name="T14" fmla="*/ 76 w 84"/>
              <a:gd name="T15" fmla="*/ 36 h 72"/>
              <a:gd name="T16" fmla="*/ 48 w 84"/>
              <a:gd name="T17" fmla="*/ 64 h 72"/>
              <a:gd name="T18" fmla="*/ 33 w 84"/>
              <a:gd name="T19" fmla="*/ 60 h 72"/>
              <a:gd name="T20" fmla="*/ 28 w 84"/>
              <a:gd name="T21" fmla="*/ 66 h 72"/>
              <a:gd name="T22" fmla="*/ 48 w 84"/>
              <a:gd name="T23" fmla="*/ 72 h 72"/>
              <a:gd name="T24" fmla="*/ 84 w 84"/>
              <a:gd name="T25" fmla="*/ 36 h 72"/>
              <a:gd name="T26" fmla="*/ 48 w 84"/>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2">
                <a:moveTo>
                  <a:pt x="48" y="0"/>
                </a:moveTo>
                <a:cubicBezTo>
                  <a:pt x="28" y="0"/>
                  <a:pt x="12" y="16"/>
                  <a:pt x="12" y="36"/>
                </a:cubicBezTo>
                <a:cubicBezTo>
                  <a:pt x="0" y="36"/>
                  <a:pt x="0" y="36"/>
                  <a:pt x="0" y="36"/>
                </a:cubicBezTo>
                <a:cubicBezTo>
                  <a:pt x="16" y="56"/>
                  <a:pt x="16" y="56"/>
                  <a:pt x="16" y="56"/>
                </a:cubicBezTo>
                <a:cubicBezTo>
                  <a:pt x="32" y="36"/>
                  <a:pt x="32" y="36"/>
                  <a:pt x="32" y="36"/>
                </a:cubicBezTo>
                <a:cubicBezTo>
                  <a:pt x="20" y="36"/>
                  <a:pt x="20" y="36"/>
                  <a:pt x="20" y="36"/>
                </a:cubicBezTo>
                <a:cubicBezTo>
                  <a:pt x="20" y="21"/>
                  <a:pt x="33" y="8"/>
                  <a:pt x="48" y="8"/>
                </a:cubicBezTo>
                <a:cubicBezTo>
                  <a:pt x="63" y="8"/>
                  <a:pt x="76" y="21"/>
                  <a:pt x="76" y="36"/>
                </a:cubicBezTo>
                <a:cubicBezTo>
                  <a:pt x="76" y="51"/>
                  <a:pt x="63" y="64"/>
                  <a:pt x="48" y="64"/>
                </a:cubicBezTo>
                <a:cubicBezTo>
                  <a:pt x="43" y="64"/>
                  <a:pt x="38" y="62"/>
                  <a:pt x="33" y="60"/>
                </a:cubicBezTo>
                <a:cubicBezTo>
                  <a:pt x="28" y="66"/>
                  <a:pt x="28" y="66"/>
                  <a:pt x="28" y="66"/>
                </a:cubicBezTo>
                <a:cubicBezTo>
                  <a:pt x="34" y="70"/>
                  <a:pt x="41" y="72"/>
                  <a:pt x="48" y="72"/>
                </a:cubicBezTo>
                <a:cubicBezTo>
                  <a:pt x="68" y="72"/>
                  <a:pt x="84" y="56"/>
                  <a:pt x="84" y="36"/>
                </a:cubicBezTo>
                <a:cubicBezTo>
                  <a:pt x="84" y="16"/>
                  <a:pt x="68" y="0"/>
                  <a:pt x="48" y="0"/>
                </a:cubicBezTo>
                <a:close/>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eck 49">
            <a:extLst>
              <a:ext uri="{FF2B5EF4-FFF2-40B4-BE49-F238E27FC236}">
                <a16:creationId xmlns:a16="http://schemas.microsoft.com/office/drawing/2014/main" id="{FB5D9ABD-6669-6C04-F3B7-7DF856E03DE6}"/>
              </a:ext>
            </a:extLst>
          </p:cNvPr>
          <p:cNvSpPr>
            <a:spLocks/>
          </p:cNvSpPr>
          <p:nvPr/>
        </p:nvSpPr>
        <p:spPr>
          <a:xfrm>
            <a:off x="9418164"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l" rtl="0">
              <a:buClrTx/>
              <a:defRPr/>
            </a:pPr>
            <a:r>
              <a:rPr lang="en-US" b="1" kern="1200">
                <a:latin typeface="Arial"/>
              </a:rPr>
              <a:t>Dynamic </a:t>
            </a:r>
            <a:r>
              <a:rPr lang="en-US" b="1" kern="1200">
                <a:solidFill>
                  <a:schemeClr val="tx1"/>
                </a:solidFill>
                <a:latin typeface="Arial"/>
              </a:rPr>
              <a:t>Lifecycle Management</a:t>
            </a:r>
            <a:endParaRPr kumimoji="0" lang="en-US" sz="1800" b="1" i="0" u="none" strike="noStrike" kern="1200" cap="none" spc="0" normalizeH="0" baseline="0" noProof="0">
              <a:ln>
                <a:noFill/>
              </a:ln>
              <a:solidFill>
                <a:schemeClr val="tx1"/>
              </a:solidFill>
              <a:effectLst/>
              <a:uLnTx/>
              <a:uFillTx/>
              <a:latin typeface="Arial"/>
            </a:endParaRPr>
          </a:p>
        </p:txBody>
      </p:sp>
      <p:sp>
        <p:nvSpPr>
          <p:cNvPr id="44" name="TextBox 20">
            <a:extLst>
              <a:ext uri="{FF2B5EF4-FFF2-40B4-BE49-F238E27FC236}">
                <a16:creationId xmlns:a16="http://schemas.microsoft.com/office/drawing/2014/main" id="{6C7A823A-3FA7-77C9-8A28-C644718A2604}"/>
              </a:ext>
            </a:extLst>
          </p:cNvPr>
          <p:cNvSpPr txBox="1">
            <a:spLocks/>
          </p:cNvSpPr>
          <p:nvPr/>
        </p:nvSpPr>
        <p:spPr>
          <a:xfrm>
            <a:off x="9418164" y="2223475"/>
            <a:ext cx="2151609" cy="36933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Management</a:t>
            </a:r>
            <a:br>
              <a:rPr kumimoji="0" lang="en-US" sz="1200" b="0" i="0" u="none" strike="noStrike" kern="1200" cap="none" spc="0" normalizeH="0" baseline="0" noProof="0">
                <a:ln>
                  <a:noFill/>
                </a:ln>
                <a:solidFill>
                  <a:prstClr val="white"/>
                </a:solidFill>
                <a:effectLst/>
                <a:uLnTx/>
                <a:uFillTx/>
                <a:latin typeface="Arial"/>
                <a:ea typeface="+mn-ea"/>
                <a:cs typeface="Arial"/>
              </a:rPr>
            </a:br>
            <a:r>
              <a:rPr kumimoji="0" lang="en-US" sz="1200" b="0" i="0" u="none" strike="noStrike" kern="1200" cap="none" spc="0" normalizeH="0" baseline="0" noProof="0">
                <a:ln>
                  <a:noFill/>
                </a:ln>
                <a:solidFill>
                  <a:prstClr val="white"/>
                </a:solidFill>
                <a:effectLst/>
                <a:uLnTx/>
                <a:uFillTx/>
                <a:latin typeface="Arial"/>
                <a:ea typeface="+mn-ea"/>
                <a:cs typeface="Arial"/>
              </a:rPr>
              <a:t>&amp;</a:t>
            </a:r>
            <a:r>
              <a:rPr lang="en-US" sz="1200" kern="1200">
                <a:solidFill>
                  <a:prstClr val="white"/>
                </a:solidFill>
                <a:latin typeface="Arial"/>
                <a:ea typeface="+mn-ea"/>
                <a:cs typeface="Arial"/>
              </a:rPr>
              <a:t> </a:t>
            </a:r>
            <a:r>
              <a:rPr kumimoji="0" lang="en-US" sz="1200" b="0" i="0" u="none" strike="noStrike" kern="1200" cap="none" spc="0" normalizeH="0" baseline="0" noProof="0">
                <a:ln>
                  <a:noFill/>
                </a:ln>
                <a:solidFill>
                  <a:prstClr val="white"/>
                </a:solidFill>
                <a:effectLst/>
                <a:uLnTx/>
                <a:uFillTx/>
                <a:latin typeface="Arial"/>
                <a:ea typeface="+mn-ea"/>
                <a:cs typeface="Arial"/>
              </a:rPr>
              <a:t>Deployment infrastructure</a:t>
            </a:r>
          </a:p>
        </p:txBody>
      </p:sp>
      <p:sp>
        <p:nvSpPr>
          <p:cNvPr id="45" name="Freeform 6">
            <a:extLst>
              <a:ext uri="{FF2B5EF4-FFF2-40B4-BE49-F238E27FC236}">
                <a16:creationId xmlns:a16="http://schemas.microsoft.com/office/drawing/2014/main" id="{50F4CDA1-DDED-278E-2071-AFCC2DD47E32}"/>
              </a:ext>
            </a:extLst>
          </p:cNvPr>
          <p:cNvSpPr>
            <a:spLocks noChangeAspect="1" noEditPoints="1"/>
          </p:cNvSpPr>
          <p:nvPr/>
        </p:nvSpPr>
        <p:spPr bwMode="auto">
          <a:xfrm>
            <a:off x="9418163" y="3021499"/>
            <a:ext cx="404423" cy="550287"/>
          </a:xfrm>
          <a:custGeom>
            <a:avLst/>
            <a:gdLst>
              <a:gd name="T0" fmla="*/ 1892 w 2362"/>
              <a:gd name="T1" fmla="*/ 0 h 3213"/>
              <a:gd name="T2" fmla="*/ 1892 w 2362"/>
              <a:gd name="T3" fmla="*/ 475 h 3213"/>
              <a:gd name="T4" fmla="*/ 470 w 2362"/>
              <a:gd name="T5" fmla="*/ 475 h 3213"/>
              <a:gd name="T6" fmla="*/ 470 w 2362"/>
              <a:gd name="T7" fmla="*/ 0 h 3213"/>
              <a:gd name="T8" fmla="*/ 0 w 2362"/>
              <a:gd name="T9" fmla="*/ 0 h 3213"/>
              <a:gd name="T10" fmla="*/ 0 w 2362"/>
              <a:gd name="T11" fmla="*/ 3213 h 3213"/>
              <a:gd name="T12" fmla="*/ 2362 w 2362"/>
              <a:gd name="T13" fmla="*/ 3213 h 3213"/>
              <a:gd name="T14" fmla="*/ 2362 w 2362"/>
              <a:gd name="T15" fmla="*/ 0 h 3213"/>
              <a:gd name="T16" fmla="*/ 1892 w 2362"/>
              <a:gd name="T17" fmla="*/ 0 h 3213"/>
              <a:gd name="T18" fmla="*/ 756 w 2362"/>
              <a:gd name="T19" fmla="*/ 2646 h 3213"/>
              <a:gd name="T20" fmla="*/ 378 w 2362"/>
              <a:gd name="T21" fmla="*/ 2646 h 3213"/>
              <a:gd name="T22" fmla="*/ 378 w 2362"/>
              <a:gd name="T23" fmla="*/ 2268 h 3213"/>
              <a:gd name="T24" fmla="*/ 756 w 2362"/>
              <a:gd name="T25" fmla="*/ 2268 h 3213"/>
              <a:gd name="T26" fmla="*/ 756 w 2362"/>
              <a:gd name="T27" fmla="*/ 2646 h 3213"/>
              <a:gd name="T28" fmla="*/ 756 w 2362"/>
              <a:gd name="T29" fmla="*/ 1607 h 3213"/>
              <a:gd name="T30" fmla="*/ 378 w 2362"/>
              <a:gd name="T31" fmla="*/ 1607 h 3213"/>
              <a:gd name="T32" fmla="*/ 378 w 2362"/>
              <a:gd name="T33" fmla="*/ 1229 h 3213"/>
              <a:gd name="T34" fmla="*/ 756 w 2362"/>
              <a:gd name="T35" fmla="*/ 1229 h 3213"/>
              <a:gd name="T36" fmla="*/ 756 w 2362"/>
              <a:gd name="T37" fmla="*/ 1607 h 3213"/>
              <a:gd name="T38" fmla="*/ 1423 w 2362"/>
              <a:gd name="T39" fmla="*/ 2786 h 3213"/>
              <a:gd name="T40" fmla="*/ 1067 w 2362"/>
              <a:gd name="T41" fmla="*/ 2430 h 3213"/>
              <a:gd name="T42" fmla="*/ 1172 w 2362"/>
              <a:gd name="T43" fmla="*/ 2324 h 3213"/>
              <a:gd name="T44" fmla="*/ 1400 w 2362"/>
              <a:gd name="T45" fmla="*/ 2522 h 3213"/>
              <a:gd name="T46" fmla="*/ 1980 w 2362"/>
              <a:gd name="T47" fmla="*/ 2019 h 3213"/>
              <a:gd name="T48" fmla="*/ 2085 w 2362"/>
              <a:gd name="T49" fmla="*/ 2124 h 3213"/>
              <a:gd name="T50" fmla="*/ 1423 w 2362"/>
              <a:gd name="T51" fmla="*/ 2786 h 3213"/>
              <a:gd name="T52" fmla="*/ 1423 w 2362"/>
              <a:gd name="T53" fmla="*/ 1747 h 3213"/>
              <a:gd name="T54" fmla="*/ 1067 w 2362"/>
              <a:gd name="T55" fmla="*/ 1390 h 3213"/>
              <a:gd name="T56" fmla="*/ 1172 w 2362"/>
              <a:gd name="T57" fmla="*/ 1285 h 3213"/>
              <a:gd name="T58" fmla="*/ 1400 w 2362"/>
              <a:gd name="T59" fmla="*/ 1483 h 3213"/>
              <a:gd name="T60" fmla="*/ 1980 w 2362"/>
              <a:gd name="T61" fmla="*/ 979 h 3213"/>
              <a:gd name="T62" fmla="*/ 2085 w 2362"/>
              <a:gd name="T63" fmla="*/ 1085 h 3213"/>
              <a:gd name="T64" fmla="*/ 1423 w 2362"/>
              <a:gd name="T65" fmla="*/ 1747 h 3213"/>
              <a:gd name="T66" fmla="*/ 1698 w 2362"/>
              <a:gd name="T67" fmla="*/ 281 h 3213"/>
              <a:gd name="T68" fmla="*/ 664 w 2362"/>
              <a:gd name="T69" fmla="*/ 281 h 3213"/>
              <a:gd name="T70" fmla="*/ 664 w 2362"/>
              <a:gd name="T71" fmla="*/ 0 h 3213"/>
              <a:gd name="T72" fmla="*/ 1698 w 2362"/>
              <a:gd name="T73" fmla="*/ 0 h 3213"/>
              <a:gd name="T74" fmla="*/ 1698 w 2362"/>
              <a:gd name="T75" fmla="*/ 281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2" h="3213">
                <a:moveTo>
                  <a:pt x="1892" y="0"/>
                </a:moveTo>
                <a:lnTo>
                  <a:pt x="1892" y="475"/>
                </a:lnTo>
                <a:lnTo>
                  <a:pt x="470" y="475"/>
                </a:lnTo>
                <a:lnTo>
                  <a:pt x="470" y="0"/>
                </a:lnTo>
                <a:lnTo>
                  <a:pt x="0" y="0"/>
                </a:lnTo>
                <a:lnTo>
                  <a:pt x="0" y="3213"/>
                </a:lnTo>
                <a:lnTo>
                  <a:pt x="2362" y="3213"/>
                </a:lnTo>
                <a:lnTo>
                  <a:pt x="2362" y="0"/>
                </a:lnTo>
                <a:lnTo>
                  <a:pt x="1892" y="0"/>
                </a:lnTo>
                <a:close/>
                <a:moveTo>
                  <a:pt x="756" y="2646"/>
                </a:moveTo>
                <a:lnTo>
                  <a:pt x="378" y="2646"/>
                </a:lnTo>
                <a:lnTo>
                  <a:pt x="378" y="2268"/>
                </a:lnTo>
                <a:lnTo>
                  <a:pt x="756" y="2268"/>
                </a:lnTo>
                <a:lnTo>
                  <a:pt x="756" y="2646"/>
                </a:lnTo>
                <a:close/>
                <a:moveTo>
                  <a:pt x="756" y="1607"/>
                </a:moveTo>
                <a:lnTo>
                  <a:pt x="378" y="1607"/>
                </a:lnTo>
                <a:lnTo>
                  <a:pt x="378" y="1229"/>
                </a:lnTo>
                <a:lnTo>
                  <a:pt x="756" y="1229"/>
                </a:lnTo>
                <a:lnTo>
                  <a:pt x="756" y="1607"/>
                </a:lnTo>
                <a:close/>
                <a:moveTo>
                  <a:pt x="1423" y="2786"/>
                </a:moveTo>
                <a:lnTo>
                  <a:pt x="1067" y="2430"/>
                </a:lnTo>
                <a:lnTo>
                  <a:pt x="1172" y="2324"/>
                </a:lnTo>
                <a:lnTo>
                  <a:pt x="1400" y="2522"/>
                </a:lnTo>
                <a:lnTo>
                  <a:pt x="1980" y="2019"/>
                </a:lnTo>
                <a:lnTo>
                  <a:pt x="2085" y="2124"/>
                </a:lnTo>
                <a:lnTo>
                  <a:pt x="1423" y="2786"/>
                </a:lnTo>
                <a:close/>
                <a:moveTo>
                  <a:pt x="1423" y="1747"/>
                </a:moveTo>
                <a:lnTo>
                  <a:pt x="1067" y="1390"/>
                </a:lnTo>
                <a:lnTo>
                  <a:pt x="1172" y="1285"/>
                </a:lnTo>
                <a:lnTo>
                  <a:pt x="1400" y="1483"/>
                </a:lnTo>
                <a:lnTo>
                  <a:pt x="1980" y="979"/>
                </a:lnTo>
                <a:lnTo>
                  <a:pt x="2085" y="1085"/>
                </a:lnTo>
                <a:lnTo>
                  <a:pt x="1423" y="1747"/>
                </a:lnTo>
                <a:close/>
                <a:moveTo>
                  <a:pt x="1698" y="281"/>
                </a:moveTo>
                <a:lnTo>
                  <a:pt x="664" y="281"/>
                </a:lnTo>
                <a:lnTo>
                  <a:pt x="664" y="0"/>
                </a:lnTo>
                <a:lnTo>
                  <a:pt x="1698" y="0"/>
                </a:lnTo>
                <a:lnTo>
                  <a:pt x="1698" y="281"/>
                </a:ln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6">
            <a:extLst>
              <a:ext uri="{FF2B5EF4-FFF2-40B4-BE49-F238E27FC236}">
                <a16:creationId xmlns:a16="http://schemas.microsoft.com/office/drawing/2014/main" id="{A10F862A-1EE9-292E-5B72-C4D22D078E65}"/>
              </a:ext>
            </a:extLst>
          </p:cNvPr>
          <p:cNvSpPr>
            <a:spLocks noChangeAspect="1" noEditPoints="1"/>
          </p:cNvSpPr>
          <p:nvPr/>
        </p:nvSpPr>
        <p:spPr bwMode="auto">
          <a:xfrm>
            <a:off x="4520082" y="3000549"/>
            <a:ext cx="600131" cy="595114"/>
          </a:xfrm>
          <a:custGeom>
            <a:avLst/>
            <a:gdLst>
              <a:gd name="T0" fmla="*/ 1319 w 3239"/>
              <a:gd name="T1" fmla="*/ 2759 h 3212"/>
              <a:gd name="T2" fmla="*/ 1181 w 3239"/>
              <a:gd name="T3" fmla="*/ 3212 h 3212"/>
              <a:gd name="T4" fmla="*/ 0 w 3239"/>
              <a:gd name="T5" fmla="*/ 2031 h 3212"/>
              <a:gd name="T6" fmla="*/ 591 w 3239"/>
              <a:gd name="T7" fmla="*/ 2409 h 3212"/>
              <a:gd name="T8" fmla="*/ 1181 w 3239"/>
              <a:gd name="T9" fmla="*/ 2031 h 3212"/>
              <a:gd name="T10" fmla="*/ 1319 w 3239"/>
              <a:gd name="T11" fmla="*/ 2484 h 3212"/>
              <a:gd name="T12" fmla="*/ 1559 w 3239"/>
              <a:gd name="T13" fmla="*/ 2622 h 3212"/>
              <a:gd name="T14" fmla="*/ 453 w 3239"/>
              <a:gd name="T15" fmla="*/ 1980 h 3212"/>
              <a:gd name="T16" fmla="*/ 590 w 3239"/>
              <a:gd name="T17" fmla="*/ 2220 h 3212"/>
              <a:gd name="T18" fmla="*/ 728 w 3239"/>
              <a:gd name="T19" fmla="*/ 1980 h 3212"/>
              <a:gd name="T20" fmla="*/ 1181 w 3239"/>
              <a:gd name="T21" fmla="*/ 1842 h 3212"/>
              <a:gd name="T22" fmla="*/ 1043 w 3239"/>
              <a:gd name="T23" fmla="*/ 1366 h 3212"/>
              <a:gd name="T24" fmla="*/ 803 w 3239"/>
              <a:gd name="T25" fmla="*/ 1228 h 3212"/>
              <a:gd name="T26" fmla="*/ 1043 w 3239"/>
              <a:gd name="T27" fmla="*/ 1091 h 3212"/>
              <a:gd name="T28" fmla="*/ 1181 w 3239"/>
              <a:gd name="T29" fmla="*/ 661 h 3212"/>
              <a:gd name="T30" fmla="*/ 0 w 3239"/>
              <a:gd name="T31" fmla="*/ 1842 h 3212"/>
              <a:gd name="T32" fmla="*/ 453 w 3239"/>
              <a:gd name="T33" fmla="*/ 1980 h 3212"/>
              <a:gd name="T34" fmla="*/ 2815 w 3239"/>
              <a:gd name="T35" fmla="*/ 1264 h 3212"/>
              <a:gd name="T36" fmla="*/ 3076 w 3239"/>
              <a:gd name="T37" fmla="*/ 664 h 3212"/>
              <a:gd name="T38" fmla="*/ 2873 w 3239"/>
              <a:gd name="T39" fmla="*/ 761 h 3212"/>
              <a:gd name="T40" fmla="*/ 2762 w 3239"/>
              <a:gd name="T41" fmla="*/ 457 h 3212"/>
              <a:gd name="T42" fmla="*/ 2981 w 3239"/>
              <a:gd name="T43" fmla="*/ 401 h 3212"/>
              <a:gd name="T44" fmla="*/ 1725 w 3239"/>
              <a:gd name="T45" fmla="*/ 404 h 3212"/>
              <a:gd name="T46" fmla="*/ 2553 w 3239"/>
              <a:gd name="T47" fmla="*/ 1359 h 3212"/>
              <a:gd name="T48" fmla="*/ 2608 w 3239"/>
              <a:gd name="T49" fmla="*/ 1578 h 3212"/>
              <a:gd name="T50" fmla="*/ 2913 w 3239"/>
              <a:gd name="T51" fmla="*/ 1467 h 3212"/>
              <a:gd name="T52" fmla="*/ 2098 w 3239"/>
              <a:gd name="T53" fmla="*/ 1893 h 3212"/>
              <a:gd name="T54" fmla="*/ 1961 w 3239"/>
              <a:gd name="T55" fmla="*/ 1653 h 3212"/>
              <a:gd name="T56" fmla="*/ 1823 w 3239"/>
              <a:gd name="T57" fmla="*/ 1893 h 3212"/>
              <a:gd name="T58" fmla="*/ 1370 w 3239"/>
              <a:gd name="T59" fmla="*/ 2031 h 3212"/>
              <a:gd name="T60" fmla="*/ 1748 w 3239"/>
              <a:gd name="T61" fmla="*/ 2622 h 3212"/>
              <a:gd name="T62" fmla="*/ 1370 w 3239"/>
              <a:gd name="T63" fmla="*/ 3212 h 3212"/>
              <a:gd name="T64" fmla="*/ 2551 w 3239"/>
              <a:gd name="T65" fmla="*/ 2031 h 3212"/>
              <a:gd name="T66" fmla="*/ 2098 w 3239"/>
              <a:gd name="T67" fmla="*/ 1893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39" h="3212">
                <a:moveTo>
                  <a:pt x="1406" y="2784"/>
                </a:moveTo>
                <a:cubicBezTo>
                  <a:pt x="1376" y="2784"/>
                  <a:pt x="1346" y="2771"/>
                  <a:pt x="1319" y="2759"/>
                </a:cubicBezTo>
                <a:cubicBezTo>
                  <a:pt x="1262" y="2735"/>
                  <a:pt x="1197" y="2690"/>
                  <a:pt x="1181" y="2761"/>
                </a:cubicBezTo>
                <a:lnTo>
                  <a:pt x="1181" y="3212"/>
                </a:lnTo>
                <a:lnTo>
                  <a:pt x="0" y="3212"/>
                </a:lnTo>
                <a:lnTo>
                  <a:pt x="0" y="2031"/>
                </a:lnTo>
                <a:lnTo>
                  <a:pt x="213" y="2031"/>
                </a:lnTo>
                <a:cubicBezTo>
                  <a:pt x="213" y="2240"/>
                  <a:pt x="382" y="2409"/>
                  <a:pt x="591" y="2409"/>
                </a:cubicBezTo>
                <a:cubicBezTo>
                  <a:pt x="799" y="2409"/>
                  <a:pt x="969" y="2240"/>
                  <a:pt x="969" y="2031"/>
                </a:cubicBezTo>
                <a:lnTo>
                  <a:pt x="1181" y="2031"/>
                </a:lnTo>
                <a:lnTo>
                  <a:pt x="1181" y="2482"/>
                </a:lnTo>
                <a:cubicBezTo>
                  <a:pt x="1197" y="2554"/>
                  <a:pt x="1262" y="2509"/>
                  <a:pt x="1319" y="2484"/>
                </a:cubicBezTo>
                <a:cubicBezTo>
                  <a:pt x="1346" y="2473"/>
                  <a:pt x="1376" y="2460"/>
                  <a:pt x="1406" y="2460"/>
                </a:cubicBezTo>
                <a:cubicBezTo>
                  <a:pt x="1491" y="2460"/>
                  <a:pt x="1559" y="2532"/>
                  <a:pt x="1559" y="2622"/>
                </a:cubicBezTo>
                <a:cubicBezTo>
                  <a:pt x="1559" y="2712"/>
                  <a:pt x="1491" y="2784"/>
                  <a:pt x="1406" y="2784"/>
                </a:cubicBezTo>
                <a:close/>
                <a:moveTo>
                  <a:pt x="453" y="1980"/>
                </a:moveTo>
                <a:cubicBezTo>
                  <a:pt x="442" y="2007"/>
                  <a:pt x="429" y="2037"/>
                  <a:pt x="429" y="2067"/>
                </a:cubicBezTo>
                <a:cubicBezTo>
                  <a:pt x="429" y="2152"/>
                  <a:pt x="501" y="2220"/>
                  <a:pt x="590" y="2220"/>
                </a:cubicBezTo>
                <a:cubicBezTo>
                  <a:pt x="680" y="2220"/>
                  <a:pt x="753" y="2152"/>
                  <a:pt x="753" y="2067"/>
                </a:cubicBezTo>
                <a:cubicBezTo>
                  <a:pt x="753" y="2037"/>
                  <a:pt x="740" y="2007"/>
                  <a:pt x="728" y="1980"/>
                </a:cubicBezTo>
                <a:cubicBezTo>
                  <a:pt x="704" y="1923"/>
                  <a:pt x="659" y="1858"/>
                  <a:pt x="730" y="1842"/>
                </a:cubicBezTo>
                <a:lnTo>
                  <a:pt x="1181" y="1842"/>
                </a:lnTo>
                <a:lnTo>
                  <a:pt x="1181" y="1368"/>
                </a:lnTo>
                <a:cubicBezTo>
                  <a:pt x="1166" y="1296"/>
                  <a:pt x="1100" y="1341"/>
                  <a:pt x="1043" y="1366"/>
                </a:cubicBezTo>
                <a:cubicBezTo>
                  <a:pt x="1016" y="1377"/>
                  <a:pt x="987" y="1390"/>
                  <a:pt x="957" y="1390"/>
                </a:cubicBezTo>
                <a:cubicBezTo>
                  <a:pt x="872" y="1390"/>
                  <a:pt x="803" y="1318"/>
                  <a:pt x="803" y="1228"/>
                </a:cubicBezTo>
                <a:cubicBezTo>
                  <a:pt x="803" y="1138"/>
                  <a:pt x="872" y="1066"/>
                  <a:pt x="957" y="1066"/>
                </a:cubicBezTo>
                <a:cubicBezTo>
                  <a:pt x="987" y="1066"/>
                  <a:pt x="1016" y="1079"/>
                  <a:pt x="1043" y="1091"/>
                </a:cubicBezTo>
                <a:cubicBezTo>
                  <a:pt x="1100" y="1115"/>
                  <a:pt x="1166" y="1160"/>
                  <a:pt x="1181" y="1089"/>
                </a:cubicBezTo>
                <a:lnTo>
                  <a:pt x="1181" y="661"/>
                </a:lnTo>
                <a:lnTo>
                  <a:pt x="0" y="661"/>
                </a:lnTo>
                <a:lnTo>
                  <a:pt x="0" y="1842"/>
                </a:lnTo>
                <a:lnTo>
                  <a:pt x="451" y="1842"/>
                </a:lnTo>
                <a:cubicBezTo>
                  <a:pt x="522" y="1858"/>
                  <a:pt x="477" y="1923"/>
                  <a:pt x="453" y="1980"/>
                </a:cubicBezTo>
                <a:close/>
                <a:moveTo>
                  <a:pt x="2860" y="1394"/>
                </a:moveTo>
                <a:cubicBezTo>
                  <a:pt x="2818" y="1349"/>
                  <a:pt x="2753" y="1303"/>
                  <a:pt x="2815" y="1264"/>
                </a:cubicBezTo>
                <a:lnTo>
                  <a:pt x="3239" y="1110"/>
                </a:lnTo>
                <a:lnTo>
                  <a:pt x="3076" y="664"/>
                </a:lnTo>
                <a:cubicBezTo>
                  <a:pt x="3037" y="602"/>
                  <a:pt x="2991" y="667"/>
                  <a:pt x="2946" y="709"/>
                </a:cubicBezTo>
                <a:cubicBezTo>
                  <a:pt x="2924" y="729"/>
                  <a:pt x="2901" y="751"/>
                  <a:pt x="2873" y="761"/>
                </a:cubicBezTo>
                <a:cubicBezTo>
                  <a:pt x="2793" y="791"/>
                  <a:pt x="2704" y="746"/>
                  <a:pt x="2673" y="661"/>
                </a:cubicBezTo>
                <a:cubicBezTo>
                  <a:pt x="2643" y="577"/>
                  <a:pt x="2682" y="486"/>
                  <a:pt x="2762" y="457"/>
                </a:cubicBezTo>
                <a:cubicBezTo>
                  <a:pt x="2790" y="447"/>
                  <a:pt x="2822" y="449"/>
                  <a:pt x="2852" y="451"/>
                </a:cubicBezTo>
                <a:cubicBezTo>
                  <a:pt x="2914" y="454"/>
                  <a:pt x="2991" y="474"/>
                  <a:pt x="2981" y="401"/>
                </a:cubicBezTo>
                <a:lnTo>
                  <a:pt x="2835" y="0"/>
                </a:lnTo>
                <a:lnTo>
                  <a:pt x="1725" y="404"/>
                </a:lnTo>
                <a:lnTo>
                  <a:pt x="2129" y="1514"/>
                </a:lnTo>
                <a:lnTo>
                  <a:pt x="2553" y="1359"/>
                </a:lnTo>
                <a:cubicBezTo>
                  <a:pt x="2625" y="1350"/>
                  <a:pt x="2605" y="1426"/>
                  <a:pt x="2602" y="1488"/>
                </a:cubicBezTo>
                <a:cubicBezTo>
                  <a:pt x="2600" y="1518"/>
                  <a:pt x="2598" y="1550"/>
                  <a:pt x="2608" y="1578"/>
                </a:cubicBezTo>
                <a:cubicBezTo>
                  <a:pt x="2637" y="1658"/>
                  <a:pt x="2728" y="1697"/>
                  <a:pt x="2813" y="1667"/>
                </a:cubicBezTo>
                <a:cubicBezTo>
                  <a:pt x="2897" y="1636"/>
                  <a:pt x="2942" y="1547"/>
                  <a:pt x="2913" y="1467"/>
                </a:cubicBezTo>
                <a:cubicBezTo>
                  <a:pt x="2902" y="1439"/>
                  <a:pt x="2880" y="1416"/>
                  <a:pt x="2860" y="1394"/>
                </a:cubicBezTo>
                <a:close/>
                <a:moveTo>
                  <a:pt x="2098" y="1893"/>
                </a:moveTo>
                <a:cubicBezTo>
                  <a:pt x="2110" y="1866"/>
                  <a:pt x="2123" y="1837"/>
                  <a:pt x="2123" y="1807"/>
                </a:cubicBezTo>
                <a:cubicBezTo>
                  <a:pt x="2123" y="1722"/>
                  <a:pt x="2051" y="1654"/>
                  <a:pt x="1961" y="1653"/>
                </a:cubicBezTo>
                <a:cubicBezTo>
                  <a:pt x="1871" y="1654"/>
                  <a:pt x="1799" y="1722"/>
                  <a:pt x="1799" y="1807"/>
                </a:cubicBezTo>
                <a:cubicBezTo>
                  <a:pt x="1799" y="1837"/>
                  <a:pt x="1812" y="1866"/>
                  <a:pt x="1823" y="1893"/>
                </a:cubicBezTo>
                <a:cubicBezTo>
                  <a:pt x="1847" y="1950"/>
                  <a:pt x="1892" y="2016"/>
                  <a:pt x="1821" y="2031"/>
                </a:cubicBezTo>
                <a:lnTo>
                  <a:pt x="1370" y="2031"/>
                </a:lnTo>
                <a:lnTo>
                  <a:pt x="1370" y="2244"/>
                </a:lnTo>
                <a:cubicBezTo>
                  <a:pt x="1579" y="2244"/>
                  <a:pt x="1748" y="2413"/>
                  <a:pt x="1748" y="2622"/>
                </a:cubicBezTo>
                <a:cubicBezTo>
                  <a:pt x="1748" y="2831"/>
                  <a:pt x="1579" y="3000"/>
                  <a:pt x="1370" y="3000"/>
                </a:cubicBezTo>
                <a:lnTo>
                  <a:pt x="1370" y="3212"/>
                </a:lnTo>
                <a:lnTo>
                  <a:pt x="2551" y="3212"/>
                </a:lnTo>
                <a:lnTo>
                  <a:pt x="2551" y="2031"/>
                </a:lnTo>
                <a:lnTo>
                  <a:pt x="2100" y="2031"/>
                </a:lnTo>
                <a:cubicBezTo>
                  <a:pt x="2029" y="2016"/>
                  <a:pt x="2074" y="1950"/>
                  <a:pt x="2098" y="1893"/>
                </a:cubicBez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tangle 39">
            <a:extLst>
              <a:ext uri="{FF2B5EF4-FFF2-40B4-BE49-F238E27FC236}">
                <a16:creationId xmlns:a16="http://schemas.microsoft.com/office/drawing/2014/main" id="{50B1ED13-6B6D-668D-99E6-9C6EE978A846}"/>
              </a:ext>
            </a:extLst>
          </p:cNvPr>
          <p:cNvSpPr>
            <a:spLocks/>
          </p:cNvSpPr>
          <p:nvPr/>
        </p:nvSpPr>
        <p:spPr>
          <a:xfrm>
            <a:off x="207104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neo </a:t>
            </a:r>
          </a:p>
        </p:txBody>
      </p:sp>
      <p:sp>
        <p:nvSpPr>
          <p:cNvPr id="48" name="Rectangle 166">
            <a:extLst>
              <a:ext uri="{FF2B5EF4-FFF2-40B4-BE49-F238E27FC236}">
                <a16:creationId xmlns:a16="http://schemas.microsoft.com/office/drawing/2014/main" id="{F8FFD815-7AA0-0EDB-42D4-2AE07D3A24C8}"/>
              </a:ext>
            </a:extLst>
          </p:cNvPr>
          <p:cNvSpPr>
            <a:spLocks/>
          </p:cNvSpPr>
          <p:nvPr/>
        </p:nvSpPr>
        <p:spPr>
          <a:xfrm>
            <a:off x="4520083"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Virtual Process Controller</a:t>
            </a:r>
          </a:p>
        </p:txBody>
      </p:sp>
      <p:sp>
        <p:nvSpPr>
          <p:cNvPr id="49" name="Rectangle 12">
            <a:extLst>
              <a:ext uri="{FF2B5EF4-FFF2-40B4-BE49-F238E27FC236}">
                <a16:creationId xmlns:a16="http://schemas.microsoft.com/office/drawing/2014/main" id="{779C00C3-EDED-291B-9202-E0A016BDF578}"/>
              </a:ext>
            </a:extLst>
          </p:cNvPr>
          <p:cNvSpPr>
            <a:spLocks/>
          </p:cNvSpPr>
          <p:nvPr/>
        </p:nvSpPr>
        <p:spPr>
          <a:xfrm>
            <a:off x="696912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err="1">
                <a:solidFill>
                  <a:prstClr val="white"/>
                </a:solidFill>
                <a:latin typeface="Arial"/>
                <a:cs typeface="Arial"/>
              </a:rPr>
              <a:t>eaSie</a:t>
            </a:r>
            <a:endParaRPr lang="en-US" sz="1200" kern="1200">
              <a:solidFill>
                <a:prstClr val="white"/>
              </a:solidFill>
              <a:latin typeface="Arial"/>
              <a:cs typeface="Arial"/>
            </a:endParaRPr>
          </a:p>
        </p:txBody>
      </p:sp>
      <p:sp>
        <p:nvSpPr>
          <p:cNvPr id="50" name="Rectangle 40">
            <a:extLst>
              <a:ext uri="{FF2B5EF4-FFF2-40B4-BE49-F238E27FC236}">
                <a16:creationId xmlns:a16="http://schemas.microsoft.com/office/drawing/2014/main" id="{F45C6F64-1D46-A158-F944-3481E702595D}"/>
              </a:ext>
            </a:extLst>
          </p:cNvPr>
          <p:cNvSpPr>
            <a:spLocks/>
          </p:cNvSpPr>
          <p:nvPr/>
        </p:nvSpPr>
        <p:spPr>
          <a:xfrm>
            <a:off x="9418165"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a:t>
            </a:r>
            <a:r>
              <a:rPr lang="en-US" sz="1200" kern="1200" err="1">
                <a:solidFill>
                  <a:prstClr val="white"/>
                </a:solidFill>
                <a:latin typeface="Arial"/>
                <a:cs typeface="Arial"/>
              </a:rPr>
              <a:t>myExpert</a:t>
            </a:r>
            <a:endParaRPr lang="en-US" sz="1200" kern="1200">
              <a:solidFill>
                <a:prstClr val="white"/>
              </a:solidFill>
              <a:latin typeface="Arial"/>
              <a:cs typeface="Arial"/>
            </a:endParaRPr>
          </a:p>
        </p:txBody>
      </p:sp>
      <p:sp>
        <p:nvSpPr>
          <p:cNvPr id="51" name="Freihandform: Form 74">
            <a:extLst>
              <a:ext uri="{FF2B5EF4-FFF2-40B4-BE49-F238E27FC236}">
                <a16:creationId xmlns:a16="http://schemas.microsoft.com/office/drawing/2014/main" id="{5EC1438E-B532-FDBD-D4BD-20D65A01AA89}"/>
              </a:ext>
            </a:extLst>
          </p:cNvPr>
          <p:cNvSpPr/>
          <p:nvPr/>
        </p:nvSpPr>
        <p:spPr bwMode="gray">
          <a:xfrm>
            <a:off x="6969123" y="3013167"/>
            <a:ext cx="750361" cy="568116"/>
          </a:xfrm>
          <a:custGeom>
            <a:avLst/>
            <a:gdLst>
              <a:gd name="connsiteX0" fmla="*/ 224748 w 648997"/>
              <a:gd name="connsiteY0" fmla="*/ 325810 h 491371"/>
              <a:gd name="connsiteX1" fmla="*/ 253408 w 648997"/>
              <a:gd name="connsiteY1" fmla="*/ 309286 h 491371"/>
              <a:gd name="connsiteX2" fmla="*/ 232839 w 648997"/>
              <a:gd name="connsiteY2" fmla="*/ 273634 h 491371"/>
              <a:gd name="connsiteX3" fmla="*/ 204111 w 648997"/>
              <a:gd name="connsiteY3" fmla="*/ 290226 h 491371"/>
              <a:gd name="connsiteX4" fmla="*/ 196638 w 648997"/>
              <a:gd name="connsiteY4" fmla="*/ 282752 h 491371"/>
              <a:gd name="connsiteX5" fmla="*/ 213230 w 648997"/>
              <a:gd name="connsiteY5" fmla="*/ 254025 h 491371"/>
              <a:gd name="connsiteX6" fmla="*/ 177577 w 648997"/>
              <a:gd name="connsiteY6" fmla="*/ 233456 h 491371"/>
              <a:gd name="connsiteX7" fmla="*/ 161054 w 648997"/>
              <a:gd name="connsiteY7" fmla="*/ 262115 h 491371"/>
              <a:gd name="connsiteX8" fmla="*/ 150838 w 648997"/>
              <a:gd name="connsiteY8" fmla="*/ 259373 h 491371"/>
              <a:gd name="connsiteX9" fmla="*/ 150838 w 648997"/>
              <a:gd name="connsiteY9" fmla="*/ 226325 h 491371"/>
              <a:gd name="connsiteX10" fmla="*/ 109700 w 648997"/>
              <a:gd name="connsiteY10" fmla="*/ 226325 h 491371"/>
              <a:gd name="connsiteX11" fmla="*/ 109700 w 648997"/>
              <a:gd name="connsiteY11" fmla="*/ 259373 h 491371"/>
              <a:gd name="connsiteX12" fmla="*/ 99484 w 648997"/>
              <a:gd name="connsiteY12" fmla="*/ 262115 h 491371"/>
              <a:gd name="connsiteX13" fmla="*/ 82961 w 648997"/>
              <a:gd name="connsiteY13" fmla="*/ 233456 h 491371"/>
              <a:gd name="connsiteX14" fmla="*/ 47308 w 648997"/>
              <a:gd name="connsiteY14" fmla="*/ 254025 h 491371"/>
              <a:gd name="connsiteX15" fmla="*/ 63900 w 648997"/>
              <a:gd name="connsiteY15" fmla="*/ 282752 h 491371"/>
              <a:gd name="connsiteX16" fmla="*/ 56427 w 648997"/>
              <a:gd name="connsiteY16" fmla="*/ 290226 h 491371"/>
              <a:gd name="connsiteX17" fmla="*/ 27699 w 648997"/>
              <a:gd name="connsiteY17" fmla="*/ 273634 h 491371"/>
              <a:gd name="connsiteX18" fmla="*/ 7131 w 648997"/>
              <a:gd name="connsiteY18" fmla="*/ 309286 h 491371"/>
              <a:gd name="connsiteX19" fmla="*/ 35790 w 648997"/>
              <a:gd name="connsiteY19" fmla="*/ 325810 h 491371"/>
              <a:gd name="connsiteX20" fmla="*/ 33047 w 648997"/>
              <a:gd name="connsiteY20" fmla="*/ 336026 h 491371"/>
              <a:gd name="connsiteX21" fmla="*/ 0 w 648997"/>
              <a:gd name="connsiteY21" fmla="*/ 336026 h 491371"/>
              <a:gd name="connsiteX22" fmla="*/ 0 w 648997"/>
              <a:gd name="connsiteY22" fmla="*/ 377163 h 491371"/>
              <a:gd name="connsiteX23" fmla="*/ 33047 w 648997"/>
              <a:gd name="connsiteY23" fmla="*/ 377163 h 491371"/>
              <a:gd name="connsiteX24" fmla="*/ 35790 w 648997"/>
              <a:gd name="connsiteY24" fmla="*/ 387379 h 491371"/>
              <a:gd name="connsiteX25" fmla="*/ 7131 w 648997"/>
              <a:gd name="connsiteY25" fmla="*/ 403903 h 491371"/>
              <a:gd name="connsiteX26" fmla="*/ 27699 w 648997"/>
              <a:gd name="connsiteY26" fmla="*/ 439555 h 491371"/>
              <a:gd name="connsiteX27" fmla="*/ 56427 w 648997"/>
              <a:gd name="connsiteY27" fmla="*/ 422963 h 491371"/>
              <a:gd name="connsiteX28" fmla="*/ 63900 w 648997"/>
              <a:gd name="connsiteY28" fmla="*/ 430436 h 491371"/>
              <a:gd name="connsiteX29" fmla="*/ 47308 w 648997"/>
              <a:gd name="connsiteY29" fmla="*/ 459164 h 491371"/>
              <a:gd name="connsiteX30" fmla="*/ 82961 w 648997"/>
              <a:gd name="connsiteY30" fmla="*/ 479733 h 491371"/>
              <a:gd name="connsiteX31" fmla="*/ 99484 w 648997"/>
              <a:gd name="connsiteY31" fmla="*/ 451074 h 491371"/>
              <a:gd name="connsiteX32" fmla="*/ 109700 w 648997"/>
              <a:gd name="connsiteY32" fmla="*/ 453816 h 491371"/>
              <a:gd name="connsiteX33" fmla="*/ 109700 w 648997"/>
              <a:gd name="connsiteY33" fmla="*/ 486864 h 491371"/>
              <a:gd name="connsiteX34" fmla="*/ 150838 w 648997"/>
              <a:gd name="connsiteY34" fmla="*/ 486864 h 491371"/>
              <a:gd name="connsiteX35" fmla="*/ 150838 w 648997"/>
              <a:gd name="connsiteY35" fmla="*/ 453816 h 491371"/>
              <a:gd name="connsiteX36" fmla="*/ 161054 w 648997"/>
              <a:gd name="connsiteY36" fmla="*/ 451074 h 491371"/>
              <a:gd name="connsiteX37" fmla="*/ 177577 w 648997"/>
              <a:gd name="connsiteY37" fmla="*/ 479733 h 491371"/>
              <a:gd name="connsiteX38" fmla="*/ 213230 w 648997"/>
              <a:gd name="connsiteY38" fmla="*/ 459164 h 491371"/>
              <a:gd name="connsiteX39" fmla="*/ 196638 w 648997"/>
              <a:gd name="connsiteY39" fmla="*/ 430436 h 491371"/>
              <a:gd name="connsiteX40" fmla="*/ 204111 w 648997"/>
              <a:gd name="connsiteY40" fmla="*/ 422963 h 491371"/>
              <a:gd name="connsiteX41" fmla="*/ 232839 w 648997"/>
              <a:gd name="connsiteY41" fmla="*/ 439555 h 491371"/>
              <a:gd name="connsiteX42" fmla="*/ 253408 w 648997"/>
              <a:gd name="connsiteY42" fmla="*/ 403903 h 491371"/>
              <a:gd name="connsiteX43" fmla="*/ 224748 w 648997"/>
              <a:gd name="connsiteY43" fmla="*/ 387379 h 491371"/>
              <a:gd name="connsiteX44" fmla="*/ 227491 w 648997"/>
              <a:gd name="connsiteY44" fmla="*/ 377163 h 491371"/>
              <a:gd name="connsiteX45" fmla="*/ 260538 w 648997"/>
              <a:gd name="connsiteY45" fmla="*/ 377163 h 491371"/>
              <a:gd name="connsiteX46" fmla="*/ 260538 w 648997"/>
              <a:gd name="connsiteY46" fmla="*/ 336026 h 491371"/>
              <a:gd name="connsiteX47" fmla="*/ 227491 w 648997"/>
              <a:gd name="connsiteY47" fmla="*/ 336026 h 491371"/>
              <a:gd name="connsiteX48" fmla="*/ 224748 w 648997"/>
              <a:gd name="connsiteY48" fmla="*/ 325810 h 491371"/>
              <a:gd name="connsiteX49" fmla="*/ 202260 w 648997"/>
              <a:gd name="connsiteY49" fmla="*/ 356594 h 491371"/>
              <a:gd name="connsiteX50" fmla="*/ 130269 w 648997"/>
              <a:gd name="connsiteY50" fmla="*/ 428585 h 491371"/>
              <a:gd name="connsiteX51" fmla="*/ 58278 w 648997"/>
              <a:gd name="connsiteY51" fmla="*/ 356594 h 491371"/>
              <a:gd name="connsiteX52" fmla="*/ 130269 w 648997"/>
              <a:gd name="connsiteY52" fmla="*/ 284604 h 491371"/>
              <a:gd name="connsiteX53" fmla="*/ 202260 w 648997"/>
              <a:gd name="connsiteY53" fmla="*/ 356594 h 491371"/>
              <a:gd name="connsiteX54" fmla="*/ 164550 w 648997"/>
              <a:gd name="connsiteY54" fmla="*/ 356594 h 491371"/>
              <a:gd name="connsiteX55" fmla="*/ 130269 w 648997"/>
              <a:gd name="connsiteY55" fmla="*/ 390876 h 491371"/>
              <a:gd name="connsiteX56" fmla="*/ 95988 w 648997"/>
              <a:gd name="connsiteY56" fmla="*/ 356594 h 491371"/>
              <a:gd name="connsiteX57" fmla="*/ 130269 w 648997"/>
              <a:gd name="connsiteY57" fmla="*/ 322313 h 491371"/>
              <a:gd name="connsiteX58" fmla="*/ 164550 w 648997"/>
              <a:gd name="connsiteY58" fmla="*/ 356594 h 491371"/>
              <a:gd name="connsiteX59" fmla="*/ 307778 w 648997"/>
              <a:gd name="connsiteY59" fmla="*/ 105655 h 491371"/>
              <a:gd name="connsiteX60" fmla="*/ 286866 w 648997"/>
              <a:gd name="connsiteY60" fmla="*/ 93588 h 491371"/>
              <a:gd name="connsiteX61" fmla="*/ 286866 w 648997"/>
              <a:gd name="connsiteY61" fmla="*/ 71099 h 491371"/>
              <a:gd name="connsiteX62" fmla="*/ 307778 w 648997"/>
              <a:gd name="connsiteY62" fmla="*/ 59032 h 491371"/>
              <a:gd name="connsiteX63" fmla="*/ 287209 w 648997"/>
              <a:gd name="connsiteY63" fmla="*/ 23380 h 491371"/>
              <a:gd name="connsiteX64" fmla="*/ 266297 w 648997"/>
              <a:gd name="connsiteY64" fmla="*/ 35447 h 491371"/>
              <a:gd name="connsiteX65" fmla="*/ 246826 w 648997"/>
              <a:gd name="connsiteY65" fmla="*/ 24203 h 491371"/>
              <a:gd name="connsiteX66" fmla="*/ 246826 w 648997"/>
              <a:gd name="connsiteY66" fmla="*/ 0 h 491371"/>
              <a:gd name="connsiteX67" fmla="*/ 205688 w 648997"/>
              <a:gd name="connsiteY67" fmla="*/ 0 h 491371"/>
              <a:gd name="connsiteX68" fmla="*/ 205688 w 648997"/>
              <a:gd name="connsiteY68" fmla="*/ 24203 h 491371"/>
              <a:gd name="connsiteX69" fmla="*/ 186216 w 648997"/>
              <a:gd name="connsiteY69" fmla="*/ 35447 h 491371"/>
              <a:gd name="connsiteX70" fmla="*/ 165305 w 648997"/>
              <a:gd name="connsiteY70" fmla="*/ 23380 h 491371"/>
              <a:gd name="connsiteX71" fmla="*/ 144736 w 648997"/>
              <a:gd name="connsiteY71" fmla="*/ 59032 h 491371"/>
              <a:gd name="connsiteX72" fmla="*/ 165647 w 648997"/>
              <a:gd name="connsiteY72" fmla="*/ 71099 h 491371"/>
              <a:gd name="connsiteX73" fmla="*/ 165647 w 648997"/>
              <a:gd name="connsiteY73" fmla="*/ 93588 h 491371"/>
              <a:gd name="connsiteX74" fmla="*/ 144736 w 648997"/>
              <a:gd name="connsiteY74" fmla="*/ 105655 h 491371"/>
              <a:gd name="connsiteX75" fmla="*/ 165305 w 648997"/>
              <a:gd name="connsiteY75" fmla="*/ 141308 h 491371"/>
              <a:gd name="connsiteX76" fmla="*/ 186216 w 648997"/>
              <a:gd name="connsiteY76" fmla="*/ 129241 h 491371"/>
              <a:gd name="connsiteX77" fmla="*/ 205688 w 648997"/>
              <a:gd name="connsiteY77" fmla="*/ 140485 h 491371"/>
              <a:gd name="connsiteX78" fmla="*/ 205688 w 648997"/>
              <a:gd name="connsiteY78" fmla="*/ 164688 h 491371"/>
              <a:gd name="connsiteX79" fmla="*/ 246826 w 648997"/>
              <a:gd name="connsiteY79" fmla="*/ 164688 h 491371"/>
              <a:gd name="connsiteX80" fmla="*/ 246826 w 648997"/>
              <a:gd name="connsiteY80" fmla="*/ 140485 h 491371"/>
              <a:gd name="connsiteX81" fmla="*/ 266297 w 648997"/>
              <a:gd name="connsiteY81" fmla="*/ 129241 h 491371"/>
              <a:gd name="connsiteX82" fmla="*/ 287209 w 648997"/>
              <a:gd name="connsiteY82" fmla="*/ 141308 h 491371"/>
              <a:gd name="connsiteX83" fmla="*/ 307778 w 648997"/>
              <a:gd name="connsiteY83" fmla="*/ 105655 h 491371"/>
              <a:gd name="connsiteX84" fmla="*/ 226257 w 648997"/>
              <a:gd name="connsiteY84" fmla="*/ 116625 h 491371"/>
              <a:gd name="connsiteX85" fmla="*/ 191975 w 648997"/>
              <a:gd name="connsiteY85" fmla="*/ 82344 h 491371"/>
              <a:gd name="connsiteX86" fmla="*/ 226257 w 648997"/>
              <a:gd name="connsiteY86" fmla="*/ 48062 h 491371"/>
              <a:gd name="connsiteX87" fmla="*/ 260538 w 648997"/>
              <a:gd name="connsiteY87" fmla="*/ 82344 h 491371"/>
              <a:gd name="connsiteX88" fmla="*/ 226257 w 648997"/>
              <a:gd name="connsiteY88" fmla="*/ 116625 h 491371"/>
              <a:gd name="connsiteX89" fmla="*/ 637633 w 648997"/>
              <a:gd name="connsiteY89" fmla="*/ 425157 h 491371"/>
              <a:gd name="connsiteX90" fmla="*/ 466226 w 648997"/>
              <a:gd name="connsiteY90" fmla="*/ 253750 h 491371"/>
              <a:gd name="connsiteX91" fmla="*/ 466226 w 648997"/>
              <a:gd name="connsiteY91" fmla="*/ 192250 h 491371"/>
              <a:gd name="connsiteX92" fmla="*/ 427420 w 648997"/>
              <a:gd name="connsiteY92" fmla="*/ 153443 h 491371"/>
              <a:gd name="connsiteX93" fmla="*/ 378946 w 648997"/>
              <a:gd name="connsiteY93" fmla="*/ 153443 h 491371"/>
              <a:gd name="connsiteX94" fmla="*/ 365576 w 648997"/>
              <a:gd name="connsiteY94" fmla="*/ 166813 h 491371"/>
              <a:gd name="connsiteX95" fmla="*/ 418232 w 648997"/>
              <a:gd name="connsiteY95" fmla="*/ 219469 h 491371"/>
              <a:gd name="connsiteX96" fmla="*/ 377095 w 648997"/>
              <a:gd name="connsiteY96" fmla="*/ 260607 h 491371"/>
              <a:gd name="connsiteX97" fmla="*/ 324439 w 648997"/>
              <a:gd name="connsiteY97" fmla="*/ 207951 h 491371"/>
              <a:gd name="connsiteX98" fmla="*/ 311069 w 648997"/>
              <a:gd name="connsiteY98" fmla="*/ 221320 h 491371"/>
              <a:gd name="connsiteX99" fmla="*/ 311069 w 648997"/>
              <a:gd name="connsiteY99" fmla="*/ 269794 h 491371"/>
              <a:gd name="connsiteX100" fmla="*/ 349875 w 648997"/>
              <a:gd name="connsiteY100" fmla="*/ 308601 h 491371"/>
              <a:gd name="connsiteX101" fmla="*/ 411376 w 648997"/>
              <a:gd name="connsiteY101" fmla="*/ 308601 h 491371"/>
              <a:gd name="connsiteX102" fmla="*/ 582783 w 648997"/>
              <a:gd name="connsiteY102" fmla="*/ 480007 h 491371"/>
              <a:gd name="connsiteX103" fmla="*/ 637633 w 648997"/>
              <a:gd name="connsiteY103" fmla="*/ 480007 h 491371"/>
              <a:gd name="connsiteX104" fmla="*/ 637633 w 648997"/>
              <a:gd name="connsiteY104" fmla="*/ 425157 h 491371"/>
              <a:gd name="connsiteX105" fmla="*/ 610208 w 648997"/>
              <a:gd name="connsiteY105" fmla="*/ 466295 h 491371"/>
              <a:gd name="connsiteX106" fmla="*/ 596495 w 648997"/>
              <a:gd name="connsiteY106" fmla="*/ 452582 h 491371"/>
              <a:gd name="connsiteX107" fmla="*/ 610208 w 648997"/>
              <a:gd name="connsiteY107" fmla="*/ 438870 h 491371"/>
              <a:gd name="connsiteX108" fmla="*/ 623920 w 648997"/>
              <a:gd name="connsiteY108" fmla="*/ 452582 h 491371"/>
              <a:gd name="connsiteX109" fmla="*/ 610208 w 648997"/>
              <a:gd name="connsiteY109" fmla="*/ 466295 h 49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648997" h="491371">
                <a:moveTo>
                  <a:pt x="224748" y="325810"/>
                </a:moveTo>
                <a:lnTo>
                  <a:pt x="253408" y="309286"/>
                </a:lnTo>
                <a:lnTo>
                  <a:pt x="232839" y="273634"/>
                </a:lnTo>
                <a:lnTo>
                  <a:pt x="204111" y="290226"/>
                </a:lnTo>
                <a:cubicBezTo>
                  <a:pt x="201780" y="287620"/>
                  <a:pt x="199312" y="285152"/>
                  <a:pt x="196638" y="282752"/>
                </a:cubicBezTo>
                <a:lnTo>
                  <a:pt x="213230" y="254025"/>
                </a:lnTo>
                <a:lnTo>
                  <a:pt x="177577" y="233456"/>
                </a:lnTo>
                <a:lnTo>
                  <a:pt x="161054" y="262115"/>
                </a:lnTo>
                <a:cubicBezTo>
                  <a:pt x="157694" y="261018"/>
                  <a:pt x="154266" y="260058"/>
                  <a:pt x="150838" y="259373"/>
                </a:cubicBezTo>
                <a:lnTo>
                  <a:pt x="150838" y="226325"/>
                </a:lnTo>
                <a:lnTo>
                  <a:pt x="109700" y="226325"/>
                </a:lnTo>
                <a:lnTo>
                  <a:pt x="109700" y="259373"/>
                </a:lnTo>
                <a:cubicBezTo>
                  <a:pt x="106272" y="260127"/>
                  <a:pt x="102844" y="261018"/>
                  <a:pt x="99484" y="262115"/>
                </a:cubicBezTo>
                <a:lnTo>
                  <a:pt x="82961" y="233456"/>
                </a:lnTo>
                <a:lnTo>
                  <a:pt x="47308" y="254025"/>
                </a:lnTo>
                <a:lnTo>
                  <a:pt x="63900" y="282752"/>
                </a:lnTo>
                <a:cubicBezTo>
                  <a:pt x="61295" y="285084"/>
                  <a:pt x="58827" y="287552"/>
                  <a:pt x="56427" y="290226"/>
                </a:cubicBezTo>
                <a:lnTo>
                  <a:pt x="27699" y="273634"/>
                </a:lnTo>
                <a:lnTo>
                  <a:pt x="7131" y="309286"/>
                </a:lnTo>
                <a:lnTo>
                  <a:pt x="35790" y="325810"/>
                </a:lnTo>
                <a:cubicBezTo>
                  <a:pt x="34693" y="329169"/>
                  <a:pt x="33733" y="332598"/>
                  <a:pt x="33047" y="336026"/>
                </a:cubicBezTo>
                <a:lnTo>
                  <a:pt x="0" y="336026"/>
                </a:lnTo>
                <a:lnTo>
                  <a:pt x="0" y="377163"/>
                </a:lnTo>
                <a:lnTo>
                  <a:pt x="33047" y="377163"/>
                </a:lnTo>
                <a:cubicBezTo>
                  <a:pt x="33801" y="380591"/>
                  <a:pt x="34693" y="384020"/>
                  <a:pt x="35790" y="387379"/>
                </a:cubicBezTo>
                <a:lnTo>
                  <a:pt x="7131" y="403903"/>
                </a:lnTo>
                <a:lnTo>
                  <a:pt x="27699" y="439555"/>
                </a:lnTo>
                <a:lnTo>
                  <a:pt x="56427" y="422963"/>
                </a:lnTo>
                <a:cubicBezTo>
                  <a:pt x="58758" y="425568"/>
                  <a:pt x="61226" y="428037"/>
                  <a:pt x="63900" y="430436"/>
                </a:cubicBezTo>
                <a:lnTo>
                  <a:pt x="47308" y="459164"/>
                </a:lnTo>
                <a:lnTo>
                  <a:pt x="82961" y="479733"/>
                </a:lnTo>
                <a:lnTo>
                  <a:pt x="99484" y="451074"/>
                </a:lnTo>
                <a:cubicBezTo>
                  <a:pt x="102844" y="452171"/>
                  <a:pt x="106272" y="453131"/>
                  <a:pt x="109700" y="453816"/>
                </a:cubicBezTo>
                <a:lnTo>
                  <a:pt x="109700" y="486864"/>
                </a:lnTo>
                <a:lnTo>
                  <a:pt x="150838" y="486864"/>
                </a:lnTo>
                <a:lnTo>
                  <a:pt x="150838" y="453816"/>
                </a:lnTo>
                <a:cubicBezTo>
                  <a:pt x="154266" y="453062"/>
                  <a:pt x="157694" y="452171"/>
                  <a:pt x="161054" y="451074"/>
                </a:cubicBezTo>
                <a:lnTo>
                  <a:pt x="177577" y="479733"/>
                </a:lnTo>
                <a:lnTo>
                  <a:pt x="213230" y="459164"/>
                </a:lnTo>
                <a:lnTo>
                  <a:pt x="196638" y="430436"/>
                </a:lnTo>
                <a:cubicBezTo>
                  <a:pt x="199243" y="428105"/>
                  <a:pt x="201711" y="425637"/>
                  <a:pt x="204111" y="422963"/>
                </a:cubicBezTo>
                <a:lnTo>
                  <a:pt x="232839" y="439555"/>
                </a:lnTo>
                <a:lnTo>
                  <a:pt x="253408" y="403903"/>
                </a:lnTo>
                <a:lnTo>
                  <a:pt x="224748" y="387379"/>
                </a:lnTo>
                <a:cubicBezTo>
                  <a:pt x="225845" y="384020"/>
                  <a:pt x="226805" y="380591"/>
                  <a:pt x="227491" y="377163"/>
                </a:cubicBezTo>
                <a:lnTo>
                  <a:pt x="260538" y="377163"/>
                </a:lnTo>
                <a:lnTo>
                  <a:pt x="260538" y="336026"/>
                </a:lnTo>
                <a:lnTo>
                  <a:pt x="227491" y="336026"/>
                </a:lnTo>
                <a:cubicBezTo>
                  <a:pt x="226737" y="332598"/>
                  <a:pt x="225845" y="329169"/>
                  <a:pt x="224748" y="325810"/>
                </a:cubicBezTo>
                <a:close/>
                <a:moveTo>
                  <a:pt x="202260" y="356594"/>
                </a:moveTo>
                <a:cubicBezTo>
                  <a:pt x="202260" y="396361"/>
                  <a:pt x="170035" y="428585"/>
                  <a:pt x="130269" y="428585"/>
                </a:cubicBezTo>
                <a:cubicBezTo>
                  <a:pt x="90503" y="428585"/>
                  <a:pt x="58278" y="396361"/>
                  <a:pt x="58278" y="356594"/>
                </a:cubicBezTo>
                <a:cubicBezTo>
                  <a:pt x="58278" y="316828"/>
                  <a:pt x="90503" y="284604"/>
                  <a:pt x="130269" y="284604"/>
                </a:cubicBezTo>
                <a:cubicBezTo>
                  <a:pt x="170035" y="284604"/>
                  <a:pt x="202191" y="316828"/>
                  <a:pt x="202260" y="356594"/>
                </a:cubicBezTo>
                <a:close/>
                <a:moveTo>
                  <a:pt x="164550" y="356594"/>
                </a:moveTo>
                <a:cubicBezTo>
                  <a:pt x="164550" y="375518"/>
                  <a:pt x="149192" y="390876"/>
                  <a:pt x="130269" y="390876"/>
                </a:cubicBezTo>
                <a:cubicBezTo>
                  <a:pt x="111346" y="390876"/>
                  <a:pt x="95988" y="375518"/>
                  <a:pt x="95988" y="356594"/>
                </a:cubicBezTo>
                <a:cubicBezTo>
                  <a:pt x="95988" y="337671"/>
                  <a:pt x="111346" y="322313"/>
                  <a:pt x="130269" y="322313"/>
                </a:cubicBezTo>
                <a:cubicBezTo>
                  <a:pt x="149192" y="322313"/>
                  <a:pt x="164550" y="337671"/>
                  <a:pt x="164550" y="356594"/>
                </a:cubicBezTo>
                <a:close/>
                <a:moveTo>
                  <a:pt x="307778" y="105655"/>
                </a:moveTo>
                <a:lnTo>
                  <a:pt x="286866" y="93588"/>
                </a:lnTo>
                <a:cubicBezTo>
                  <a:pt x="288306" y="86183"/>
                  <a:pt x="288306" y="78504"/>
                  <a:pt x="286866" y="71099"/>
                </a:cubicBezTo>
                <a:lnTo>
                  <a:pt x="307778" y="59032"/>
                </a:lnTo>
                <a:lnTo>
                  <a:pt x="287209" y="23380"/>
                </a:lnTo>
                <a:lnTo>
                  <a:pt x="266297" y="35447"/>
                </a:lnTo>
                <a:cubicBezTo>
                  <a:pt x="260538" y="30510"/>
                  <a:pt x="253956" y="26739"/>
                  <a:pt x="246826" y="24203"/>
                </a:cubicBezTo>
                <a:lnTo>
                  <a:pt x="246826" y="0"/>
                </a:lnTo>
                <a:lnTo>
                  <a:pt x="205688" y="0"/>
                </a:lnTo>
                <a:lnTo>
                  <a:pt x="205688" y="24203"/>
                </a:lnTo>
                <a:cubicBezTo>
                  <a:pt x="198557" y="26739"/>
                  <a:pt x="191975" y="30510"/>
                  <a:pt x="186216" y="35447"/>
                </a:cubicBezTo>
                <a:lnTo>
                  <a:pt x="165305" y="23380"/>
                </a:lnTo>
                <a:lnTo>
                  <a:pt x="144736" y="59032"/>
                </a:lnTo>
                <a:lnTo>
                  <a:pt x="165647" y="71099"/>
                </a:lnTo>
                <a:cubicBezTo>
                  <a:pt x="164208" y="78504"/>
                  <a:pt x="164208" y="86183"/>
                  <a:pt x="165647" y="93588"/>
                </a:cubicBezTo>
                <a:lnTo>
                  <a:pt x="144736" y="105655"/>
                </a:lnTo>
                <a:lnTo>
                  <a:pt x="165305" y="141308"/>
                </a:lnTo>
                <a:lnTo>
                  <a:pt x="186216" y="129241"/>
                </a:lnTo>
                <a:cubicBezTo>
                  <a:pt x="191975" y="134177"/>
                  <a:pt x="198557" y="137948"/>
                  <a:pt x="205688" y="140485"/>
                </a:cubicBezTo>
                <a:lnTo>
                  <a:pt x="205688" y="164688"/>
                </a:lnTo>
                <a:lnTo>
                  <a:pt x="246826" y="164688"/>
                </a:lnTo>
                <a:lnTo>
                  <a:pt x="246826" y="140485"/>
                </a:lnTo>
                <a:cubicBezTo>
                  <a:pt x="253956" y="137948"/>
                  <a:pt x="260538" y="134177"/>
                  <a:pt x="266297" y="129241"/>
                </a:cubicBezTo>
                <a:lnTo>
                  <a:pt x="287209" y="141308"/>
                </a:lnTo>
                <a:lnTo>
                  <a:pt x="307778" y="105655"/>
                </a:lnTo>
                <a:close/>
                <a:moveTo>
                  <a:pt x="226257" y="116625"/>
                </a:moveTo>
                <a:cubicBezTo>
                  <a:pt x="207334" y="116625"/>
                  <a:pt x="191975" y="101267"/>
                  <a:pt x="191975" y="82344"/>
                </a:cubicBezTo>
                <a:cubicBezTo>
                  <a:pt x="191975" y="63420"/>
                  <a:pt x="207334" y="48062"/>
                  <a:pt x="226257" y="48062"/>
                </a:cubicBezTo>
                <a:cubicBezTo>
                  <a:pt x="245180" y="48062"/>
                  <a:pt x="260538" y="63420"/>
                  <a:pt x="260538" y="82344"/>
                </a:cubicBezTo>
                <a:cubicBezTo>
                  <a:pt x="260538" y="101267"/>
                  <a:pt x="245180" y="116625"/>
                  <a:pt x="226257" y="116625"/>
                </a:cubicBezTo>
                <a:close/>
                <a:moveTo>
                  <a:pt x="637633" y="425157"/>
                </a:moveTo>
                <a:lnTo>
                  <a:pt x="466226" y="253750"/>
                </a:lnTo>
                <a:lnTo>
                  <a:pt x="466226" y="192250"/>
                </a:lnTo>
                <a:lnTo>
                  <a:pt x="427420" y="153443"/>
                </a:lnTo>
                <a:cubicBezTo>
                  <a:pt x="414050" y="140074"/>
                  <a:pt x="392316" y="140074"/>
                  <a:pt x="378946" y="153443"/>
                </a:cubicBezTo>
                <a:lnTo>
                  <a:pt x="365576" y="166813"/>
                </a:lnTo>
                <a:lnTo>
                  <a:pt x="418232" y="219469"/>
                </a:lnTo>
                <a:lnTo>
                  <a:pt x="377095" y="260607"/>
                </a:lnTo>
                <a:lnTo>
                  <a:pt x="324439" y="207951"/>
                </a:lnTo>
                <a:lnTo>
                  <a:pt x="311069" y="221320"/>
                </a:lnTo>
                <a:cubicBezTo>
                  <a:pt x="297699" y="234690"/>
                  <a:pt x="297699" y="256424"/>
                  <a:pt x="311069" y="269794"/>
                </a:cubicBezTo>
                <a:lnTo>
                  <a:pt x="349875" y="308601"/>
                </a:lnTo>
                <a:lnTo>
                  <a:pt x="411376" y="308601"/>
                </a:lnTo>
                <a:lnTo>
                  <a:pt x="582783" y="480007"/>
                </a:lnTo>
                <a:cubicBezTo>
                  <a:pt x="597935" y="495160"/>
                  <a:pt x="622480" y="495160"/>
                  <a:pt x="637633" y="480007"/>
                </a:cubicBezTo>
                <a:cubicBezTo>
                  <a:pt x="652785" y="464855"/>
                  <a:pt x="652785" y="440309"/>
                  <a:pt x="637633" y="425157"/>
                </a:cubicBezTo>
                <a:close/>
                <a:moveTo>
                  <a:pt x="610208" y="466295"/>
                </a:moveTo>
                <a:cubicBezTo>
                  <a:pt x="602666" y="466295"/>
                  <a:pt x="596495" y="460124"/>
                  <a:pt x="596495" y="452582"/>
                </a:cubicBezTo>
                <a:cubicBezTo>
                  <a:pt x="596495" y="445040"/>
                  <a:pt x="602666" y="438870"/>
                  <a:pt x="610208" y="438870"/>
                </a:cubicBezTo>
                <a:cubicBezTo>
                  <a:pt x="617750" y="438870"/>
                  <a:pt x="623920" y="445040"/>
                  <a:pt x="623920" y="452582"/>
                </a:cubicBezTo>
                <a:cubicBezTo>
                  <a:pt x="623920" y="460124"/>
                  <a:pt x="617750" y="466295"/>
                  <a:pt x="610208" y="466295"/>
                </a:cubicBezTo>
                <a:close/>
              </a:path>
            </a:pathLst>
          </a:custGeom>
          <a:solidFill>
            <a:srgbClr val="00C1B6"/>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cxnSp>
        <p:nvCxnSpPr>
          <p:cNvPr id="52" name="Straight Connector 37">
            <a:extLst>
              <a:ext uri="{FF2B5EF4-FFF2-40B4-BE49-F238E27FC236}">
                <a16:creationId xmlns:a16="http://schemas.microsoft.com/office/drawing/2014/main" id="{C2F8DD40-6036-3878-7810-146D49E25F66}"/>
              </a:ext>
            </a:extLst>
          </p:cNvPr>
          <p:cNvCxnSpPr>
            <a:cxnSpLocks/>
          </p:cNvCxnSpPr>
          <p:nvPr/>
        </p:nvCxnSpPr>
        <p:spPr>
          <a:xfrm>
            <a:off x="1924050"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Straight Connector 39">
            <a:extLst>
              <a:ext uri="{FF2B5EF4-FFF2-40B4-BE49-F238E27FC236}">
                <a16:creationId xmlns:a16="http://schemas.microsoft.com/office/drawing/2014/main" id="{A9B061AB-199A-DC6A-E7D5-29438DC4EE45}"/>
              </a:ext>
            </a:extLst>
          </p:cNvPr>
          <p:cNvCxnSpPr>
            <a:cxnSpLocks/>
          </p:cNvCxnSpPr>
          <p:nvPr/>
        </p:nvCxnSpPr>
        <p:spPr>
          <a:xfrm>
            <a:off x="4375876"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40">
            <a:extLst>
              <a:ext uri="{FF2B5EF4-FFF2-40B4-BE49-F238E27FC236}">
                <a16:creationId xmlns:a16="http://schemas.microsoft.com/office/drawing/2014/main" id="{2984596B-824A-B7BD-EC24-3EE17ED6DC3E}"/>
              </a:ext>
            </a:extLst>
          </p:cNvPr>
          <p:cNvCxnSpPr>
            <a:cxnSpLocks/>
          </p:cNvCxnSpPr>
          <p:nvPr/>
        </p:nvCxnSpPr>
        <p:spPr>
          <a:xfrm>
            <a:off x="6824918"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41">
            <a:extLst>
              <a:ext uri="{FF2B5EF4-FFF2-40B4-BE49-F238E27FC236}">
                <a16:creationId xmlns:a16="http://schemas.microsoft.com/office/drawing/2014/main" id="{0E4C2AE6-9D38-0E77-1610-2C1FE8F01416}"/>
              </a:ext>
            </a:extLst>
          </p:cNvPr>
          <p:cNvCxnSpPr>
            <a:cxnSpLocks/>
          </p:cNvCxnSpPr>
          <p:nvPr/>
        </p:nvCxnSpPr>
        <p:spPr>
          <a:xfrm>
            <a:off x="9269451"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 name="Rectangle 59">
            <a:extLst>
              <a:ext uri="{FF2B5EF4-FFF2-40B4-BE49-F238E27FC236}">
                <a16:creationId xmlns:a16="http://schemas.microsoft.com/office/drawing/2014/main" id="{951CB0D1-54B1-355B-DD45-8ECD79D8BFB9}"/>
              </a:ext>
            </a:extLst>
          </p:cNvPr>
          <p:cNvSpPr/>
          <p:nvPr/>
        </p:nvSpPr>
        <p:spPr>
          <a:xfrm>
            <a:off x="1701981" y="1294505"/>
            <a:ext cx="2521676" cy="3927107"/>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Rectangle 59">
            <a:extLst>
              <a:ext uri="{FF2B5EF4-FFF2-40B4-BE49-F238E27FC236}">
                <a16:creationId xmlns:a16="http://schemas.microsoft.com/office/drawing/2014/main" id="{95124F5D-99D7-B1BA-C8E9-42A1F0697C84}"/>
              </a:ext>
            </a:extLst>
          </p:cNvPr>
          <p:cNvSpPr/>
          <p:nvPr/>
        </p:nvSpPr>
        <p:spPr>
          <a:xfrm>
            <a:off x="6752711" y="1294505"/>
            <a:ext cx="5163816" cy="3927107"/>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Tree>
    <p:extLst>
      <p:ext uri="{BB962C8B-B14F-4D97-AF65-F5344CB8AC3E}">
        <p14:creationId xmlns:p14="http://schemas.microsoft.com/office/powerpoint/2010/main" val="4189315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F5E30-0A48-B9A5-5E9E-4E7B9AC7F399}"/>
            </a:ext>
          </a:extLst>
        </p:cNvPr>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0C20EE65-DD28-AFD8-F00D-2F060CADC9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52" name="think-cell data - do not delete" hidden="1">
                        <a:extLst>
                          <a:ext uri="{FF2B5EF4-FFF2-40B4-BE49-F238E27FC236}">
                            <a16:creationId xmlns:a16="http://schemas.microsoft.com/office/drawing/2014/main" id="{0C20EE65-DD28-AFD8-F00D-2F060CADC9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63E5A65-75E1-F931-869E-E19AB423EFBC}"/>
              </a:ext>
            </a:extLst>
          </p:cNvPr>
          <p:cNvSpPr>
            <a:spLocks noGrp="1"/>
          </p:cNvSpPr>
          <p:nvPr>
            <p:ph type="title"/>
          </p:nvPr>
        </p:nvSpPr>
        <p:spPr/>
        <p:txBody>
          <a:bodyPr vert="horz"/>
          <a:lstStyle/>
          <a:p>
            <a:r>
              <a:rPr lang="en-US"/>
              <a:t>Software-Defined</a:t>
            </a:r>
            <a:r>
              <a:rPr lang="en-US" b="0"/>
              <a:t> </a:t>
            </a:r>
            <a:r>
              <a:rPr lang="en-US"/>
              <a:t>Automation</a:t>
            </a:r>
            <a:r>
              <a:rPr lang="en-US" sz="2000" b="1"/>
              <a:t> comprises </a:t>
            </a:r>
            <a:r>
              <a:rPr lang="en-US"/>
              <a:t>four key</a:t>
            </a:r>
            <a:r>
              <a:rPr lang="en-US" sz="2000" b="1"/>
              <a:t> elements</a:t>
            </a:r>
            <a:endParaRPr lang="en-US" b="0"/>
          </a:p>
        </p:txBody>
      </p:sp>
      <p:sp>
        <p:nvSpPr>
          <p:cNvPr id="4" name="Footer Placeholder 3">
            <a:extLst>
              <a:ext uri="{FF2B5EF4-FFF2-40B4-BE49-F238E27FC236}">
                <a16:creationId xmlns:a16="http://schemas.microsoft.com/office/drawing/2014/main" id="{1F3138C1-3C4E-F55E-DF81-FE4C1E505AA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Unrestricted | © Siemens 2025 | Raghav Tripathi</a:t>
            </a:r>
          </a:p>
        </p:txBody>
      </p:sp>
      <p:sp>
        <p:nvSpPr>
          <p:cNvPr id="6" name="Rectangle 165">
            <a:extLst>
              <a:ext uri="{FF2B5EF4-FFF2-40B4-BE49-F238E27FC236}">
                <a16:creationId xmlns:a16="http://schemas.microsoft.com/office/drawing/2014/main" id="{B91FFB3C-B60E-1338-9F6E-364BCE26D57B}"/>
              </a:ext>
            </a:extLst>
          </p:cNvPr>
          <p:cNvSpPr>
            <a:spLocks/>
          </p:cNvSpPr>
          <p:nvPr/>
        </p:nvSpPr>
        <p:spPr>
          <a:xfrm>
            <a:off x="4520082"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pPr>
            <a:r>
              <a:rPr lang="en-US" sz="1200" kern="1200">
                <a:solidFill>
                  <a:prstClr val="white"/>
                </a:solidFill>
                <a:cs typeface="Arial"/>
              </a:rPr>
              <a:t>PCS neo engineering </a:t>
            </a:r>
            <a:br>
              <a:rPr lang="en-US" sz="1200" kern="1200">
                <a:solidFill>
                  <a:prstClr val="white"/>
                </a:solidFill>
                <a:cs typeface="Arial"/>
              </a:rPr>
            </a:br>
            <a:r>
              <a:rPr lang="en-US" sz="1200" kern="1200">
                <a:solidFill>
                  <a:prstClr val="white"/>
                </a:solidFill>
                <a:cs typeface="Arial"/>
              </a:rPr>
              <a:t>in the cloud</a:t>
            </a:r>
          </a:p>
        </p:txBody>
      </p:sp>
      <p:sp>
        <p:nvSpPr>
          <p:cNvPr id="16" name="Rectangle 27">
            <a:extLst>
              <a:ext uri="{FF2B5EF4-FFF2-40B4-BE49-F238E27FC236}">
                <a16:creationId xmlns:a16="http://schemas.microsoft.com/office/drawing/2014/main" id="{4788BB68-FC85-0868-7B54-DE9FBB743A63}"/>
              </a:ext>
            </a:extLst>
          </p:cNvPr>
          <p:cNvSpPr>
            <a:spLocks/>
          </p:cNvSpPr>
          <p:nvPr/>
        </p:nvSpPr>
        <p:spPr>
          <a:xfrm>
            <a:off x="6966343"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defRPr/>
            </a:pPr>
            <a:r>
              <a:rPr lang="en-US" sz="1200" kern="1200">
                <a:solidFill>
                  <a:prstClr val="white"/>
                </a:solidFill>
                <a:cs typeface="Arial"/>
              </a:rPr>
              <a:t>DCS Co-Pilo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0">
            <a:extLst>
              <a:ext uri="{FF2B5EF4-FFF2-40B4-BE49-F238E27FC236}">
                <a16:creationId xmlns:a16="http://schemas.microsoft.com/office/drawing/2014/main" id="{A858CCF2-3224-15EC-1058-F7073E95B8F1}"/>
              </a:ext>
            </a:extLst>
          </p:cNvPr>
          <p:cNvSpPr txBox="1">
            <a:spLocks noChangeAspect="1"/>
          </p:cNvSpPr>
          <p:nvPr/>
        </p:nvSpPr>
        <p:spPr>
          <a:xfrm>
            <a:off x="411163" y="4421788"/>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Siemens Portfolio</a:t>
            </a:r>
          </a:p>
        </p:txBody>
      </p:sp>
      <p:sp>
        <p:nvSpPr>
          <p:cNvPr id="27" name="Rechteck 51">
            <a:extLst>
              <a:ext uri="{FF2B5EF4-FFF2-40B4-BE49-F238E27FC236}">
                <a16:creationId xmlns:a16="http://schemas.microsoft.com/office/drawing/2014/main" id="{218E4D36-9E1B-FB43-CAEE-027F0BFAE629}"/>
              </a:ext>
            </a:extLst>
          </p:cNvPr>
          <p:cNvSpPr>
            <a:spLocks/>
          </p:cNvSpPr>
          <p:nvPr/>
        </p:nvSpPr>
        <p:spPr>
          <a:xfrm>
            <a:off x="2071043" y="1417050"/>
            <a:ext cx="2304833"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IT-like </a:t>
            </a: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Engineering</a:t>
            </a:r>
            <a:endParaRPr kumimoji="0" lang="en-US" sz="1800" b="1" i="0" u="none" strike="noStrike" kern="1200" cap="none" spc="0" normalizeH="0" baseline="0" noProof="0">
              <a:ln>
                <a:noFill/>
              </a:ln>
              <a:solidFill>
                <a:schemeClr val="tx1"/>
              </a:solidFill>
              <a:effectLst/>
              <a:uLnTx/>
              <a:uFillTx/>
              <a:latin typeface="Arial"/>
              <a:ea typeface="+mn-ea"/>
              <a:cs typeface="+mn-cs"/>
            </a:endParaRPr>
          </a:p>
        </p:txBody>
      </p:sp>
      <p:sp>
        <p:nvSpPr>
          <p:cNvPr id="30" name="Rechteck 53">
            <a:extLst>
              <a:ext uri="{FF2B5EF4-FFF2-40B4-BE49-F238E27FC236}">
                <a16:creationId xmlns:a16="http://schemas.microsoft.com/office/drawing/2014/main" id="{177E98FE-5E4B-2420-B2CF-14B7AAE33701}"/>
              </a:ext>
            </a:extLst>
          </p:cNvPr>
          <p:cNvSpPr>
            <a:spLocks/>
          </p:cNvSpPr>
          <p:nvPr/>
        </p:nvSpPr>
        <p:spPr>
          <a:xfrm>
            <a:off x="6969123" y="1417050"/>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a:solidFill>
                  <a:prstClr val="white"/>
                </a:solidFill>
                <a:latin typeface="Arial"/>
              </a:rPr>
              <a:t>Intelligent Operations</a:t>
            </a:r>
            <a:endParaRPr kumimoji="0" lang="en-US" sz="1800" b="1" i="0" u="none" strike="noStrike" kern="1200" cap="none" spc="0" normalizeH="0" baseline="0" noProof="0">
              <a:ln>
                <a:noFill/>
              </a:ln>
              <a:solidFill>
                <a:prstClr val="white"/>
              </a:solidFill>
              <a:effectLst/>
              <a:uLnTx/>
              <a:uFillTx/>
              <a:latin typeface="Arial"/>
            </a:endParaRPr>
          </a:p>
        </p:txBody>
      </p:sp>
      <p:sp>
        <p:nvSpPr>
          <p:cNvPr id="31" name="Rechteck 52">
            <a:extLst>
              <a:ext uri="{FF2B5EF4-FFF2-40B4-BE49-F238E27FC236}">
                <a16:creationId xmlns:a16="http://schemas.microsoft.com/office/drawing/2014/main" id="{A006C2DB-3024-6842-BA53-1609DEC0F2C8}"/>
              </a:ext>
            </a:extLst>
          </p:cNvPr>
          <p:cNvSpPr>
            <a:spLocks/>
          </p:cNvSpPr>
          <p:nvPr/>
        </p:nvSpPr>
        <p:spPr>
          <a:xfrm>
            <a:off x="4520083"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Cloud &amp; Virtualizatio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20">
            <a:extLst>
              <a:ext uri="{FF2B5EF4-FFF2-40B4-BE49-F238E27FC236}">
                <a16:creationId xmlns:a16="http://schemas.microsoft.com/office/drawing/2014/main" id="{0EEB5F1A-7269-8F6F-1383-9E169928B429}"/>
              </a:ext>
            </a:extLst>
          </p:cNvPr>
          <p:cNvSpPr txBox="1">
            <a:spLocks noChangeAspect="1"/>
          </p:cNvSpPr>
          <p:nvPr/>
        </p:nvSpPr>
        <p:spPr>
          <a:xfrm>
            <a:off x="410400" y="2243136"/>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Explanation</a:t>
            </a:r>
          </a:p>
        </p:txBody>
      </p:sp>
      <p:sp>
        <p:nvSpPr>
          <p:cNvPr id="38" name="TextBox 20">
            <a:extLst>
              <a:ext uri="{FF2B5EF4-FFF2-40B4-BE49-F238E27FC236}">
                <a16:creationId xmlns:a16="http://schemas.microsoft.com/office/drawing/2014/main" id="{0B969F3B-E86D-36DE-9562-8949B986915E}"/>
              </a:ext>
            </a:extLst>
          </p:cNvPr>
          <p:cNvSpPr txBox="1">
            <a:spLocks/>
          </p:cNvSpPr>
          <p:nvPr/>
        </p:nvSpPr>
        <p:spPr>
          <a:xfrm>
            <a:off x="207104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W development principles, applied to industrial automation</a:t>
            </a:r>
          </a:p>
        </p:txBody>
      </p:sp>
      <p:sp>
        <p:nvSpPr>
          <p:cNvPr id="39" name="TextBox 13">
            <a:extLst>
              <a:ext uri="{FF2B5EF4-FFF2-40B4-BE49-F238E27FC236}">
                <a16:creationId xmlns:a16="http://schemas.microsoft.com/office/drawing/2014/main" id="{3E210776-4DC1-7BE1-CCE4-D7510CF86389}"/>
              </a:ext>
            </a:extLst>
          </p:cNvPr>
          <p:cNvSpPr txBox="1">
            <a:spLocks/>
          </p:cNvSpPr>
          <p:nvPr/>
        </p:nvSpPr>
        <p:spPr>
          <a:xfrm>
            <a:off x="452008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Decoupling fixed hardware from automation </a:t>
            </a:r>
            <a:r>
              <a:rPr lang="en-US" sz="1200" kern="1200">
                <a:solidFill>
                  <a:prstClr val="white"/>
                </a:solidFill>
                <a:latin typeface="Arial"/>
                <a:ea typeface="+mn-ea"/>
                <a:cs typeface="Arial"/>
              </a:rPr>
              <a:t>s</a:t>
            </a:r>
            <a:r>
              <a:rPr kumimoji="0" lang="en-US" sz="1200" b="0" i="0" u="none" strike="noStrike" kern="1200" cap="none" spc="0" normalizeH="0" baseline="0" noProof="0" err="1">
                <a:ln>
                  <a:noFill/>
                </a:ln>
                <a:solidFill>
                  <a:prstClr val="white"/>
                </a:solidFill>
                <a:effectLst/>
                <a:uLnTx/>
                <a:uFillTx/>
                <a:latin typeface="Arial"/>
                <a:ea typeface="+mn-ea"/>
                <a:cs typeface="Arial"/>
              </a:rPr>
              <a:t>oftware</a:t>
            </a:r>
            <a:r>
              <a:rPr kumimoji="0" lang="en-US" sz="1200" b="0" i="0" u="none" strike="noStrike" kern="1200" cap="none" spc="0" normalizeH="0" baseline="0" noProof="0">
                <a:ln>
                  <a:noFill/>
                </a:ln>
                <a:solidFill>
                  <a:prstClr val="white"/>
                </a:solidFill>
                <a:effectLst/>
                <a:uLnTx/>
                <a:uFillTx/>
                <a:latin typeface="Arial"/>
                <a:ea typeface="+mn-ea"/>
                <a:cs typeface="Arial"/>
              </a:rPr>
              <a:t> </a:t>
            </a:r>
          </a:p>
        </p:txBody>
      </p:sp>
      <p:sp>
        <p:nvSpPr>
          <p:cNvPr id="40" name="TextBox 20">
            <a:extLst>
              <a:ext uri="{FF2B5EF4-FFF2-40B4-BE49-F238E27FC236}">
                <a16:creationId xmlns:a16="http://schemas.microsoft.com/office/drawing/2014/main" id="{CCC87D79-B80C-F589-943A-0BB41581EC9C}"/>
              </a:ext>
            </a:extLst>
          </p:cNvPr>
          <p:cNvSpPr txBox="1">
            <a:spLocks/>
          </p:cNvSpPr>
          <p:nvPr/>
        </p:nvSpPr>
        <p:spPr>
          <a:xfrm>
            <a:off x="696912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mart solutions that build upon Software-</a:t>
            </a:r>
            <a:r>
              <a:rPr lang="en-US" sz="1200" kern="1200">
                <a:solidFill>
                  <a:prstClr val="white"/>
                </a:solidFill>
                <a:latin typeface="Arial"/>
                <a:ea typeface="+mn-ea"/>
                <a:cs typeface="Arial"/>
              </a:rPr>
              <a:t>D</a:t>
            </a:r>
            <a:r>
              <a:rPr kumimoji="0" lang="en-US" sz="1200" i="0" u="none" strike="noStrike" kern="1200" cap="none" spc="0" normalizeH="0" baseline="0" noProof="0" err="1">
                <a:ln>
                  <a:noFill/>
                </a:ln>
                <a:solidFill>
                  <a:prstClr val="white"/>
                </a:solidFill>
                <a:effectLst/>
                <a:uLnTx/>
                <a:uFillTx/>
                <a:latin typeface="Arial"/>
                <a:ea typeface="+mn-ea"/>
                <a:cs typeface="Arial"/>
              </a:rPr>
              <a:t>efined</a:t>
            </a:r>
            <a:r>
              <a:rPr kumimoji="0" lang="en-US" sz="1200" i="0" u="none" strike="noStrike" kern="1200" cap="none" spc="0" normalizeH="0" baseline="0" noProof="0">
                <a:ln>
                  <a:noFill/>
                </a:ln>
                <a:solidFill>
                  <a:prstClr val="white"/>
                </a:solidFill>
                <a:effectLst/>
                <a:uLnTx/>
                <a:uFillTx/>
                <a:latin typeface="Arial"/>
                <a:ea typeface="+mn-ea"/>
                <a:cs typeface="Arial"/>
              </a:rPr>
              <a:t> </a:t>
            </a:r>
            <a:r>
              <a:rPr lang="en-US" sz="1200" kern="1200">
                <a:solidFill>
                  <a:prstClr val="white"/>
                </a:solidFill>
                <a:latin typeface="Arial"/>
                <a:ea typeface="+mn-ea"/>
                <a:cs typeface="Arial"/>
              </a:rPr>
              <a:t>A</a:t>
            </a:r>
            <a:r>
              <a:rPr kumimoji="0" lang="en-US" sz="1200" i="0" u="none" strike="noStrike" kern="1200" cap="none" spc="0" normalizeH="0" baseline="0" noProof="0" err="1">
                <a:ln>
                  <a:noFill/>
                </a:ln>
                <a:solidFill>
                  <a:prstClr val="white"/>
                </a:solidFill>
                <a:effectLst/>
                <a:uLnTx/>
                <a:uFillTx/>
                <a:latin typeface="Arial"/>
                <a:ea typeface="+mn-ea"/>
                <a:cs typeface="Arial"/>
              </a:rPr>
              <a:t>utomation</a:t>
            </a:r>
            <a:endParaRPr kumimoji="0" lang="en-US" sz="1200" i="0" u="none" strike="noStrike" kern="1200" cap="none" spc="0" normalizeH="0" baseline="0" noProof="0">
              <a:ln>
                <a:noFill/>
              </a:ln>
              <a:solidFill>
                <a:prstClr val="white"/>
              </a:solidFill>
              <a:effectLst/>
              <a:uLnTx/>
              <a:uFillTx/>
              <a:latin typeface="Arial"/>
              <a:ea typeface="+mn-ea"/>
              <a:cs typeface="Arial"/>
            </a:endParaRPr>
          </a:p>
        </p:txBody>
      </p:sp>
      <p:sp>
        <p:nvSpPr>
          <p:cNvPr id="41" name="Rechteck 52">
            <a:extLst>
              <a:ext uri="{FF2B5EF4-FFF2-40B4-BE49-F238E27FC236}">
                <a16:creationId xmlns:a16="http://schemas.microsoft.com/office/drawing/2014/main" id="{AEB49A4D-E0B5-7CA7-957A-08B688AE7C6E}"/>
              </a:ext>
            </a:extLst>
          </p:cNvPr>
          <p:cNvSpPr>
            <a:spLocks/>
          </p:cNvSpPr>
          <p:nvPr/>
        </p:nvSpPr>
        <p:spPr>
          <a:xfrm>
            <a:off x="410400" y="5279668"/>
            <a:ext cx="11384805" cy="527408"/>
          </a:xfrm>
          <a:prstGeom prst="rect">
            <a:avLst/>
          </a:prstGeom>
          <a:solidFill>
            <a:srgbClr val="333353"/>
          </a:solidFill>
        </p:spPr>
        <p:txBody>
          <a:bodyPr wrap="square" lIns="72000" tIns="72000" rIns="72000" bIns="72000" anchor="ctr">
            <a:noAutofit/>
          </a:bodyPr>
          <a:lstStyle/>
          <a:p>
            <a:pPr lvl="0" algn="ctr" rtl="0">
              <a:buClrTx/>
              <a:defRPr/>
            </a:pPr>
            <a:r>
              <a:rPr lang="en-US" sz="2000" b="1" kern="1200">
                <a:solidFill>
                  <a:schemeClr val="tx1"/>
                </a:solidFill>
                <a:latin typeface="Arial"/>
                <a:ea typeface="+mn-ea"/>
                <a:cs typeface="Arial"/>
              </a:rPr>
              <a:t>Cybersecurity offering as strong protection layer for the software-based production</a:t>
            </a:r>
            <a:endParaRPr kumimoji="0" lang="en-US" sz="2000" b="1" i="0" u="none" strike="noStrike" kern="1200" cap="none" spc="0" normalizeH="0" baseline="0" noProof="0">
              <a:ln>
                <a:noFill/>
              </a:ln>
              <a:solidFill>
                <a:schemeClr val="tx1"/>
              </a:solidFill>
              <a:effectLst/>
              <a:uLnTx/>
              <a:uFillTx/>
              <a:latin typeface="Arial"/>
              <a:ea typeface="+mn-ea"/>
              <a:cs typeface="Arial"/>
            </a:endParaRPr>
          </a:p>
        </p:txBody>
      </p:sp>
      <p:sp>
        <p:nvSpPr>
          <p:cNvPr id="42" name="Freeform 5">
            <a:extLst>
              <a:ext uri="{FF2B5EF4-FFF2-40B4-BE49-F238E27FC236}">
                <a16:creationId xmlns:a16="http://schemas.microsoft.com/office/drawing/2014/main" id="{20AFEF99-2D70-2568-42D3-8F63FE32B3FE}"/>
              </a:ext>
            </a:extLst>
          </p:cNvPr>
          <p:cNvSpPr>
            <a:spLocks/>
          </p:cNvSpPr>
          <p:nvPr/>
        </p:nvSpPr>
        <p:spPr bwMode="auto">
          <a:xfrm>
            <a:off x="2071042" y="3019766"/>
            <a:ext cx="645283" cy="553998"/>
          </a:xfrm>
          <a:custGeom>
            <a:avLst/>
            <a:gdLst>
              <a:gd name="T0" fmla="*/ 48 w 84"/>
              <a:gd name="T1" fmla="*/ 0 h 72"/>
              <a:gd name="T2" fmla="*/ 12 w 84"/>
              <a:gd name="T3" fmla="*/ 36 h 72"/>
              <a:gd name="T4" fmla="*/ 0 w 84"/>
              <a:gd name="T5" fmla="*/ 36 h 72"/>
              <a:gd name="T6" fmla="*/ 16 w 84"/>
              <a:gd name="T7" fmla="*/ 56 h 72"/>
              <a:gd name="T8" fmla="*/ 32 w 84"/>
              <a:gd name="T9" fmla="*/ 36 h 72"/>
              <a:gd name="T10" fmla="*/ 20 w 84"/>
              <a:gd name="T11" fmla="*/ 36 h 72"/>
              <a:gd name="T12" fmla="*/ 48 w 84"/>
              <a:gd name="T13" fmla="*/ 8 h 72"/>
              <a:gd name="T14" fmla="*/ 76 w 84"/>
              <a:gd name="T15" fmla="*/ 36 h 72"/>
              <a:gd name="T16" fmla="*/ 48 w 84"/>
              <a:gd name="T17" fmla="*/ 64 h 72"/>
              <a:gd name="T18" fmla="*/ 33 w 84"/>
              <a:gd name="T19" fmla="*/ 60 h 72"/>
              <a:gd name="T20" fmla="*/ 28 w 84"/>
              <a:gd name="T21" fmla="*/ 66 h 72"/>
              <a:gd name="T22" fmla="*/ 48 w 84"/>
              <a:gd name="T23" fmla="*/ 72 h 72"/>
              <a:gd name="T24" fmla="*/ 84 w 84"/>
              <a:gd name="T25" fmla="*/ 36 h 72"/>
              <a:gd name="T26" fmla="*/ 48 w 84"/>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2">
                <a:moveTo>
                  <a:pt x="48" y="0"/>
                </a:moveTo>
                <a:cubicBezTo>
                  <a:pt x="28" y="0"/>
                  <a:pt x="12" y="16"/>
                  <a:pt x="12" y="36"/>
                </a:cubicBezTo>
                <a:cubicBezTo>
                  <a:pt x="0" y="36"/>
                  <a:pt x="0" y="36"/>
                  <a:pt x="0" y="36"/>
                </a:cubicBezTo>
                <a:cubicBezTo>
                  <a:pt x="16" y="56"/>
                  <a:pt x="16" y="56"/>
                  <a:pt x="16" y="56"/>
                </a:cubicBezTo>
                <a:cubicBezTo>
                  <a:pt x="32" y="36"/>
                  <a:pt x="32" y="36"/>
                  <a:pt x="32" y="36"/>
                </a:cubicBezTo>
                <a:cubicBezTo>
                  <a:pt x="20" y="36"/>
                  <a:pt x="20" y="36"/>
                  <a:pt x="20" y="36"/>
                </a:cubicBezTo>
                <a:cubicBezTo>
                  <a:pt x="20" y="21"/>
                  <a:pt x="33" y="8"/>
                  <a:pt x="48" y="8"/>
                </a:cubicBezTo>
                <a:cubicBezTo>
                  <a:pt x="63" y="8"/>
                  <a:pt x="76" y="21"/>
                  <a:pt x="76" y="36"/>
                </a:cubicBezTo>
                <a:cubicBezTo>
                  <a:pt x="76" y="51"/>
                  <a:pt x="63" y="64"/>
                  <a:pt x="48" y="64"/>
                </a:cubicBezTo>
                <a:cubicBezTo>
                  <a:pt x="43" y="64"/>
                  <a:pt x="38" y="62"/>
                  <a:pt x="33" y="60"/>
                </a:cubicBezTo>
                <a:cubicBezTo>
                  <a:pt x="28" y="66"/>
                  <a:pt x="28" y="66"/>
                  <a:pt x="28" y="66"/>
                </a:cubicBezTo>
                <a:cubicBezTo>
                  <a:pt x="34" y="70"/>
                  <a:pt x="41" y="72"/>
                  <a:pt x="48" y="72"/>
                </a:cubicBezTo>
                <a:cubicBezTo>
                  <a:pt x="68" y="72"/>
                  <a:pt x="84" y="56"/>
                  <a:pt x="84" y="36"/>
                </a:cubicBezTo>
                <a:cubicBezTo>
                  <a:pt x="84" y="16"/>
                  <a:pt x="68" y="0"/>
                  <a:pt x="48" y="0"/>
                </a:cubicBezTo>
                <a:close/>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eck 49">
            <a:extLst>
              <a:ext uri="{FF2B5EF4-FFF2-40B4-BE49-F238E27FC236}">
                <a16:creationId xmlns:a16="http://schemas.microsoft.com/office/drawing/2014/main" id="{60F6BA03-80C2-0E24-1612-8BD958165022}"/>
              </a:ext>
            </a:extLst>
          </p:cNvPr>
          <p:cNvSpPr>
            <a:spLocks/>
          </p:cNvSpPr>
          <p:nvPr/>
        </p:nvSpPr>
        <p:spPr>
          <a:xfrm>
            <a:off x="9418164"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l" rtl="0">
              <a:buClrTx/>
              <a:defRPr/>
            </a:pPr>
            <a:r>
              <a:rPr lang="en-US" b="1" kern="1200">
                <a:latin typeface="Arial"/>
              </a:rPr>
              <a:t>Dynamic </a:t>
            </a:r>
            <a:r>
              <a:rPr lang="en-US" b="1" kern="1200">
                <a:solidFill>
                  <a:schemeClr val="tx1"/>
                </a:solidFill>
                <a:latin typeface="Arial"/>
              </a:rPr>
              <a:t>Lifecycle Management</a:t>
            </a:r>
            <a:endParaRPr kumimoji="0" lang="en-US" sz="1800" b="1" i="0" u="none" strike="noStrike" kern="1200" cap="none" spc="0" normalizeH="0" baseline="0" noProof="0">
              <a:ln>
                <a:noFill/>
              </a:ln>
              <a:solidFill>
                <a:schemeClr val="tx1"/>
              </a:solidFill>
              <a:effectLst/>
              <a:uLnTx/>
              <a:uFillTx/>
              <a:latin typeface="Arial"/>
            </a:endParaRPr>
          </a:p>
        </p:txBody>
      </p:sp>
      <p:sp>
        <p:nvSpPr>
          <p:cNvPr id="44" name="TextBox 20">
            <a:extLst>
              <a:ext uri="{FF2B5EF4-FFF2-40B4-BE49-F238E27FC236}">
                <a16:creationId xmlns:a16="http://schemas.microsoft.com/office/drawing/2014/main" id="{A5BF8AE5-88E3-ED58-820A-F3E311470A13}"/>
              </a:ext>
            </a:extLst>
          </p:cNvPr>
          <p:cNvSpPr txBox="1">
            <a:spLocks/>
          </p:cNvSpPr>
          <p:nvPr/>
        </p:nvSpPr>
        <p:spPr>
          <a:xfrm>
            <a:off x="9418164" y="2223475"/>
            <a:ext cx="2151609" cy="36933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Management</a:t>
            </a:r>
            <a:br>
              <a:rPr kumimoji="0" lang="en-US" sz="1200" b="0" i="0" u="none" strike="noStrike" kern="1200" cap="none" spc="0" normalizeH="0" baseline="0" noProof="0">
                <a:ln>
                  <a:noFill/>
                </a:ln>
                <a:solidFill>
                  <a:prstClr val="white"/>
                </a:solidFill>
                <a:effectLst/>
                <a:uLnTx/>
                <a:uFillTx/>
                <a:latin typeface="Arial"/>
                <a:ea typeface="+mn-ea"/>
                <a:cs typeface="Arial"/>
              </a:rPr>
            </a:br>
            <a:r>
              <a:rPr kumimoji="0" lang="en-US" sz="1200" b="0" i="0" u="none" strike="noStrike" kern="1200" cap="none" spc="0" normalizeH="0" baseline="0" noProof="0">
                <a:ln>
                  <a:noFill/>
                </a:ln>
                <a:solidFill>
                  <a:prstClr val="white"/>
                </a:solidFill>
                <a:effectLst/>
                <a:uLnTx/>
                <a:uFillTx/>
                <a:latin typeface="Arial"/>
                <a:ea typeface="+mn-ea"/>
                <a:cs typeface="Arial"/>
              </a:rPr>
              <a:t>&amp;</a:t>
            </a:r>
            <a:r>
              <a:rPr lang="en-US" sz="1200" kern="1200">
                <a:solidFill>
                  <a:prstClr val="white"/>
                </a:solidFill>
                <a:latin typeface="Arial"/>
                <a:ea typeface="+mn-ea"/>
                <a:cs typeface="Arial"/>
              </a:rPr>
              <a:t> </a:t>
            </a:r>
            <a:r>
              <a:rPr kumimoji="0" lang="en-US" sz="1200" b="0" i="0" u="none" strike="noStrike" kern="1200" cap="none" spc="0" normalizeH="0" baseline="0" noProof="0">
                <a:ln>
                  <a:noFill/>
                </a:ln>
                <a:solidFill>
                  <a:prstClr val="white"/>
                </a:solidFill>
                <a:effectLst/>
                <a:uLnTx/>
                <a:uFillTx/>
                <a:latin typeface="Arial"/>
                <a:ea typeface="+mn-ea"/>
                <a:cs typeface="Arial"/>
              </a:rPr>
              <a:t>Deployment infrastructure</a:t>
            </a:r>
          </a:p>
        </p:txBody>
      </p:sp>
      <p:sp>
        <p:nvSpPr>
          <p:cNvPr id="45" name="Freeform 6">
            <a:extLst>
              <a:ext uri="{FF2B5EF4-FFF2-40B4-BE49-F238E27FC236}">
                <a16:creationId xmlns:a16="http://schemas.microsoft.com/office/drawing/2014/main" id="{1CB29B0D-AE19-CA75-9BDD-E6203A81768E}"/>
              </a:ext>
            </a:extLst>
          </p:cNvPr>
          <p:cNvSpPr>
            <a:spLocks noChangeAspect="1" noEditPoints="1"/>
          </p:cNvSpPr>
          <p:nvPr/>
        </p:nvSpPr>
        <p:spPr bwMode="auto">
          <a:xfrm>
            <a:off x="9418163" y="3021499"/>
            <a:ext cx="404423" cy="550287"/>
          </a:xfrm>
          <a:custGeom>
            <a:avLst/>
            <a:gdLst>
              <a:gd name="T0" fmla="*/ 1892 w 2362"/>
              <a:gd name="T1" fmla="*/ 0 h 3213"/>
              <a:gd name="T2" fmla="*/ 1892 w 2362"/>
              <a:gd name="T3" fmla="*/ 475 h 3213"/>
              <a:gd name="T4" fmla="*/ 470 w 2362"/>
              <a:gd name="T5" fmla="*/ 475 h 3213"/>
              <a:gd name="T6" fmla="*/ 470 w 2362"/>
              <a:gd name="T7" fmla="*/ 0 h 3213"/>
              <a:gd name="T8" fmla="*/ 0 w 2362"/>
              <a:gd name="T9" fmla="*/ 0 h 3213"/>
              <a:gd name="T10" fmla="*/ 0 w 2362"/>
              <a:gd name="T11" fmla="*/ 3213 h 3213"/>
              <a:gd name="T12" fmla="*/ 2362 w 2362"/>
              <a:gd name="T13" fmla="*/ 3213 h 3213"/>
              <a:gd name="T14" fmla="*/ 2362 w 2362"/>
              <a:gd name="T15" fmla="*/ 0 h 3213"/>
              <a:gd name="T16" fmla="*/ 1892 w 2362"/>
              <a:gd name="T17" fmla="*/ 0 h 3213"/>
              <a:gd name="T18" fmla="*/ 756 w 2362"/>
              <a:gd name="T19" fmla="*/ 2646 h 3213"/>
              <a:gd name="T20" fmla="*/ 378 w 2362"/>
              <a:gd name="T21" fmla="*/ 2646 h 3213"/>
              <a:gd name="T22" fmla="*/ 378 w 2362"/>
              <a:gd name="T23" fmla="*/ 2268 h 3213"/>
              <a:gd name="T24" fmla="*/ 756 w 2362"/>
              <a:gd name="T25" fmla="*/ 2268 h 3213"/>
              <a:gd name="T26" fmla="*/ 756 w 2362"/>
              <a:gd name="T27" fmla="*/ 2646 h 3213"/>
              <a:gd name="T28" fmla="*/ 756 w 2362"/>
              <a:gd name="T29" fmla="*/ 1607 h 3213"/>
              <a:gd name="T30" fmla="*/ 378 w 2362"/>
              <a:gd name="T31" fmla="*/ 1607 h 3213"/>
              <a:gd name="T32" fmla="*/ 378 w 2362"/>
              <a:gd name="T33" fmla="*/ 1229 h 3213"/>
              <a:gd name="T34" fmla="*/ 756 w 2362"/>
              <a:gd name="T35" fmla="*/ 1229 h 3213"/>
              <a:gd name="T36" fmla="*/ 756 w 2362"/>
              <a:gd name="T37" fmla="*/ 1607 h 3213"/>
              <a:gd name="T38" fmla="*/ 1423 w 2362"/>
              <a:gd name="T39" fmla="*/ 2786 h 3213"/>
              <a:gd name="T40" fmla="*/ 1067 w 2362"/>
              <a:gd name="T41" fmla="*/ 2430 h 3213"/>
              <a:gd name="T42" fmla="*/ 1172 w 2362"/>
              <a:gd name="T43" fmla="*/ 2324 h 3213"/>
              <a:gd name="T44" fmla="*/ 1400 w 2362"/>
              <a:gd name="T45" fmla="*/ 2522 h 3213"/>
              <a:gd name="T46" fmla="*/ 1980 w 2362"/>
              <a:gd name="T47" fmla="*/ 2019 h 3213"/>
              <a:gd name="T48" fmla="*/ 2085 w 2362"/>
              <a:gd name="T49" fmla="*/ 2124 h 3213"/>
              <a:gd name="T50" fmla="*/ 1423 w 2362"/>
              <a:gd name="T51" fmla="*/ 2786 h 3213"/>
              <a:gd name="T52" fmla="*/ 1423 w 2362"/>
              <a:gd name="T53" fmla="*/ 1747 h 3213"/>
              <a:gd name="T54" fmla="*/ 1067 w 2362"/>
              <a:gd name="T55" fmla="*/ 1390 h 3213"/>
              <a:gd name="T56" fmla="*/ 1172 w 2362"/>
              <a:gd name="T57" fmla="*/ 1285 h 3213"/>
              <a:gd name="T58" fmla="*/ 1400 w 2362"/>
              <a:gd name="T59" fmla="*/ 1483 h 3213"/>
              <a:gd name="T60" fmla="*/ 1980 w 2362"/>
              <a:gd name="T61" fmla="*/ 979 h 3213"/>
              <a:gd name="T62" fmla="*/ 2085 w 2362"/>
              <a:gd name="T63" fmla="*/ 1085 h 3213"/>
              <a:gd name="T64" fmla="*/ 1423 w 2362"/>
              <a:gd name="T65" fmla="*/ 1747 h 3213"/>
              <a:gd name="T66" fmla="*/ 1698 w 2362"/>
              <a:gd name="T67" fmla="*/ 281 h 3213"/>
              <a:gd name="T68" fmla="*/ 664 w 2362"/>
              <a:gd name="T69" fmla="*/ 281 h 3213"/>
              <a:gd name="T70" fmla="*/ 664 w 2362"/>
              <a:gd name="T71" fmla="*/ 0 h 3213"/>
              <a:gd name="T72" fmla="*/ 1698 w 2362"/>
              <a:gd name="T73" fmla="*/ 0 h 3213"/>
              <a:gd name="T74" fmla="*/ 1698 w 2362"/>
              <a:gd name="T75" fmla="*/ 281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2" h="3213">
                <a:moveTo>
                  <a:pt x="1892" y="0"/>
                </a:moveTo>
                <a:lnTo>
                  <a:pt x="1892" y="475"/>
                </a:lnTo>
                <a:lnTo>
                  <a:pt x="470" y="475"/>
                </a:lnTo>
                <a:lnTo>
                  <a:pt x="470" y="0"/>
                </a:lnTo>
                <a:lnTo>
                  <a:pt x="0" y="0"/>
                </a:lnTo>
                <a:lnTo>
                  <a:pt x="0" y="3213"/>
                </a:lnTo>
                <a:lnTo>
                  <a:pt x="2362" y="3213"/>
                </a:lnTo>
                <a:lnTo>
                  <a:pt x="2362" y="0"/>
                </a:lnTo>
                <a:lnTo>
                  <a:pt x="1892" y="0"/>
                </a:lnTo>
                <a:close/>
                <a:moveTo>
                  <a:pt x="756" y="2646"/>
                </a:moveTo>
                <a:lnTo>
                  <a:pt x="378" y="2646"/>
                </a:lnTo>
                <a:lnTo>
                  <a:pt x="378" y="2268"/>
                </a:lnTo>
                <a:lnTo>
                  <a:pt x="756" y="2268"/>
                </a:lnTo>
                <a:lnTo>
                  <a:pt x="756" y="2646"/>
                </a:lnTo>
                <a:close/>
                <a:moveTo>
                  <a:pt x="756" y="1607"/>
                </a:moveTo>
                <a:lnTo>
                  <a:pt x="378" y="1607"/>
                </a:lnTo>
                <a:lnTo>
                  <a:pt x="378" y="1229"/>
                </a:lnTo>
                <a:lnTo>
                  <a:pt x="756" y="1229"/>
                </a:lnTo>
                <a:lnTo>
                  <a:pt x="756" y="1607"/>
                </a:lnTo>
                <a:close/>
                <a:moveTo>
                  <a:pt x="1423" y="2786"/>
                </a:moveTo>
                <a:lnTo>
                  <a:pt x="1067" y="2430"/>
                </a:lnTo>
                <a:lnTo>
                  <a:pt x="1172" y="2324"/>
                </a:lnTo>
                <a:lnTo>
                  <a:pt x="1400" y="2522"/>
                </a:lnTo>
                <a:lnTo>
                  <a:pt x="1980" y="2019"/>
                </a:lnTo>
                <a:lnTo>
                  <a:pt x="2085" y="2124"/>
                </a:lnTo>
                <a:lnTo>
                  <a:pt x="1423" y="2786"/>
                </a:lnTo>
                <a:close/>
                <a:moveTo>
                  <a:pt x="1423" y="1747"/>
                </a:moveTo>
                <a:lnTo>
                  <a:pt x="1067" y="1390"/>
                </a:lnTo>
                <a:lnTo>
                  <a:pt x="1172" y="1285"/>
                </a:lnTo>
                <a:lnTo>
                  <a:pt x="1400" y="1483"/>
                </a:lnTo>
                <a:lnTo>
                  <a:pt x="1980" y="979"/>
                </a:lnTo>
                <a:lnTo>
                  <a:pt x="2085" y="1085"/>
                </a:lnTo>
                <a:lnTo>
                  <a:pt x="1423" y="1747"/>
                </a:lnTo>
                <a:close/>
                <a:moveTo>
                  <a:pt x="1698" y="281"/>
                </a:moveTo>
                <a:lnTo>
                  <a:pt x="664" y="281"/>
                </a:lnTo>
                <a:lnTo>
                  <a:pt x="664" y="0"/>
                </a:lnTo>
                <a:lnTo>
                  <a:pt x="1698" y="0"/>
                </a:lnTo>
                <a:lnTo>
                  <a:pt x="1698" y="281"/>
                </a:ln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6">
            <a:extLst>
              <a:ext uri="{FF2B5EF4-FFF2-40B4-BE49-F238E27FC236}">
                <a16:creationId xmlns:a16="http://schemas.microsoft.com/office/drawing/2014/main" id="{6C060BE6-6EE4-0259-5A28-69B0CF95C112}"/>
              </a:ext>
            </a:extLst>
          </p:cNvPr>
          <p:cNvSpPr>
            <a:spLocks noChangeAspect="1" noEditPoints="1"/>
          </p:cNvSpPr>
          <p:nvPr/>
        </p:nvSpPr>
        <p:spPr bwMode="auto">
          <a:xfrm>
            <a:off x="4520082" y="3000549"/>
            <a:ext cx="600131" cy="595114"/>
          </a:xfrm>
          <a:custGeom>
            <a:avLst/>
            <a:gdLst>
              <a:gd name="T0" fmla="*/ 1319 w 3239"/>
              <a:gd name="T1" fmla="*/ 2759 h 3212"/>
              <a:gd name="T2" fmla="*/ 1181 w 3239"/>
              <a:gd name="T3" fmla="*/ 3212 h 3212"/>
              <a:gd name="T4" fmla="*/ 0 w 3239"/>
              <a:gd name="T5" fmla="*/ 2031 h 3212"/>
              <a:gd name="T6" fmla="*/ 591 w 3239"/>
              <a:gd name="T7" fmla="*/ 2409 h 3212"/>
              <a:gd name="T8" fmla="*/ 1181 w 3239"/>
              <a:gd name="T9" fmla="*/ 2031 h 3212"/>
              <a:gd name="T10" fmla="*/ 1319 w 3239"/>
              <a:gd name="T11" fmla="*/ 2484 h 3212"/>
              <a:gd name="T12" fmla="*/ 1559 w 3239"/>
              <a:gd name="T13" fmla="*/ 2622 h 3212"/>
              <a:gd name="T14" fmla="*/ 453 w 3239"/>
              <a:gd name="T15" fmla="*/ 1980 h 3212"/>
              <a:gd name="T16" fmla="*/ 590 w 3239"/>
              <a:gd name="T17" fmla="*/ 2220 h 3212"/>
              <a:gd name="T18" fmla="*/ 728 w 3239"/>
              <a:gd name="T19" fmla="*/ 1980 h 3212"/>
              <a:gd name="T20" fmla="*/ 1181 w 3239"/>
              <a:gd name="T21" fmla="*/ 1842 h 3212"/>
              <a:gd name="T22" fmla="*/ 1043 w 3239"/>
              <a:gd name="T23" fmla="*/ 1366 h 3212"/>
              <a:gd name="T24" fmla="*/ 803 w 3239"/>
              <a:gd name="T25" fmla="*/ 1228 h 3212"/>
              <a:gd name="T26" fmla="*/ 1043 w 3239"/>
              <a:gd name="T27" fmla="*/ 1091 h 3212"/>
              <a:gd name="T28" fmla="*/ 1181 w 3239"/>
              <a:gd name="T29" fmla="*/ 661 h 3212"/>
              <a:gd name="T30" fmla="*/ 0 w 3239"/>
              <a:gd name="T31" fmla="*/ 1842 h 3212"/>
              <a:gd name="T32" fmla="*/ 453 w 3239"/>
              <a:gd name="T33" fmla="*/ 1980 h 3212"/>
              <a:gd name="T34" fmla="*/ 2815 w 3239"/>
              <a:gd name="T35" fmla="*/ 1264 h 3212"/>
              <a:gd name="T36" fmla="*/ 3076 w 3239"/>
              <a:gd name="T37" fmla="*/ 664 h 3212"/>
              <a:gd name="T38" fmla="*/ 2873 w 3239"/>
              <a:gd name="T39" fmla="*/ 761 h 3212"/>
              <a:gd name="T40" fmla="*/ 2762 w 3239"/>
              <a:gd name="T41" fmla="*/ 457 h 3212"/>
              <a:gd name="T42" fmla="*/ 2981 w 3239"/>
              <a:gd name="T43" fmla="*/ 401 h 3212"/>
              <a:gd name="T44" fmla="*/ 1725 w 3239"/>
              <a:gd name="T45" fmla="*/ 404 h 3212"/>
              <a:gd name="T46" fmla="*/ 2553 w 3239"/>
              <a:gd name="T47" fmla="*/ 1359 h 3212"/>
              <a:gd name="T48" fmla="*/ 2608 w 3239"/>
              <a:gd name="T49" fmla="*/ 1578 h 3212"/>
              <a:gd name="T50" fmla="*/ 2913 w 3239"/>
              <a:gd name="T51" fmla="*/ 1467 h 3212"/>
              <a:gd name="T52" fmla="*/ 2098 w 3239"/>
              <a:gd name="T53" fmla="*/ 1893 h 3212"/>
              <a:gd name="T54" fmla="*/ 1961 w 3239"/>
              <a:gd name="T55" fmla="*/ 1653 h 3212"/>
              <a:gd name="T56" fmla="*/ 1823 w 3239"/>
              <a:gd name="T57" fmla="*/ 1893 h 3212"/>
              <a:gd name="T58" fmla="*/ 1370 w 3239"/>
              <a:gd name="T59" fmla="*/ 2031 h 3212"/>
              <a:gd name="T60" fmla="*/ 1748 w 3239"/>
              <a:gd name="T61" fmla="*/ 2622 h 3212"/>
              <a:gd name="T62" fmla="*/ 1370 w 3239"/>
              <a:gd name="T63" fmla="*/ 3212 h 3212"/>
              <a:gd name="T64" fmla="*/ 2551 w 3239"/>
              <a:gd name="T65" fmla="*/ 2031 h 3212"/>
              <a:gd name="T66" fmla="*/ 2098 w 3239"/>
              <a:gd name="T67" fmla="*/ 1893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39" h="3212">
                <a:moveTo>
                  <a:pt x="1406" y="2784"/>
                </a:moveTo>
                <a:cubicBezTo>
                  <a:pt x="1376" y="2784"/>
                  <a:pt x="1346" y="2771"/>
                  <a:pt x="1319" y="2759"/>
                </a:cubicBezTo>
                <a:cubicBezTo>
                  <a:pt x="1262" y="2735"/>
                  <a:pt x="1197" y="2690"/>
                  <a:pt x="1181" y="2761"/>
                </a:cubicBezTo>
                <a:lnTo>
                  <a:pt x="1181" y="3212"/>
                </a:lnTo>
                <a:lnTo>
                  <a:pt x="0" y="3212"/>
                </a:lnTo>
                <a:lnTo>
                  <a:pt x="0" y="2031"/>
                </a:lnTo>
                <a:lnTo>
                  <a:pt x="213" y="2031"/>
                </a:lnTo>
                <a:cubicBezTo>
                  <a:pt x="213" y="2240"/>
                  <a:pt x="382" y="2409"/>
                  <a:pt x="591" y="2409"/>
                </a:cubicBezTo>
                <a:cubicBezTo>
                  <a:pt x="799" y="2409"/>
                  <a:pt x="969" y="2240"/>
                  <a:pt x="969" y="2031"/>
                </a:cubicBezTo>
                <a:lnTo>
                  <a:pt x="1181" y="2031"/>
                </a:lnTo>
                <a:lnTo>
                  <a:pt x="1181" y="2482"/>
                </a:lnTo>
                <a:cubicBezTo>
                  <a:pt x="1197" y="2554"/>
                  <a:pt x="1262" y="2509"/>
                  <a:pt x="1319" y="2484"/>
                </a:cubicBezTo>
                <a:cubicBezTo>
                  <a:pt x="1346" y="2473"/>
                  <a:pt x="1376" y="2460"/>
                  <a:pt x="1406" y="2460"/>
                </a:cubicBezTo>
                <a:cubicBezTo>
                  <a:pt x="1491" y="2460"/>
                  <a:pt x="1559" y="2532"/>
                  <a:pt x="1559" y="2622"/>
                </a:cubicBezTo>
                <a:cubicBezTo>
                  <a:pt x="1559" y="2712"/>
                  <a:pt x="1491" y="2784"/>
                  <a:pt x="1406" y="2784"/>
                </a:cubicBezTo>
                <a:close/>
                <a:moveTo>
                  <a:pt x="453" y="1980"/>
                </a:moveTo>
                <a:cubicBezTo>
                  <a:pt x="442" y="2007"/>
                  <a:pt x="429" y="2037"/>
                  <a:pt x="429" y="2067"/>
                </a:cubicBezTo>
                <a:cubicBezTo>
                  <a:pt x="429" y="2152"/>
                  <a:pt x="501" y="2220"/>
                  <a:pt x="590" y="2220"/>
                </a:cubicBezTo>
                <a:cubicBezTo>
                  <a:pt x="680" y="2220"/>
                  <a:pt x="753" y="2152"/>
                  <a:pt x="753" y="2067"/>
                </a:cubicBezTo>
                <a:cubicBezTo>
                  <a:pt x="753" y="2037"/>
                  <a:pt x="740" y="2007"/>
                  <a:pt x="728" y="1980"/>
                </a:cubicBezTo>
                <a:cubicBezTo>
                  <a:pt x="704" y="1923"/>
                  <a:pt x="659" y="1858"/>
                  <a:pt x="730" y="1842"/>
                </a:cubicBezTo>
                <a:lnTo>
                  <a:pt x="1181" y="1842"/>
                </a:lnTo>
                <a:lnTo>
                  <a:pt x="1181" y="1368"/>
                </a:lnTo>
                <a:cubicBezTo>
                  <a:pt x="1166" y="1296"/>
                  <a:pt x="1100" y="1341"/>
                  <a:pt x="1043" y="1366"/>
                </a:cubicBezTo>
                <a:cubicBezTo>
                  <a:pt x="1016" y="1377"/>
                  <a:pt x="987" y="1390"/>
                  <a:pt x="957" y="1390"/>
                </a:cubicBezTo>
                <a:cubicBezTo>
                  <a:pt x="872" y="1390"/>
                  <a:pt x="803" y="1318"/>
                  <a:pt x="803" y="1228"/>
                </a:cubicBezTo>
                <a:cubicBezTo>
                  <a:pt x="803" y="1138"/>
                  <a:pt x="872" y="1066"/>
                  <a:pt x="957" y="1066"/>
                </a:cubicBezTo>
                <a:cubicBezTo>
                  <a:pt x="987" y="1066"/>
                  <a:pt x="1016" y="1079"/>
                  <a:pt x="1043" y="1091"/>
                </a:cubicBezTo>
                <a:cubicBezTo>
                  <a:pt x="1100" y="1115"/>
                  <a:pt x="1166" y="1160"/>
                  <a:pt x="1181" y="1089"/>
                </a:cubicBezTo>
                <a:lnTo>
                  <a:pt x="1181" y="661"/>
                </a:lnTo>
                <a:lnTo>
                  <a:pt x="0" y="661"/>
                </a:lnTo>
                <a:lnTo>
                  <a:pt x="0" y="1842"/>
                </a:lnTo>
                <a:lnTo>
                  <a:pt x="451" y="1842"/>
                </a:lnTo>
                <a:cubicBezTo>
                  <a:pt x="522" y="1858"/>
                  <a:pt x="477" y="1923"/>
                  <a:pt x="453" y="1980"/>
                </a:cubicBezTo>
                <a:close/>
                <a:moveTo>
                  <a:pt x="2860" y="1394"/>
                </a:moveTo>
                <a:cubicBezTo>
                  <a:pt x="2818" y="1349"/>
                  <a:pt x="2753" y="1303"/>
                  <a:pt x="2815" y="1264"/>
                </a:cubicBezTo>
                <a:lnTo>
                  <a:pt x="3239" y="1110"/>
                </a:lnTo>
                <a:lnTo>
                  <a:pt x="3076" y="664"/>
                </a:lnTo>
                <a:cubicBezTo>
                  <a:pt x="3037" y="602"/>
                  <a:pt x="2991" y="667"/>
                  <a:pt x="2946" y="709"/>
                </a:cubicBezTo>
                <a:cubicBezTo>
                  <a:pt x="2924" y="729"/>
                  <a:pt x="2901" y="751"/>
                  <a:pt x="2873" y="761"/>
                </a:cubicBezTo>
                <a:cubicBezTo>
                  <a:pt x="2793" y="791"/>
                  <a:pt x="2704" y="746"/>
                  <a:pt x="2673" y="661"/>
                </a:cubicBezTo>
                <a:cubicBezTo>
                  <a:pt x="2643" y="577"/>
                  <a:pt x="2682" y="486"/>
                  <a:pt x="2762" y="457"/>
                </a:cubicBezTo>
                <a:cubicBezTo>
                  <a:pt x="2790" y="447"/>
                  <a:pt x="2822" y="449"/>
                  <a:pt x="2852" y="451"/>
                </a:cubicBezTo>
                <a:cubicBezTo>
                  <a:pt x="2914" y="454"/>
                  <a:pt x="2991" y="474"/>
                  <a:pt x="2981" y="401"/>
                </a:cubicBezTo>
                <a:lnTo>
                  <a:pt x="2835" y="0"/>
                </a:lnTo>
                <a:lnTo>
                  <a:pt x="1725" y="404"/>
                </a:lnTo>
                <a:lnTo>
                  <a:pt x="2129" y="1514"/>
                </a:lnTo>
                <a:lnTo>
                  <a:pt x="2553" y="1359"/>
                </a:lnTo>
                <a:cubicBezTo>
                  <a:pt x="2625" y="1350"/>
                  <a:pt x="2605" y="1426"/>
                  <a:pt x="2602" y="1488"/>
                </a:cubicBezTo>
                <a:cubicBezTo>
                  <a:pt x="2600" y="1518"/>
                  <a:pt x="2598" y="1550"/>
                  <a:pt x="2608" y="1578"/>
                </a:cubicBezTo>
                <a:cubicBezTo>
                  <a:pt x="2637" y="1658"/>
                  <a:pt x="2728" y="1697"/>
                  <a:pt x="2813" y="1667"/>
                </a:cubicBezTo>
                <a:cubicBezTo>
                  <a:pt x="2897" y="1636"/>
                  <a:pt x="2942" y="1547"/>
                  <a:pt x="2913" y="1467"/>
                </a:cubicBezTo>
                <a:cubicBezTo>
                  <a:pt x="2902" y="1439"/>
                  <a:pt x="2880" y="1416"/>
                  <a:pt x="2860" y="1394"/>
                </a:cubicBezTo>
                <a:close/>
                <a:moveTo>
                  <a:pt x="2098" y="1893"/>
                </a:moveTo>
                <a:cubicBezTo>
                  <a:pt x="2110" y="1866"/>
                  <a:pt x="2123" y="1837"/>
                  <a:pt x="2123" y="1807"/>
                </a:cubicBezTo>
                <a:cubicBezTo>
                  <a:pt x="2123" y="1722"/>
                  <a:pt x="2051" y="1654"/>
                  <a:pt x="1961" y="1653"/>
                </a:cubicBezTo>
                <a:cubicBezTo>
                  <a:pt x="1871" y="1654"/>
                  <a:pt x="1799" y="1722"/>
                  <a:pt x="1799" y="1807"/>
                </a:cubicBezTo>
                <a:cubicBezTo>
                  <a:pt x="1799" y="1837"/>
                  <a:pt x="1812" y="1866"/>
                  <a:pt x="1823" y="1893"/>
                </a:cubicBezTo>
                <a:cubicBezTo>
                  <a:pt x="1847" y="1950"/>
                  <a:pt x="1892" y="2016"/>
                  <a:pt x="1821" y="2031"/>
                </a:cubicBezTo>
                <a:lnTo>
                  <a:pt x="1370" y="2031"/>
                </a:lnTo>
                <a:lnTo>
                  <a:pt x="1370" y="2244"/>
                </a:lnTo>
                <a:cubicBezTo>
                  <a:pt x="1579" y="2244"/>
                  <a:pt x="1748" y="2413"/>
                  <a:pt x="1748" y="2622"/>
                </a:cubicBezTo>
                <a:cubicBezTo>
                  <a:pt x="1748" y="2831"/>
                  <a:pt x="1579" y="3000"/>
                  <a:pt x="1370" y="3000"/>
                </a:cubicBezTo>
                <a:lnTo>
                  <a:pt x="1370" y="3212"/>
                </a:lnTo>
                <a:lnTo>
                  <a:pt x="2551" y="3212"/>
                </a:lnTo>
                <a:lnTo>
                  <a:pt x="2551" y="2031"/>
                </a:lnTo>
                <a:lnTo>
                  <a:pt x="2100" y="2031"/>
                </a:lnTo>
                <a:cubicBezTo>
                  <a:pt x="2029" y="2016"/>
                  <a:pt x="2074" y="1950"/>
                  <a:pt x="2098" y="1893"/>
                </a:cubicBez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tangle 39">
            <a:extLst>
              <a:ext uri="{FF2B5EF4-FFF2-40B4-BE49-F238E27FC236}">
                <a16:creationId xmlns:a16="http://schemas.microsoft.com/office/drawing/2014/main" id="{B1DD996A-D172-5725-96DD-6048845DA199}"/>
              </a:ext>
            </a:extLst>
          </p:cNvPr>
          <p:cNvSpPr>
            <a:spLocks/>
          </p:cNvSpPr>
          <p:nvPr/>
        </p:nvSpPr>
        <p:spPr>
          <a:xfrm>
            <a:off x="207104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neo </a:t>
            </a:r>
          </a:p>
        </p:txBody>
      </p:sp>
      <p:sp>
        <p:nvSpPr>
          <p:cNvPr id="48" name="Rectangle 166">
            <a:extLst>
              <a:ext uri="{FF2B5EF4-FFF2-40B4-BE49-F238E27FC236}">
                <a16:creationId xmlns:a16="http://schemas.microsoft.com/office/drawing/2014/main" id="{74CC8AAA-FBED-4C5C-E54E-2148F27AE352}"/>
              </a:ext>
            </a:extLst>
          </p:cNvPr>
          <p:cNvSpPr>
            <a:spLocks/>
          </p:cNvSpPr>
          <p:nvPr/>
        </p:nvSpPr>
        <p:spPr>
          <a:xfrm>
            <a:off x="4520083"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Virtual Process Controller</a:t>
            </a:r>
          </a:p>
        </p:txBody>
      </p:sp>
      <p:sp>
        <p:nvSpPr>
          <p:cNvPr id="49" name="Rectangle 12">
            <a:extLst>
              <a:ext uri="{FF2B5EF4-FFF2-40B4-BE49-F238E27FC236}">
                <a16:creationId xmlns:a16="http://schemas.microsoft.com/office/drawing/2014/main" id="{FDEBBEF6-6BF1-96AF-54F9-183E6B0892B7}"/>
              </a:ext>
            </a:extLst>
          </p:cNvPr>
          <p:cNvSpPr>
            <a:spLocks/>
          </p:cNvSpPr>
          <p:nvPr/>
        </p:nvSpPr>
        <p:spPr>
          <a:xfrm>
            <a:off x="696912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err="1">
                <a:solidFill>
                  <a:prstClr val="white"/>
                </a:solidFill>
                <a:latin typeface="Arial"/>
                <a:cs typeface="Arial"/>
              </a:rPr>
              <a:t>eaSie</a:t>
            </a:r>
            <a:endParaRPr lang="en-US" sz="1200" kern="1200">
              <a:solidFill>
                <a:prstClr val="white"/>
              </a:solidFill>
              <a:latin typeface="Arial"/>
              <a:cs typeface="Arial"/>
            </a:endParaRPr>
          </a:p>
        </p:txBody>
      </p:sp>
      <p:sp>
        <p:nvSpPr>
          <p:cNvPr id="50" name="Rectangle 40">
            <a:extLst>
              <a:ext uri="{FF2B5EF4-FFF2-40B4-BE49-F238E27FC236}">
                <a16:creationId xmlns:a16="http://schemas.microsoft.com/office/drawing/2014/main" id="{271793F7-EA82-426F-F687-0DA65964E300}"/>
              </a:ext>
            </a:extLst>
          </p:cNvPr>
          <p:cNvSpPr>
            <a:spLocks/>
          </p:cNvSpPr>
          <p:nvPr/>
        </p:nvSpPr>
        <p:spPr>
          <a:xfrm>
            <a:off x="9418165"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a:t>
            </a:r>
            <a:r>
              <a:rPr lang="en-US" sz="1200" kern="1200" err="1">
                <a:solidFill>
                  <a:prstClr val="white"/>
                </a:solidFill>
                <a:latin typeface="Arial"/>
                <a:cs typeface="Arial"/>
              </a:rPr>
              <a:t>myExpert</a:t>
            </a:r>
            <a:endParaRPr lang="en-US" sz="1200" kern="1200">
              <a:solidFill>
                <a:prstClr val="white"/>
              </a:solidFill>
              <a:latin typeface="Arial"/>
              <a:cs typeface="Arial"/>
            </a:endParaRPr>
          </a:p>
        </p:txBody>
      </p:sp>
      <p:sp>
        <p:nvSpPr>
          <p:cNvPr id="51" name="Freihandform: Form 74">
            <a:extLst>
              <a:ext uri="{FF2B5EF4-FFF2-40B4-BE49-F238E27FC236}">
                <a16:creationId xmlns:a16="http://schemas.microsoft.com/office/drawing/2014/main" id="{D488D7AB-6642-0F59-2E1C-4BAAA60C8795}"/>
              </a:ext>
            </a:extLst>
          </p:cNvPr>
          <p:cNvSpPr/>
          <p:nvPr/>
        </p:nvSpPr>
        <p:spPr bwMode="gray">
          <a:xfrm>
            <a:off x="6969123" y="3013167"/>
            <a:ext cx="750361" cy="568116"/>
          </a:xfrm>
          <a:custGeom>
            <a:avLst/>
            <a:gdLst>
              <a:gd name="connsiteX0" fmla="*/ 224748 w 648997"/>
              <a:gd name="connsiteY0" fmla="*/ 325810 h 491371"/>
              <a:gd name="connsiteX1" fmla="*/ 253408 w 648997"/>
              <a:gd name="connsiteY1" fmla="*/ 309286 h 491371"/>
              <a:gd name="connsiteX2" fmla="*/ 232839 w 648997"/>
              <a:gd name="connsiteY2" fmla="*/ 273634 h 491371"/>
              <a:gd name="connsiteX3" fmla="*/ 204111 w 648997"/>
              <a:gd name="connsiteY3" fmla="*/ 290226 h 491371"/>
              <a:gd name="connsiteX4" fmla="*/ 196638 w 648997"/>
              <a:gd name="connsiteY4" fmla="*/ 282752 h 491371"/>
              <a:gd name="connsiteX5" fmla="*/ 213230 w 648997"/>
              <a:gd name="connsiteY5" fmla="*/ 254025 h 491371"/>
              <a:gd name="connsiteX6" fmla="*/ 177577 w 648997"/>
              <a:gd name="connsiteY6" fmla="*/ 233456 h 491371"/>
              <a:gd name="connsiteX7" fmla="*/ 161054 w 648997"/>
              <a:gd name="connsiteY7" fmla="*/ 262115 h 491371"/>
              <a:gd name="connsiteX8" fmla="*/ 150838 w 648997"/>
              <a:gd name="connsiteY8" fmla="*/ 259373 h 491371"/>
              <a:gd name="connsiteX9" fmla="*/ 150838 w 648997"/>
              <a:gd name="connsiteY9" fmla="*/ 226325 h 491371"/>
              <a:gd name="connsiteX10" fmla="*/ 109700 w 648997"/>
              <a:gd name="connsiteY10" fmla="*/ 226325 h 491371"/>
              <a:gd name="connsiteX11" fmla="*/ 109700 w 648997"/>
              <a:gd name="connsiteY11" fmla="*/ 259373 h 491371"/>
              <a:gd name="connsiteX12" fmla="*/ 99484 w 648997"/>
              <a:gd name="connsiteY12" fmla="*/ 262115 h 491371"/>
              <a:gd name="connsiteX13" fmla="*/ 82961 w 648997"/>
              <a:gd name="connsiteY13" fmla="*/ 233456 h 491371"/>
              <a:gd name="connsiteX14" fmla="*/ 47308 w 648997"/>
              <a:gd name="connsiteY14" fmla="*/ 254025 h 491371"/>
              <a:gd name="connsiteX15" fmla="*/ 63900 w 648997"/>
              <a:gd name="connsiteY15" fmla="*/ 282752 h 491371"/>
              <a:gd name="connsiteX16" fmla="*/ 56427 w 648997"/>
              <a:gd name="connsiteY16" fmla="*/ 290226 h 491371"/>
              <a:gd name="connsiteX17" fmla="*/ 27699 w 648997"/>
              <a:gd name="connsiteY17" fmla="*/ 273634 h 491371"/>
              <a:gd name="connsiteX18" fmla="*/ 7131 w 648997"/>
              <a:gd name="connsiteY18" fmla="*/ 309286 h 491371"/>
              <a:gd name="connsiteX19" fmla="*/ 35790 w 648997"/>
              <a:gd name="connsiteY19" fmla="*/ 325810 h 491371"/>
              <a:gd name="connsiteX20" fmla="*/ 33047 w 648997"/>
              <a:gd name="connsiteY20" fmla="*/ 336026 h 491371"/>
              <a:gd name="connsiteX21" fmla="*/ 0 w 648997"/>
              <a:gd name="connsiteY21" fmla="*/ 336026 h 491371"/>
              <a:gd name="connsiteX22" fmla="*/ 0 w 648997"/>
              <a:gd name="connsiteY22" fmla="*/ 377163 h 491371"/>
              <a:gd name="connsiteX23" fmla="*/ 33047 w 648997"/>
              <a:gd name="connsiteY23" fmla="*/ 377163 h 491371"/>
              <a:gd name="connsiteX24" fmla="*/ 35790 w 648997"/>
              <a:gd name="connsiteY24" fmla="*/ 387379 h 491371"/>
              <a:gd name="connsiteX25" fmla="*/ 7131 w 648997"/>
              <a:gd name="connsiteY25" fmla="*/ 403903 h 491371"/>
              <a:gd name="connsiteX26" fmla="*/ 27699 w 648997"/>
              <a:gd name="connsiteY26" fmla="*/ 439555 h 491371"/>
              <a:gd name="connsiteX27" fmla="*/ 56427 w 648997"/>
              <a:gd name="connsiteY27" fmla="*/ 422963 h 491371"/>
              <a:gd name="connsiteX28" fmla="*/ 63900 w 648997"/>
              <a:gd name="connsiteY28" fmla="*/ 430436 h 491371"/>
              <a:gd name="connsiteX29" fmla="*/ 47308 w 648997"/>
              <a:gd name="connsiteY29" fmla="*/ 459164 h 491371"/>
              <a:gd name="connsiteX30" fmla="*/ 82961 w 648997"/>
              <a:gd name="connsiteY30" fmla="*/ 479733 h 491371"/>
              <a:gd name="connsiteX31" fmla="*/ 99484 w 648997"/>
              <a:gd name="connsiteY31" fmla="*/ 451074 h 491371"/>
              <a:gd name="connsiteX32" fmla="*/ 109700 w 648997"/>
              <a:gd name="connsiteY32" fmla="*/ 453816 h 491371"/>
              <a:gd name="connsiteX33" fmla="*/ 109700 w 648997"/>
              <a:gd name="connsiteY33" fmla="*/ 486864 h 491371"/>
              <a:gd name="connsiteX34" fmla="*/ 150838 w 648997"/>
              <a:gd name="connsiteY34" fmla="*/ 486864 h 491371"/>
              <a:gd name="connsiteX35" fmla="*/ 150838 w 648997"/>
              <a:gd name="connsiteY35" fmla="*/ 453816 h 491371"/>
              <a:gd name="connsiteX36" fmla="*/ 161054 w 648997"/>
              <a:gd name="connsiteY36" fmla="*/ 451074 h 491371"/>
              <a:gd name="connsiteX37" fmla="*/ 177577 w 648997"/>
              <a:gd name="connsiteY37" fmla="*/ 479733 h 491371"/>
              <a:gd name="connsiteX38" fmla="*/ 213230 w 648997"/>
              <a:gd name="connsiteY38" fmla="*/ 459164 h 491371"/>
              <a:gd name="connsiteX39" fmla="*/ 196638 w 648997"/>
              <a:gd name="connsiteY39" fmla="*/ 430436 h 491371"/>
              <a:gd name="connsiteX40" fmla="*/ 204111 w 648997"/>
              <a:gd name="connsiteY40" fmla="*/ 422963 h 491371"/>
              <a:gd name="connsiteX41" fmla="*/ 232839 w 648997"/>
              <a:gd name="connsiteY41" fmla="*/ 439555 h 491371"/>
              <a:gd name="connsiteX42" fmla="*/ 253408 w 648997"/>
              <a:gd name="connsiteY42" fmla="*/ 403903 h 491371"/>
              <a:gd name="connsiteX43" fmla="*/ 224748 w 648997"/>
              <a:gd name="connsiteY43" fmla="*/ 387379 h 491371"/>
              <a:gd name="connsiteX44" fmla="*/ 227491 w 648997"/>
              <a:gd name="connsiteY44" fmla="*/ 377163 h 491371"/>
              <a:gd name="connsiteX45" fmla="*/ 260538 w 648997"/>
              <a:gd name="connsiteY45" fmla="*/ 377163 h 491371"/>
              <a:gd name="connsiteX46" fmla="*/ 260538 w 648997"/>
              <a:gd name="connsiteY46" fmla="*/ 336026 h 491371"/>
              <a:gd name="connsiteX47" fmla="*/ 227491 w 648997"/>
              <a:gd name="connsiteY47" fmla="*/ 336026 h 491371"/>
              <a:gd name="connsiteX48" fmla="*/ 224748 w 648997"/>
              <a:gd name="connsiteY48" fmla="*/ 325810 h 491371"/>
              <a:gd name="connsiteX49" fmla="*/ 202260 w 648997"/>
              <a:gd name="connsiteY49" fmla="*/ 356594 h 491371"/>
              <a:gd name="connsiteX50" fmla="*/ 130269 w 648997"/>
              <a:gd name="connsiteY50" fmla="*/ 428585 h 491371"/>
              <a:gd name="connsiteX51" fmla="*/ 58278 w 648997"/>
              <a:gd name="connsiteY51" fmla="*/ 356594 h 491371"/>
              <a:gd name="connsiteX52" fmla="*/ 130269 w 648997"/>
              <a:gd name="connsiteY52" fmla="*/ 284604 h 491371"/>
              <a:gd name="connsiteX53" fmla="*/ 202260 w 648997"/>
              <a:gd name="connsiteY53" fmla="*/ 356594 h 491371"/>
              <a:gd name="connsiteX54" fmla="*/ 164550 w 648997"/>
              <a:gd name="connsiteY54" fmla="*/ 356594 h 491371"/>
              <a:gd name="connsiteX55" fmla="*/ 130269 w 648997"/>
              <a:gd name="connsiteY55" fmla="*/ 390876 h 491371"/>
              <a:gd name="connsiteX56" fmla="*/ 95988 w 648997"/>
              <a:gd name="connsiteY56" fmla="*/ 356594 h 491371"/>
              <a:gd name="connsiteX57" fmla="*/ 130269 w 648997"/>
              <a:gd name="connsiteY57" fmla="*/ 322313 h 491371"/>
              <a:gd name="connsiteX58" fmla="*/ 164550 w 648997"/>
              <a:gd name="connsiteY58" fmla="*/ 356594 h 491371"/>
              <a:gd name="connsiteX59" fmla="*/ 307778 w 648997"/>
              <a:gd name="connsiteY59" fmla="*/ 105655 h 491371"/>
              <a:gd name="connsiteX60" fmla="*/ 286866 w 648997"/>
              <a:gd name="connsiteY60" fmla="*/ 93588 h 491371"/>
              <a:gd name="connsiteX61" fmla="*/ 286866 w 648997"/>
              <a:gd name="connsiteY61" fmla="*/ 71099 h 491371"/>
              <a:gd name="connsiteX62" fmla="*/ 307778 w 648997"/>
              <a:gd name="connsiteY62" fmla="*/ 59032 h 491371"/>
              <a:gd name="connsiteX63" fmla="*/ 287209 w 648997"/>
              <a:gd name="connsiteY63" fmla="*/ 23380 h 491371"/>
              <a:gd name="connsiteX64" fmla="*/ 266297 w 648997"/>
              <a:gd name="connsiteY64" fmla="*/ 35447 h 491371"/>
              <a:gd name="connsiteX65" fmla="*/ 246826 w 648997"/>
              <a:gd name="connsiteY65" fmla="*/ 24203 h 491371"/>
              <a:gd name="connsiteX66" fmla="*/ 246826 w 648997"/>
              <a:gd name="connsiteY66" fmla="*/ 0 h 491371"/>
              <a:gd name="connsiteX67" fmla="*/ 205688 w 648997"/>
              <a:gd name="connsiteY67" fmla="*/ 0 h 491371"/>
              <a:gd name="connsiteX68" fmla="*/ 205688 w 648997"/>
              <a:gd name="connsiteY68" fmla="*/ 24203 h 491371"/>
              <a:gd name="connsiteX69" fmla="*/ 186216 w 648997"/>
              <a:gd name="connsiteY69" fmla="*/ 35447 h 491371"/>
              <a:gd name="connsiteX70" fmla="*/ 165305 w 648997"/>
              <a:gd name="connsiteY70" fmla="*/ 23380 h 491371"/>
              <a:gd name="connsiteX71" fmla="*/ 144736 w 648997"/>
              <a:gd name="connsiteY71" fmla="*/ 59032 h 491371"/>
              <a:gd name="connsiteX72" fmla="*/ 165647 w 648997"/>
              <a:gd name="connsiteY72" fmla="*/ 71099 h 491371"/>
              <a:gd name="connsiteX73" fmla="*/ 165647 w 648997"/>
              <a:gd name="connsiteY73" fmla="*/ 93588 h 491371"/>
              <a:gd name="connsiteX74" fmla="*/ 144736 w 648997"/>
              <a:gd name="connsiteY74" fmla="*/ 105655 h 491371"/>
              <a:gd name="connsiteX75" fmla="*/ 165305 w 648997"/>
              <a:gd name="connsiteY75" fmla="*/ 141308 h 491371"/>
              <a:gd name="connsiteX76" fmla="*/ 186216 w 648997"/>
              <a:gd name="connsiteY76" fmla="*/ 129241 h 491371"/>
              <a:gd name="connsiteX77" fmla="*/ 205688 w 648997"/>
              <a:gd name="connsiteY77" fmla="*/ 140485 h 491371"/>
              <a:gd name="connsiteX78" fmla="*/ 205688 w 648997"/>
              <a:gd name="connsiteY78" fmla="*/ 164688 h 491371"/>
              <a:gd name="connsiteX79" fmla="*/ 246826 w 648997"/>
              <a:gd name="connsiteY79" fmla="*/ 164688 h 491371"/>
              <a:gd name="connsiteX80" fmla="*/ 246826 w 648997"/>
              <a:gd name="connsiteY80" fmla="*/ 140485 h 491371"/>
              <a:gd name="connsiteX81" fmla="*/ 266297 w 648997"/>
              <a:gd name="connsiteY81" fmla="*/ 129241 h 491371"/>
              <a:gd name="connsiteX82" fmla="*/ 287209 w 648997"/>
              <a:gd name="connsiteY82" fmla="*/ 141308 h 491371"/>
              <a:gd name="connsiteX83" fmla="*/ 307778 w 648997"/>
              <a:gd name="connsiteY83" fmla="*/ 105655 h 491371"/>
              <a:gd name="connsiteX84" fmla="*/ 226257 w 648997"/>
              <a:gd name="connsiteY84" fmla="*/ 116625 h 491371"/>
              <a:gd name="connsiteX85" fmla="*/ 191975 w 648997"/>
              <a:gd name="connsiteY85" fmla="*/ 82344 h 491371"/>
              <a:gd name="connsiteX86" fmla="*/ 226257 w 648997"/>
              <a:gd name="connsiteY86" fmla="*/ 48062 h 491371"/>
              <a:gd name="connsiteX87" fmla="*/ 260538 w 648997"/>
              <a:gd name="connsiteY87" fmla="*/ 82344 h 491371"/>
              <a:gd name="connsiteX88" fmla="*/ 226257 w 648997"/>
              <a:gd name="connsiteY88" fmla="*/ 116625 h 491371"/>
              <a:gd name="connsiteX89" fmla="*/ 637633 w 648997"/>
              <a:gd name="connsiteY89" fmla="*/ 425157 h 491371"/>
              <a:gd name="connsiteX90" fmla="*/ 466226 w 648997"/>
              <a:gd name="connsiteY90" fmla="*/ 253750 h 491371"/>
              <a:gd name="connsiteX91" fmla="*/ 466226 w 648997"/>
              <a:gd name="connsiteY91" fmla="*/ 192250 h 491371"/>
              <a:gd name="connsiteX92" fmla="*/ 427420 w 648997"/>
              <a:gd name="connsiteY92" fmla="*/ 153443 h 491371"/>
              <a:gd name="connsiteX93" fmla="*/ 378946 w 648997"/>
              <a:gd name="connsiteY93" fmla="*/ 153443 h 491371"/>
              <a:gd name="connsiteX94" fmla="*/ 365576 w 648997"/>
              <a:gd name="connsiteY94" fmla="*/ 166813 h 491371"/>
              <a:gd name="connsiteX95" fmla="*/ 418232 w 648997"/>
              <a:gd name="connsiteY95" fmla="*/ 219469 h 491371"/>
              <a:gd name="connsiteX96" fmla="*/ 377095 w 648997"/>
              <a:gd name="connsiteY96" fmla="*/ 260607 h 491371"/>
              <a:gd name="connsiteX97" fmla="*/ 324439 w 648997"/>
              <a:gd name="connsiteY97" fmla="*/ 207951 h 491371"/>
              <a:gd name="connsiteX98" fmla="*/ 311069 w 648997"/>
              <a:gd name="connsiteY98" fmla="*/ 221320 h 491371"/>
              <a:gd name="connsiteX99" fmla="*/ 311069 w 648997"/>
              <a:gd name="connsiteY99" fmla="*/ 269794 h 491371"/>
              <a:gd name="connsiteX100" fmla="*/ 349875 w 648997"/>
              <a:gd name="connsiteY100" fmla="*/ 308601 h 491371"/>
              <a:gd name="connsiteX101" fmla="*/ 411376 w 648997"/>
              <a:gd name="connsiteY101" fmla="*/ 308601 h 491371"/>
              <a:gd name="connsiteX102" fmla="*/ 582783 w 648997"/>
              <a:gd name="connsiteY102" fmla="*/ 480007 h 491371"/>
              <a:gd name="connsiteX103" fmla="*/ 637633 w 648997"/>
              <a:gd name="connsiteY103" fmla="*/ 480007 h 491371"/>
              <a:gd name="connsiteX104" fmla="*/ 637633 w 648997"/>
              <a:gd name="connsiteY104" fmla="*/ 425157 h 491371"/>
              <a:gd name="connsiteX105" fmla="*/ 610208 w 648997"/>
              <a:gd name="connsiteY105" fmla="*/ 466295 h 491371"/>
              <a:gd name="connsiteX106" fmla="*/ 596495 w 648997"/>
              <a:gd name="connsiteY106" fmla="*/ 452582 h 491371"/>
              <a:gd name="connsiteX107" fmla="*/ 610208 w 648997"/>
              <a:gd name="connsiteY107" fmla="*/ 438870 h 491371"/>
              <a:gd name="connsiteX108" fmla="*/ 623920 w 648997"/>
              <a:gd name="connsiteY108" fmla="*/ 452582 h 491371"/>
              <a:gd name="connsiteX109" fmla="*/ 610208 w 648997"/>
              <a:gd name="connsiteY109" fmla="*/ 466295 h 49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648997" h="491371">
                <a:moveTo>
                  <a:pt x="224748" y="325810"/>
                </a:moveTo>
                <a:lnTo>
                  <a:pt x="253408" y="309286"/>
                </a:lnTo>
                <a:lnTo>
                  <a:pt x="232839" y="273634"/>
                </a:lnTo>
                <a:lnTo>
                  <a:pt x="204111" y="290226"/>
                </a:lnTo>
                <a:cubicBezTo>
                  <a:pt x="201780" y="287620"/>
                  <a:pt x="199312" y="285152"/>
                  <a:pt x="196638" y="282752"/>
                </a:cubicBezTo>
                <a:lnTo>
                  <a:pt x="213230" y="254025"/>
                </a:lnTo>
                <a:lnTo>
                  <a:pt x="177577" y="233456"/>
                </a:lnTo>
                <a:lnTo>
                  <a:pt x="161054" y="262115"/>
                </a:lnTo>
                <a:cubicBezTo>
                  <a:pt x="157694" y="261018"/>
                  <a:pt x="154266" y="260058"/>
                  <a:pt x="150838" y="259373"/>
                </a:cubicBezTo>
                <a:lnTo>
                  <a:pt x="150838" y="226325"/>
                </a:lnTo>
                <a:lnTo>
                  <a:pt x="109700" y="226325"/>
                </a:lnTo>
                <a:lnTo>
                  <a:pt x="109700" y="259373"/>
                </a:lnTo>
                <a:cubicBezTo>
                  <a:pt x="106272" y="260127"/>
                  <a:pt x="102844" y="261018"/>
                  <a:pt x="99484" y="262115"/>
                </a:cubicBezTo>
                <a:lnTo>
                  <a:pt x="82961" y="233456"/>
                </a:lnTo>
                <a:lnTo>
                  <a:pt x="47308" y="254025"/>
                </a:lnTo>
                <a:lnTo>
                  <a:pt x="63900" y="282752"/>
                </a:lnTo>
                <a:cubicBezTo>
                  <a:pt x="61295" y="285084"/>
                  <a:pt x="58827" y="287552"/>
                  <a:pt x="56427" y="290226"/>
                </a:cubicBezTo>
                <a:lnTo>
                  <a:pt x="27699" y="273634"/>
                </a:lnTo>
                <a:lnTo>
                  <a:pt x="7131" y="309286"/>
                </a:lnTo>
                <a:lnTo>
                  <a:pt x="35790" y="325810"/>
                </a:lnTo>
                <a:cubicBezTo>
                  <a:pt x="34693" y="329169"/>
                  <a:pt x="33733" y="332598"/>
                  <a:pt x="33047" y="336026"/>
                </a:cubicBezTo>
                <a:lnTo>
                  <a:pt x="0" y="336026"/>
                </a:lnTo>
                <a:lnTo>
                  <a:pt x="0" y="377163"/>
                </a:lnTo>
                <a:lnTo>
                  <a:pt x="33047" y="377163"/>
                </a:lnTo>
                <a:cubicBezTo>
                  <a:pt x="33801" y="380591"/>
                  <a:pt x="34693" y="384020"/>
                  <a:pt x="35790" y="387379"/>
                </a:cubicBezTo>
                <a:lnTo>
                  <a:pt x="7131" y="403903"/>
                </a:lnTo>
                <a:lnTo>
                  <a:pt x="27699" y="439555"/>
                </a:lnTo>
                <a:lnTo>
                  <a:pt x="56427" y="422963"/>
                </a:lnTo>
                <a:cubicBezTo>
                  <a:pt x="58758" y="425568"/>
                  <a:pt x="61226" y="428037"/>
                  <a:pt x="63900" y="430436"/>
                </a:cubicBezTo>
                <a:lnTo>
                  <a:pt x="47308" y="459164"/>
                </a:lnTo>
                <a:lnTo>
                  <a:pt x="82961" y="479733"/>
                </a:lnTo>
                <a:lnTo>
                  <a:pt x="99484" y="451074"/>
                </a:lnTo>
                <a:cubicBezTo>
                  <a:pt x="102844" y="452171"/>
                  <a:pt x="106272" y="453131"/>
                  <a:pt x="109700" y="453816"/>
                </a:cubicBezTo>
                <a:lnTo>
                  <a:pt x="109700" y="486864"/>
                </a:lnTo>
                <a:lnTo>
                  <a:pt x="150838" y="486864"/>
                </a:lnTo>
                <a:lnTo>
                  <a:pt x="150838" y="453816"/>
                </a:lnTo>
                <a:cubicBezTo>
                  <a:pt x="154266" y="453062"/>
                  <a:pt x="157694" y="452171"/>
                  <a:pt x="161054" y="451074"/>
                </a:cubicBezTo>
                <a:lnTo>
                  <a:pt x="177577" y="479733"/>
                </a:lnTo>
                <a:lnTo>
                  <a:pt x="213230" y="459164"/>
                </a:lnTo>
                <a:lnTo>
                  <a:pt x="196638" y="430436"/>
                </a:lnTo>
                <a:cubicBezTo>
                  <a:pt x="199243" y="428105"/>
                  <a:pt x="201711" y="425637"/>
                  <a:pt x="204111" y="422963"/>
                </a:cubicBezTo>
                <a:lnTo>
                  <a:pt x="232839" y="439555"/>
                </a:lnTo>
                <a:lnTo>
                  <a:pt x="253408" y="403903"/>
                </a:lnTo>
                <a:lnTo>
                  <a:pt x="224748" y="387379"/>
                </a:lnTo>
                <a:cubicBezTo>
                  <a:pt x="225845" y="384020"/>
                  <a:pt x="226805" y="380591"/>
                  <a:pt x="227491" y="377163"/>
                </a:cubicBezTo>
                <a:lnTo>
                  <a:pt x="260538" y="377163"/>
                </a:lnTo>
                <a:lnTo>
                  <a:pt x="260538" y="336026"/>
                </a:lnTo>
                <a:lnTo>
                  <a:pt x="227491" y="336026"/>
                </a:lnTo>
                <a:cubicBezTo>
                  <a:pt x="226737" y="332598"/>
                  <a:pt x="225845" y="329169"/>
                  <a:pt x="224748" y="325810"/>
                </a:cubicBezTo>
                <a:close/>
                <a:moveTo>
                  <a:pt x="202260" y="356594"/>
                </a:moveTo>
                <a:cubicBezTo>
                  <a:pt x="202260" y="396361"/>
                  <a:pt x="170035" y="428585"/>
                  <a:pt x="130269" y="428585"/>
                </a:cubicBezTo>
                <a:cubicBezTo>
                  <a:pt x="90503" y="428585"/>
                  <a:pt x="58278" y="396361"/>
                  <a:pt x="58278" y="356594"/>
                </a:cubicBezTo>
                <a:cubicBezTo>
                  <a:pt x="58278" y="316828"/>
                  <a:pt x="90503" y="284604"/>
                  <a:pt x="130269" y="284604"/>
                </a:cubicBezTo>
                <a:cubicBezTo>
                  <a:pt x="170035" y="284604"/>
                  <a:pt x="202191" y="316828"/>
                  <a:pt x="202260" y="356594"/>
                </a:cubicBezTo>
                <a:close/>
                <a:moveTo>
                  <a:pt x="164550" y="356594"/>
                </a:moveTo>
                <a:cubicBezTo>
                  <a:pt x="164550" y="375518"/>
                  <a:pt x="149192" y="390876"/>
                  <a:pt x="130269" y="390876"/>
                </a:cubicBezTo>
                <a:cubicBezTo>
                  <a:pt x="111346" y="390876"/>
                  <a:pt x="95988" y="375518"/>
                  <a:pt x="95988" y="356594"/>
                </a:cubicBezTo>
                <a:cubicBezTo>
                  <a:pt x="95988" y="337671"/>
                  <a:pt x="111346" y="322313"/>
                  <a:pt x="130269" y="322313"/>
                </a:cubicBezTo>
                <a:cubicBezTo>
                  <a:pt x="149192" y="322313"/>
                  <a:pt x="164550" y="337671"/>
                  <a:pt x="164550" y="356594"/>
                </a:cubicBezTo>
                <a:close/>
                <a:moveTo>
                  <a:pt x="307778" y="105655"/>
                </a:moveTo>
                <a:lnTo>
                  <a:pt x="286866" y="93588"/>
                </a:lnTo>
                <a:cubicBezTo>
                  <a:pt x="288306" y="86183"/>
                  <a:pt x="288306" y="78504"/>
                  <a:pt x="286866" y="71099"/>
                </a:cubicBezTo>
                <a:lnTo>
                  <a:pt x="307778" y="59032"/>
                </a:lnTo>
                <a:lnTo>
                  <a:pt x="287209" y="23380"/>
                </a:lnTo>
                <a:lnTo>
                  <a:pt x="266297" y="35447"/>
                </a:lnTo>
                <a:cubicBezTo>
                  <a:pt x="260538" y="30510"/>
                  <a:pt x="253956" y="26739"/>
                  <a:pt x="246826" y="24203"/>
                </a:cubicBezTo>
                <a:lnTo>
                  <a:pt x="246826" y="0"/>
                </a:lnTo>
                <a:lnTo>
                  <a:pt x="205688" y="0"/>
                </a:lnTo>
                <a:lnTo>
                  <a:pt x="205688" y="24203"/>
                </a:lnTo>
                <a:cubicBezTo>
                  <a:pt x="198557" y="26739"/>
                  <a:pt x="191975" y="30510"/>
                  <a:pt x="186216" y="35447"/>
                </a:cubicBezTo>
                <a:lnTo>
                  <a:pt x="165305" y="23380"/>
                </a:lnTo>
                <a:lnTo>
                  <a:pt x="144736" y="59032"/>
                </a:lnTo>
                <a:lnTo>
                  <a:pt x="165647" y="71099"/>
                </a:lnTo>
                <a:cubicBezTo>
                  <a:pt x="164208" y="78504"/>
                  <a:pt x="164208" y="86183"/>
                  <a:pt x="165647" y="93588"/>
                </a:cubicBezTo>
                <a:lnTo>
                  <a:pt x="144736" y="105655"/>
                </a:lnTo>
                <a:lnTo>
                  <a:pt x="165305" y="141308"/>
                </a:lnTo>
                <a:lnTo>
                  <a:pt x="186216" y="129241"/>
                </a:lnTo>
                <a:cubicBezTo>
                  <a:pt x="191975" y="134177"/>
                  <a:pt x="198557" y="137948"/>
                  <a:pt x="205688" y="140485"/>
                </a:cubicBezTo>
                <a:lnTo>
                  <a:pt x="205688" y="164688"/>
                </a:lnTo>
                <a:lnTo>
                  <a:pt x="246826" y="164688"/>
                </a:lnTo>
                <a:lnTo>
                  <a:pt x="246826" y="140485"/>
                </a:lnTo>
                <a:cubicBezTo>
                  <a:pt x="253956" y="137948"/>
                  <a:pt x="260538" y="134177"/>
                  <a:pt x="266297" y="129241"/>
                </a:cubicBezTo>
                <a:lnTo>
                  <a:pt x="287209" y="141308"/>
                </a:lnTo>
                <a:lnTo>
                  <a:pt x="307778" y="105655"/>
                </a:lnTo>
                <a:close/>
                <a:moveTo>
                  <a:pt x="226257" y="116625"/>
                </a:moveTo>
                <a:cubicBezTo>
                  <a:pt x="207334" y="116625"/>
                  <a:pt x="191975" y="101267"/>
                  <a:pt x="191975" y="82344"/>
                </a:cubicBezTo>
                <a:cubicBezTo>
                  <a:pt x="191975" y="63420"/>
                  <a:pt x="207334" y="48062"/>
                  <a:pt x="226257" y="48062"/>
                </a:cubicBezTo>
                <a:cubicBezTo>
                  <a:pt x="245180" y="48062"/>
                  <a:pt x="260538" y="63420"/>
                  <a:pt x="260538" y="82344"/>
                </a:cubicBezTo>
                <a:cubicBezTo>
                  <a:pt x="260538" y="101267"/>
                  <a:pt x="245180" y="116625"/>
                  <a:pt x="226257" y="116625"/>
                </a:cubicBezTo>
                <a:close/>
                <a:moveTo>
                  <a:pt x="637633" y="425157"/>
                </a:moveTo>
                <a:lnTo>
                  <a:pt x="466226" y="253750"/>
                </a:lnTo>
                <a:lnTo>
                  <a:pt x="466226" y="192250"/>
                </a:lnTo>
                <a:lnTo>
                  <a:pt x="427420" y="153443"/>
                </a:lnTo>
                <a:cubicBezTo>
                  <a:pt x="414050" y="140074"/>
                  <a:pt x="392316" y="140074"/>
                  <a:pt x="378946" y="153443"/>
                </a:cubicBezTo>
                <a:lnTo>
                  <a:pt x="365576" y="166813"/>
                </a:lnTo>
                <a:lnTo>
                  <a:pt x="418232" y="219469"/>
                </a:lnTo>
                <a:lnTo>
                  <a:pt x="377095" y="260607"/>
                </a:lnTo>
                <a:lnTo>
                  <a:pt x="324439" y="207951"/>
                </a:lnTo>
                <a:lnTo>
                  <a:pt x="311069" y="221320"/>
                </a:lnTo>
                <a:cubicBezTo>
                  <a:pt x="297699" y="234690"/>
                  <a:pt x="297699" y="256424"/>
                  <a:pt x="311069" y="269794"/>
                </a:cubicBezTo>
                <a:lnTo>
                  <a:pt x="349875" y="308601"/>
                </a:lnTo>
                <a:lnTo>
                  <a:pt x="411376" y="308601"/>
                </a:lnTo>
                <a:lnTo>
                  <a:pt x="582783" y="480007"/>
                </a:lnTo>
                <a:cubicBezTo>
                  <a:pt x="597935" y="495160"/>
                  <a:pt x="622480" y="495160"/>
                  <a:pt x="637633" y="480007"/>
                </a:cubicBezTo>
                <a:cubicBezTo>
                  <a:pt x="652785" y="464855"/>
                  <a:pt x="652785" y="440309"/>
                  <a:pt x="637633" y="425157"/>
                </a:cubicBezTo>
                <a:close/>
                <a:moveTo>
                  <a:pt x="610208" y="466295"/>
                </a:moveTo>
                <a:cubicBezTo>
                  <a:pt x="602666" y="466295"/>
                  <a:pt x="596495" y="460124"/>
                  <a:pt x="596495" y="452582"/>
                </a:cubicBezTo>
                <a:cubicBezTo>
                  <a:pt x="596495" y="445040"/>
                  <a:pt x="602666" y="438870"/>
                  <a:pt x="610208" y="438870"/>
                </a:cubicBezTo>
                <a:cubicBezTo>
                  <a:pt x="617750" y="438870"/>
                  <a:pt x="623920" y="445040"/>
                  <a:pt x="623920" y="452582"/>
                </a:cubicBezTo>
                <a:cubicBezTo>
                  <a:pt x="623920" y="460124"/>
                  <a:pt x="617750" y="466295"/>
                  <a:pt x="610208" y="466295"/>
                </a:cubicBezTo>
                <a:close/>
              </a:path>
            </a:pathLst>
          </a:custGeom>
          <a:solidFill>
            <a:srgbClr val="00C1B6"/>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cxnSp>
        <p:nvCxnSpPr>
          <p:cNvPr id="52" name="Straight Connector 37">
            <a:extLst>
              <a:ext uri="{FF2B5EF4-FFF2-40B4-BE49-F238E27FC236}">
                <a16:creationId xmlns:a16="http://schemas.microsoft.com/office/drawing/2014/main" id="{35447F82-4A70-DA80-34CD-D85A804D92CF}"/>
              </a:ext>
            </a:extLst>
          </p:cNvPr>
          <p:cNvCxnSpPr>
            <a:cxnSpLocks/>
          </p:cNvCxnSpPr>
          <p:nvPr/>
        </p:nvCxnSpPr>
        <p:spPr>
          <a:xfrm>
            <a:off x="1924050"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Straight Connector 39">
            <a:extLst>
              <a:ext uri="{FF2B5EF4-FFF2-40B4-BE49-F238E27FC236}">
                <a16:creationId xmlns:a16="http://schemas.microsoft.com/office/drawing/2014/main" id="{9AC5181B-7C41-38C5-103D-9F9640CB9C73}"/>
              </a:ext>
            </a:extLst>
          </p:cNvPr>
          <p:cNvCxnSpPr>
            <a:cxnSpLocks/>
          </p:cNvCxnSpPr>
          <p:nvPr/>
        </p:nvCxnSpPr>
        <p:spPr>
          <a:xfrm>
            <a:off x="4375876"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40">
            <a:extLst>
              <a:ext uri="{FF2B5EF4-FFF2-40B4-BE49-F238E27FC236}">
                <a16:creationId xmlns:a16="http://schemas.microsoft.com/office/drawing/2014/main" id="{1DC43F04-9248-8550-6F08-7A7C92B01174}"/>
              </a:ext>
            </a:extLst>
          </p:cNvPr>
          <p:cNvCxnSpPr>
            <a:cxnSpLocks/>
          </p:cNvCxnSpPr>
          <p:nvPr/>
        </p:nvCxnSpPr>
        <p:spPr>
          <a:xfrm>
            <a:off x="6824918"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41">
            <a:extLst>
              <a:ext uri="{FF2B5EF4-FFF2-40B4-BE49-F238E27FC236}">
                <a16:creationId xmlns:a16="http://schemas.microsoft.com/office/drawing/2014/main" id="{033D12F5-2B8F-A438-1357-118EE24A1D1D}"/>
              </a:ext>
            </a:extLst>
          </p:cNvPr>
          <p:cNvCxnSpPr>
            <a:cxnSpLocks/>
          </p:cNvCxnSpPr>
          <p:nvPr/>
        </p:nvCxnSpPr>
        <p:spPr>
          <a:xfrm>
            <a:off x="9269451"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 name="Rectangle 59">
            <a:extLst>
              <a:ext uri="{FF2B5EF4-FFF2-40B4-BE49-F238E27FC236}">
                <a16:creationId xmlns:a16="http://schemas.microsoft.com/office/drawing/2014/main" id="{9097A552-7F39-5926-47C5-71CEFE1B0F4F}"/>
              </a:ext>
            </a:extLst>
          </p:cNvPr>
          <p:cNvSpPr/>
          <p:nvPr/>
        </p:nvSpPr>
        <p:spPr>
          <a:xfrm>
            <a:off x="1701980" y="1294505"/>
            <a:ext cx="5020805" cy="3927107"/>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Rectangle 59">
            <a:extLst>
              <a:ext uri="{FF2B5EF4-FFF2-40B4-BE49-F238E27FC236}">
                <a16:creationId xmlns:a16="http://schemas.microsoft.com/office/drawing/2014/main" id="{B5A5902D-A311-ABA5-2716-39993AE01D53}"/>
              </a:ext>
            </a:extLst>
          </p:cNvPr>
          <p:cNvSpPr/>
          <p:nvPr/>
        </p:nvSpPr>
        <p:spPr>
          <a:xfrm>
            <a:off x="9216571" y="1294505"/>
            <a:ext cx="2699955" cy="3927107"/>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Tree>
    <p:extLst>
      <p:ext uri="{BB962C8B-B14F-4D97-AF65-F5344CB8AC3E}">
        <p14:creationId xmlns:p14="http://schemas.microsoft.com/office/powerpoint/2010/main" val="18566695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E594D-4039-40E9-5FFC-0C0F8A5F6886}"/>
            </a:ext>
          </a:extLst>
        </p:cNvPr>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FC30C526-DC2C-9283-1877-8A1B3D5EF7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52" name="think-cell data - do not delete" hidden="1">
                        <a:extLst>
                          <a:ext uri="{FF2B5EF4-FFF2-40B4-BE49-F238E27FC236}">
                            <a16:creationId xmlns:a16="http://schemas.microsoft.com/office/drawing/2014/main" id="{FC30C526-DC2C-9283-1877-8A1B3D5EF7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F790134-7E62-A5A9-C7A3-ECA2E335324F}"/>
              </a:ext>
            </a:extLst>
          </p:cNvPr>
          <p:cNvSpPr>
            <a:spLocks noGrp="1"/>
          </p:cNvSpPr>
          <p:nvPr>
            <p:ph type="title"/>
          </p:nvPr>
        </p:nvSpPr>
        <p:spPr/>
        <p:txBody>
          <a:bodyPr vert="horz"/>
          <a:lstStyle/>
          <a:p>
            <a:r>
              <a:rPr lang="en-US"/>
              <a:t>Software-Defined</a:t>
            </a:r>
            <a:r>
              <a:rPr lang="en-US" b="0"/>
              <a:t> </a:t>
            </a:r>
            <a:r>
              <a:rPr lang="en-US"/>
              <a:t>Automation</a:t>
            </a:r>
            <a:r>
              <a:rPr lang="en-US" sz="2000" b="1"/>
              <a:t> comprises </a:t>
            </a:r>
            <a:r>
              <a:rPr lang="en-US"/>
              <a:t>four key</a:t>
            </a:r>
            <a:r>
              <a:rPr lang="en-US" sz="2000" b="1"/>
              <a:t> elements</a:t>
            </a:r>
            <a:endParaRPr lang="en-US" b="0"/>
          </a:p>
        </p:txBody>
      </p:sp>
      <p:sp>
        <p:nvSpPr>
          <p:cNvPr id="4" name="Footer Placeholder 3">
            <a:extLst>
              <a:ext uri="{FF2B5EF4-FFF2-40B4-BE49-F238E27FC236}">
                <a16:creationId xmlns:a16="http://schemas.microsoft.com/office/drawing/2014/main" id="{88B0DF0B-C9AB-9AC2-CD2C-1FF288284E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Unrestricted | © Siemens 2025 | Raghav Tripathi</a:t>
            </a:r>
          </a:p>
        </p:txBody>
      </p:sp>
      <p:sp>
        <p:nvSpPr>
          <p:cNvPr id="6" name="Rectangle 165">
            <a:extLst>
              <a:ext uri="{FF2B5EF4-FFF2-40B4-BE49-F238E27FC236}">
                <a16:creationId xmlns:a16="http://schemas.microsoft.com/office/drawing/2014/main" id="{C8762E5D-FED5-AD97-53C8-60DBEE587609}"/>
              </a:ext>
            </a:extLst>
          </p:cNvPr>
          <p:cNvSpPr>
            <a:spLocks/>
          </p:cNvSpPr>
          <p:nvPr/>
        </p:nvSpPr>
        <p:spPr>
          <a:xfrm>
            <a:off x="4520082"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pPr>
            <a:r>
              <a:rPr lang="en-US" sz="1200" kern="1200">
                <a:solidFill>
                  <a:prstClr val="white"/>
                </a:solidFill>
                <a:cs typeface="Arial"/>
              </a:rPr>
              <a:t>PCS neo engineering </a:t>
            </a:r>
            <a:br>
              <a:rPr lang="en-US" sz="1200" kern="1200">
                <a:solidFill>
                  <a:prstClr val="white"/>
                </a:solidFill>
                <a:cs typeface="Arial"/>
              </a:rPr>
            </a:br>
            <a:r>
              <a:rPr lang="en-US" sz="1200" kern="1200">
                <a:solidFill>
                  <a:prstClr val="white"/>
                </a:solidFill>
                <a:cs typeface="Arial"/>
              </a:rPr>
              <a:t>in the cloud</a:t>
            </a:r>
          </a:p>
        </p:txBody>
      </p:sp>
      <p:sp>
        <p:nvSpPr>
          <p:cNvPr id="16" name="Rectangle 27">
            <a:extLst>
              <a:ext uri="{FF2B5EF4-FFF2-40B4-BE49-F238E27FC236}">
                <a16:creationId xmlns:a16="http://schemas.microsoft.com/office/drawing/2014/main" id="{0B9D90EB-8D74-60C1-0E76-DD600FCBDAB5}"/>
              </a:ext>
            </a:extLst>
          </p:cNvPr>
          <p:cNvSpPr>
            <a:spLocks/>
          </p:cNvSpPr>
          <p:nvPr/>
        </p:nvSpPr>
        <p:spPr>
          <a:xfrm>
            <a:off x="6966343"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defRPr/>
            </a:pPr>
            <a:r>
              <a:rPr lang="en-US" sz="1200" kern="1200">
                <a:solidFill>
                  <a:prstClr val="white"/>
                </a:solidFill>
                <a:cs typeface="Arial"/>
              </a:rPr>
              <a:t>DCS Co-Pilo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0">
            <a:extLst>
              <a:ext uri="{FF2B5EF4-FFF2-40B4-BE49-F238E27FC236}">
                <a16:creationId xmlns:a16="http://schemas.microsoft.com/office/drawing/2014/main" id="{FEF31380-67E2-D1F6-CD48-85427BB9C4EE}"/>
              </a:ext>
            </a:extLst>
          </p:cNvPr>
          <p:cNvSpPr txBox="1">
            <a:spLocks noChangeAspect="1"/>
          </p:cNvSpPr>
          <p:nvPr/>
        </p:nvSpPr>
        <p:spPr>
          <a:xfrm>
            <a:off x="411163" y="4421788"/>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Siemens Portfolio</a:t>
            </a:r>
          </a:p>
        </p:txBody>
      </p:sp>
      <p:sp>
        <p:nvSpPr>
          <p:cNvPr id="27" name="Rechteck 51">
            <a:extLst>
              <a:ext uri="{FF2B5EF4-FFF2-40B4-BE49-F238E27FC236}">
                <a16:creationId xmlns:a16="http://schemas.microsoft.com/office/drawing/2014/main" id="{29AF5624-3E01-486C-3C53-7CE78211DC73}"/>
              </a:ext>
            </a:extLst>
          </p:cNvPr>
          <p:cNvSpPr>
            <a:spLocks/>
          </p:cNvSpPr>
          <p:nvPr/>
        </p:nvSpPr>
        <p:spPr>
          <a:xfrm>
            <a:off x="2071043" y="1417050"/>
            <a:ext cx="2304833"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IT-like </a:t>
            </a: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Engineering</a:t>
            </a:r>
            <a:endParaRPr kumimoji="0" lang="en-US" sz="1800" b="1" i="0" u="none" strike="noStrike" kern="1200" cap="none" spc="0" normalizeH="0" baseline="0" noProof="0">
              <a:ln>
                <a:noFill/>
              </a:ln>
              <a:solidFill>
                <a:schemeClr val="tx1"/>
              </a:solidFill>
              <a:effectLst/>
              <a:uLnTx/>
              <a:uFillTx/>
              <a:latin typeface="Arial"/>
              <a:ea typeface="+mn-ea"/>
              <a:cs typeface="+mn-cs"/>
            </a:endParaRPr>
          </a:p>
        </p:txBody>
      </p:sp>
      <p:sp>
        <p:nvSpPr>
          <p:cNvPr id="30" name="Rechteck 53">
            <a:extLst>
              <a:ext uri="{FF2B5EF4-FFF2-40B4-BE49-F238E27FC236}">
                <a16:creationId xmlns:a16="http://schemas.microsoft.com/office/drawing/2014/main" id="{2C4E156B-F0CC-422D-1476-47E43BA74F1A}"/>
              </a:ext>
            </a:extLst>
          </p:cNvPr>
          <p:cNvSpPr>
            <a:spLocks/>
          </p:cNvSpPr>
          <p:nvPr/>
        </p:nvSpPr>
        <p:spPr>
          <a:xfrm>
            <a:off x="6969123" y="1417050"/>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a:solidFill>
                  <a:prstClr val="white"/>
                </a:solidFill>
                <a:latin typeface="Arial"/>
              </a:rPr>
              <a:t>Intelligent Operations</a:t>
            </a:r>
            <a:endParaRPr kumimoji="0" lang="en-US" sz="1800" b="1" i="0" u="none" strike="noStrike" kern="1200" cap="none" spc="0" normalizeH="0" baseline="0" noProof="0">
              <a:ln>
                <a:noFill/>
              </a:ln>
              <a:solidFill>
                <a:prstClr val="white"/>
              </a:solidFill>
              <a:effectLst/>
              <a:uLnTx/>
              <a:uFillTx/>
              <a:latin typeface="Arial"/>
            </a:endParaRPr>
          </a:p>
        </p:txBody>
      </p:sp>
      <p:sp>
        <p:nvSpPr>
          <p:cNvPr id="31" name="Rechteck 52">
            <a:extLst>
              <a:ext uri="{FF2B5EF4-FFF2-40B4-BE49-F238E27FC236}">
                <a16:creationId xmlns:a16="http://schemas.microsoft.com/office/drawing/2014/main" id="{F6DACB2D-62B8-7AFD-F7ED-C5D4EF17855C}"/>
              </a:ext>
            </a:extLst>
          </p:cNvPr>
          <p:cNvSpPr>
            <a:spLocks/>
          </p:cNvSpPr>
          <p:nvPr/>
        </p:nvSpPr>
        <p:spPr>
          <a:xfrm>
            <a:off x="4520083"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Cloud &amp; Virtualizatio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20">
            <a:extLst>
              <a:ext uri="{FF2B5EF4-FFF2-40B4-BE49-F238E27FC236}">
                <a16:creationId xmlns:a16="http://schemas.microsoft.com/office/drawing/2014/main" id="{D5FF11BD-9071-E69E-4ECE-C006CA3FF057}"/>
              </a:ext>
            </a:extLst>
          </p:cNvPr>
          <p:cNvSpPr txBox="1">
            <a:spLocks noChangeAspect="1"/>
          </p:cNvSpPr>
          <p:nvPr/>
        </p:nvSpPr>
        <p:spPr>
          <a:xfrm>
            <a:off x="410400" y="2243136"/>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Explanation</a:t>
            </a:r>
          </a:p>
        </p:txBody>
      </p:sp>
      <p:sp>
        <p:nvSpPr>
          <p:cNvPr id="38" name="TextBox 20">
            <a:extLst>
              <a:ext uri="{FF2B5EF4-FFF2-40B4-BE49-F238E27FC236}">
                <a16:creationId xmlns:a16="http://schemas.microsoft.com/office/drawing/2014/main" id="{540DD931-79B1-49B8-119F-598CA426198F}"/>
              </a:ext>
            </a:extLst>
          </p:cNvPr>
          <p:cNvSpPr txBox="1">
            <a:spLocks/>
          </p:cNvSpPr>
          <p:nvPr/>
        </p:nvSpPr>
        <p:spPr>
          <a:xfrm>
            <a:off x="207104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W development principles, applied to industrial automation</a:t>
            </a:r>
          </a:p>
        </p:txBody>
      </p:sp>
      <p:sp>
        <p:nvSpPr>
          <p:cNvPr id="39" name="TextBox 13">
            <a:extLst>
              <a:ext uri="{FF2B5EF4-FFF2-40B4-BE49-F238E27FC236}">
                <a16:creationId xmlns:a16="http://schemas.microsoft.com/office/drawing/2014/main" id="{0F5934C8-AD75-B99D-2909-9D18E7FCC539}"/>
              </a:ext>
            </a:extLst>
          </p:cNvPr>
          <p:cNvSpPr txBox="1">
            <a:spLocks/>
          </p:cNvSpPr>
          <p:nvPr/>
        </p:nvSpPr>
        <p:spPr>
          <a:xfrm>
            <a:off x="452008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Decoupling fixed hardware from automation </a:t>
            </a:r>
            <a:r>
              <a:rPr lang="en-US" sz="1200" kern="1200">
                <a:solidFill>
                  <a:prstClr val="white"/>
                </a:solidFill>
                <a:latin typeface="Arial"/>
                <a:ea typeface="+mn-ea"/>
                <a:cs typeface="Arial"/>
              </a:rPr>
              <a:t>s</a:t>
            </a:r>
            <a:r>
              <a:rPr kumimoji="0" lang="en-US" sz="1200" b="0" i="0" u="none" strike="noStrike" kern="1200" cap="none" spc="0" normalizeH="0" baseline="0" noProof="0" err="1">
                <a:ln>
                  <a:noFill/>
                </a:ln>
                <a:solidFill>
                  <a:prstClr val="white"/>
                </a:solidFill>
                <a:effectLst/>
                <a:uLnTx/>
                <a:uFillTx/>
                <a:latin typeface="Arial"/>
                <a:ea typeface="+mn-ea"/>
                <a:cs typeface="Arial"/>
              </a:rPr>
              <a:t>oftware</a:t>
            </a:r>
            <a:r>
              <a:rPr kumimoji="0" lang="en-US" sz="1200" b="0" i="0" u="none" strike="noStrike" kern="1200" cap="none" spc="0" normalizeH="0" baseline="0" noProof="0">
                <a:ln>
                  <a:noFill/>
                </a:ln>
                <a:solidFill>
                  <a:prstClr val="white"/>
                </a:solidFill>
                <a:effectLst/>
                <a:uLnTx/>
                <a:uFillTx/>
                <a:latin typeface="Arial"/>
                <a:ea typeface="+mn-ea"/>
                <a:cs typeface="Arial"/>
              </a:rPr>
              <a:t> </a:t>
            </a:r>
          </a:p>
        </p:txBody>
      </p:sp>
      <p:sp>
        <p:nvSpPr>
          <p:cNvPr id="40" name="TextBox 20">
            <a:extLst>
              <a:ext uri="{FF2B5EF4-FFF2-40B4-BE49-F238E27FC236}">
                <a16:creationId xmlns:a16="http://schemas.microsoft.com/office/drawing/2014/main" id="{C2353245-E14A-6664-60C5-EA96BCE4DBC2}"/>
              </a:ext>
            </a:extLst>
          </p:cNvPr>
          <p:cNvSpPr txBox="1">
            <a:spLocks/>
          </p:cNvSpPr>
          <p:nvPr/>
        </p:nvSpPr>
        <p:spPr>
          <a:xfrm>
            <a:off x="696912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mart solutions that build upon Software-</a:t>
            </a:r>
            <a:r>
              <a:rPr lang="en-US" sz="1200" kern="1200">
                <a:solidFill>
                  <a:prstClr val="white"/>
                </a:solidFill>
                <a:latin typeface="Arial"/>
                <a:ea typeface="+mn-ea"/>
                <a:cs typeface="Arial"/>
              </a:rPr>
              <a:t>D</a:t>
            </a:r>
            <a:r>
              <a:rPr kumimoji="0" lang="en-US" sz="1200" i="0" u="none" strike="noStrike" kern="1200" cap="none" spc="0" normalizeH="0" baseline="0" noProof="0" err="1">
                <a:ln>
                  <a:noFill/>
                </a:ln>
                <a:solidFill>
                  <a:prstClr val="white"/>
                </a:solidFill>
                <a:effectLst/>
                <a:uLnTx/>
                <a:uFillTx/>
                <a:latin typeface="Arial"/>
                <a:ea typeface="+mn-ea"/>
                <a:cs typeface="Arial"/>
              </a:rPr>
              <a:t>efined</a:t>
            </a:r>
            <a:r>
              <a:rPr kumimoji="0" lang="en-US" sz="1200" i="0" u="none" strike="noStrike" kern="1200" cap="none" spc="0" normalizeH="0" baseline="0" noProof="0">
                <a:ln>
                  <a:noFill/>
                </a:ln>
                <a:solidFill>
                  <a:prstClr val="white"/>
                </a:solidFill>
                <a:effectLst/>
                <a:uLnTx/>
                <a:uFillTx/>
                <a:latin typeface="Arial"/>
                <a:ea typeface="+mn-ea"/>
                <a:cs typeface="Arial"/>
              </a:rPr>
              <a:t> </a:t>
            </a:r>
            <a:r>
              <a:rPr lang="en-US" sz="1200" kern="1200">
                <a:solidFill>
                  <a:prstClr val="white"/>
                </a:solidFill>
                <a:latin typeface="Arial"/>
                <a:ea typeface="+mn-ea"/>
                <a:cs typeface="Arial"/>
              </a:rPr>
              <a:t>A</a:t>
            </a:r>
            <a:r>
              <a:rPr kumimoji="0" lang="en-US" sz="1200" i="0" u="none" strike="noStrike" kern="1200" cap="none" spc="0" normalizeH="0" baseline="0" noProof="0" err="1">
                <a:ln>
                  <a:noFill/>
                </a:ln>
                <a:solidFill>
                  <a:prstClr val="white"/>
                </a:solidFill>
                <a:effectLst/>
                <a:uLnTx/>
                <a:uFillTx/>
                <a:latin typeface="Arial"/>
                <a:ea typeface="+mn-ea"/>
                <a:cs typeface="Arial"/>
              </a:rPr>
              <a:t>utomation</a:t>
            </a:r>
            <a:endParaRPr kumimoji="0" lang="en-US" sz="1200" i="0" u="none" strike="noStrike" kern="1200" cap="none" spc="0" normalizeH="0" baseline="0" noProof="0">
              <a:ln>
                <a:noFill/>
              </a:ln>
              <a:solidFill>
                <a:prstClr val="white"/>
              </a:solidFill>
              <a:effectLst/>
              <a:uLnTx/>
              <a:uFillTx/>
              <a:latin typeface="Arial"/>
              <a:ea typeface="+mn-ea"/>
              <a:cs typeface="Arial"/>
            </a:endParaRPr>
          </a:p>
        </p:txBody>
      </p:sp>
      <p:sp>
        <p:nvSpPr>
          <p:cNvPr id="41" name="Rechteck 52">
            <a:extLst>
              <a:ext uri="{FF2B5EF4-FFF2-40B4-BE49-F238E27FC236}">
                <a16:creationId xmlns:a16="http://schemas.microsoft.com/office/drawing/2014/main" id="{37122E7D-7AFA-7A00-2CC5-63DF5E917F7C}"/>
              </a:ext>
            </a:extLst>
          </p:cNvPr>
          <p:cNvSpPr>
            <a:spLocks/>
          </p:cNvSpPr>
          <p:nvPr/>
        </p:nvSpPr>
        <p:spPr>
          <a:xfrm>
            <a:off x="410400" y="5279668"/>
            <a:ext cx="11384805" cy="527408"/>
          </a:xfrm>
          <a:prstGeom prst="rect">
            <a:avLst/>
          </a:prstGeom>
          <a:solidFill>
            <a:srgbClr val="333353"/>
          </a:solidFill>
        </p:spPr>
        <p:txBody>
          <a:bodyPr wrap="square" lIns="72000" tIns="72000" rIns="72000" bIns="72000" anchor="ctr">
            <a:noAutofit/>
          </a:bodyPr>
          <a:lstStyle/>
          <a:p>
            <a:pPr lvl="0" algn="ctr" rtl="0">
              <a:buClrTx/>
              <a:defRPr/>
            </a:pPr>
            <a:r>
              <a:rPr lang="en-US" sz="2000" b="1" kern="1200">
                <a:solidFill>
                  <a:schemeClr val="tx1"/>
                </a:solidFill>
                <a:latin typeface="Arial"/>
                <a:ea typeface="+mn-ea"/>
                <a:cs typeface="Arial"/>
              </a:rPr>
              <a:t>Cybersecurity offering as strong protection layer for the software-based production</a:t>
            </a:r>
            <a:endParaRPr kumimoji="0" lang="en-US" sz="2000" b="1" i="0" u="none" strike="noStrike" kern="1200" cap="none" spc="0" normalizeH="0" baseline="0" noProof="0">
              <a:ln>
                <a:noFill/>
              </a:ln>
              <a:solidFill>
                <a:schemeClr val="tx1"/>
              </a:solidFill>
              <a:effectLst/>
              <a:uLnTx/>
              <a:uFillTx/>
              <a:latin typeface="Arial"/>
              <a:ea typeface="+mn-ea"/>
              <a:cs typeface="Arial"/>
            </a:endParaRPr>
          </a:p>
        </p:txBody>
      </p:sp>
      <p:sp>
        <p:nvSpPr>
          <p:cNvPr id="42" name="Freeform 5">
            <a:extLst>
              <a:ext uri="{FF2B5EF4-FFF2-40B4-BE49-F238E27FC236}">
                <a16:creationId xmlns:a16="http://schemas.microsoft.com/office/drawing/2014/main" id="{3B1248C0-5B3B-4417-0DC7-128458F3194B}"/>
              </a:ext>
            </a:extLst>
          </p:cNvPr>
          <p:cNvSpPr>
            <a:spLocks/>
          </p:cNvSpPr>
          <p:nvPr/>
        </p:nvSpPr>
        <p:spPr bwMode="auto">
          <a:xfrm>
            <a:off x="2071042" y="3019766"/>
            <a:ext cx="645283" cy="553998"/>
          </a:xfrm>
          <a:custGeom>
            <a:avLst/>
            <a:gdLst>
              <a:gd name="T0" fmla="*/ 48 w 84"/>
              <a:gd name="T1" fmla="*/ 0 h 72"/>
              <a:gd name="T2" fmla="*/ 12 w 84"/>
              <a:gd name="T3" fmla="*/ 36 h 72"/>
              <a:gd name="T4" fmla="*/ 0 w 84"/>
              <a:gd name="T5" fmla="*/ 36 h 72"/>
              <a:gd name="T6" fmla="*/ 16 w 84"/>
              <a:gd name="T7" fmla="*/ 56 h 72"/>
              <a:gd name="T8" fmla="*/ 32 w 84"/>
              <a:gd name="T9" fmla="*/ 36 h 72"/>
              <a:gd name="T10" fmla="*/ 20 w 84"/>
              <a:gd name="T11" fmla="*/ 36 h 72"/>
              <a:gd name="T12" fmla="*/ 48 w 84"/>
              <a:gd name="T13" fmla="*/ 8 h 72"/>
              <a:gd name="T14" fmla="*/ 76 w 84"/>
              <a:gd name="T15" fmla="*/ 36 h 72"/>
              <a:gd name="T16" fmla="*/ 48 w 84"/>
              <a:gd name="T17" fmla="*/ 64 h 72"/>
              <a:gd name="T18" fmla="*/ 33 w 84"/>
              <a:gd name="T19" fmla="*/ 60 h 72"/>
              <a:gd name="T20" fmla="*/ 28 w 84"/>
              <a:gd name="T21" fmla="*/ 66 h 72"/>
              <a:gd name="T22" fmla="*/ 48 w 84"/>
              <a:gd name="T23" fmla="*/ 72 h 72"/>
              <a:gd name="T24" fmla="*/ 84 w 84"/>
              <a:gd name="T25" fmla="*/ 36 h 72"/>
              <a:gd name="T26" fmla="*/ 48 w 84"/>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2">
                <a:moveTo>
                  <a:pt x="48" y="0"/>
                </a:moveTo>
                <a:cubicBezTo>
                  <a:pt x="28" y="0"/>
                  <a:pt x="12" y="16"/>
                  <a:pt x="12" y="36"/>
                </a:cubicBezTo>
                <a:cubicBezTo>
                  <a:pt x="0" y="36"/>
                  <a:pt x="0" y="36"/>
                  <a:pt x="0" y="36"/>
                </a:cubicBezTo>
                <a:cubicBezTo>
                  <a:pt x="16" y="56"/>
                  <a:pt x="16" y="56"/>
                  <a:pt x="16" y="56"/>
                </a:cubicBezTo>
                <a:cubicBezTo>
                  <a:pt x="32" y="36"/>
                  <a:pt x="32" y="36"/>
                  <a:pt x="32" y="36"/>
                </a:cubicBezTo>
                <a:cubicBezTo>
                  <a:pt x="20" y="36"/>
                  <a:pt x="20" y="36"/>
                  <a:pt x="20" y="36"/>
                </a:cubicBezTo>
                <a:cubicBezTo>
                  <a:pt x="20" y="21"/>
                  <a:pt x="33" y="8"/>
                  <a:pt x="48" y="8"/>
                </a:cubicBezTo>
                <a:cubicBezTo>
                  <a:pt x="63" y="8"/>
                  <a:pt x="76" y="21"/>
                  <a:pt x="76" y="36"/>
                </a:cubicBezTo>
                <a:cubicBezTo>
                  <a:pt x="76" y="51"/>
                  <a:pt x="63" y="64"/>
                  <a:pt x="48" y="64"/>
                </a:cubicBezTo>
                <a:cubicBezTo>
                  <a:pt x="43" y="64"/>
                  <a:pt x="38" y="62"/>
                  <a:pt x="33" y="60"/>
                </a:cubicBezTo>
                <a:cubicBezTo>
                  <a:pt x="28" y="66"/>
                  <a:pt x="28" y="66"/>
                  <a:pt x="28" y="66"/>
                </a:cubicBezTo>
                <a:cubicBezTo>
                  <a:pt x="34" y="70"/>
                  <a:pt x="41" y="72"/>
                  <a:pt x="48" y="72"/>
                </a:cubicBezTo>
                <a:cubicBezTo>
                  <a:pt x="68" y="72"/>
                  <a:pt x="84" y="56"/>
                  <a:pt x="84" y="36"/>
                </a:cubicBezTo>
                <a:cubicBezTo>
                  <a:pt x="84" y="16"/>
                  <a:pt x="68" y="0"/>
                  <a:pt x="48" y="0"/>
                </a:cubicBezTo>
                <a:close/>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eck 49">
            <a:extLst>
              <a:ext uri="{FF2B5EF4-FFF2-40B4-BE49-F238E27FC236}">
                <a16:creationId xmlns:a16="http://schemas.microsoft.com/office/drawing/2014/main" id="{2002B1ED-9A53-DED9-0653-438E35B78F9A}"/>
              </a:ext>
            </a:extLst>
          </p:cNvPr>
          <p:cNvSpPr>
            <a:spLocks/>
          </p:cNvSpPr>
          <p:nvPr/>
        </p:nvSpPr>
        <p:spPr>
          <a:xfrm>
            <a:off x="9418164"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l" rtl="0">
              <a:buClrTx/>
              <a:defRPr/>
            </a:pPr>
            <a:r>
              <a:rPr lang="en-US" b="1" kern="1200">
                <a:latin typeface="Arial"/>
              </a:rPr>
              <a:t>Dynamic </a:t>
            </a:r>
            <a:r>
              <a:rPr lang="en-US" b="1" kern="1200">
                <a:solidFill>
                  <a:schemeClr val="tx1"/>
                </a:solidFill>
                <a:latin typeface="Arial"/>
              </a:rPr>
              <a:t>Lifecycle Management</a:t>
            </a:r>
            <a:endParaRPr kumimoji="0" lang="en-US" sz="1800" b="1" i="0" u="none" strike="noStrike" kern="1200" cap="none" spc="0" normalizeH="0" baseline="0" noProof="0">
              <a:ln>
                <a:noFill/>
              </a:ln>
              <a:solidFill>
                <a:schemeClr val="tx1"/>
              </a:solidFill>
              <a:effectLst/>
              <a:uLnTx/>
              <a:uFillTx/>
              <a:latin typeface="Arial"/>
            </a:endParaRPr>
          </a:p>
        </p:txBody>
      </p:sp>
      <p:sp>
        <p:nvSpPr>
          <p:cNvPr id="44" name="TextBox 20">
            <a:extLst>
              <a:ext uri="{FF2B5EF4-FFF2-40B4-BE49-F238E27FC236}">
                <a16:creationId xmlns:a16="http://schemas.microsoft.com/office/drawing/2014/main" id="{3E37FED4-026B-AD3D-BB3E-2CB78B495229}"/>
              </a:ext>
            </a:extLst>
          </p:cNvPr>
          <p:cNvSpPr txBox="1">
            <a:spLocks/>
          </p:cNvSpPr>
          <p:nvPr/>
        </p:nvSpPr>
        <p:spPr>
          <a:xfrm>
            <a:off x="9418164" y="2223475"/>
            <a:ext cx="2151609" cy="36933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Management</a:t>
            </a:r>
            <a:br>
              <a:rPr kumimoji="0" lang="en-US" sz="1200" b="0" i="0" u="none" strike="noStrike" kern="1200" cap="none" spc="0" normalizeH="0" baseline="0" noProof="0">
                <a:ln>
                  <a:noFill/>
                </a:ln>
                <a:solidFill>
                  <a:prstClr val="white"/>
                </a:solidFill>
                <a:effectLst/>
                <a:uLnTx/>
                <a:uFillTx/>
                <a:latin typeface="Arial"/>
                <a:ea typeface="+mn-ea"/>
                <a:cs typeface="Arial"/>
              </a:rPr>
            </a:br>
            <a:r>
              <a:rPr kumimoji="0" lang="en-US" sz="1200" b="0" i="0" u="none" strike="noStrike" kern="1200" cap="none" spc="0" normalizeH="0" baseline="0" noProof="0">
                <a:ln>
                  <a:noFill/>
                </a:ln>
                <a:solidFill>
                  <a:prstClr val="white"/>
                </a:solidFill>
                <a:effectLst/>
                <a:uLnTx/>
                <a:uFillTx/>
                <a:latin typeface="Arial"/>
                <a:ea typeface="+mn-ea"/>
                <a:cs typeface="Arial"/>
              </a:rPr>
              <a:t>&amp;</a:t>
            </a:r>
            <a:r>
              <a:rPr lang="en-US" sz="1200" kern="1200">
                <a:solidFill>
                  <a:prstClr val="white"/>
                </a:solidFill>
                <a:latin typeface="Arial"/>
                <a:ea typeface="+mn-ea"/>
                <a:cs typeface="Arial"/>
              </a:rPr>
              <a:t> </a:t>
            </a:r>
            <a:r>
              <a:rPr kumimoji="0" lang="en-US" sz="1200" b="0" i="0" u="none" strike="noStrike" kern="1200" cap="none" spc="0" normalizeH="0" baseline="0" noProof="0">
                <a:ln>
                  <a:noFill/>
                </a:ln>
                <a:solidFill>
                  <a:prstClr val="white"/>
                </a:solidFill>
                <a:effectLst/>
                <a:uLnTx/>
                <a:uFillTx/>
                <a:latin typeface="Arial"/>
                <a:ea typeface="+mn-ea"/>
                <a:cs typeface="Arial"/>
              </a:rPr>
              <a:t>Deployment infrastructure</a:t>
            </a:r>
          </a:p>
        </p:txBody>
      </p:sp>
      <p:sp>
        <p:nvSpPr>
          <p:cNvPr id="45" name="Freeform 6">
            <a:extLst>
              <a:ext uri="{FF2B5EF4-FFF2-40B4-BE49-F238E27FC236}">
                <a16:creationId xmlns:a16="http://schemas.microsoft.com/office/drawing/2014/main" id="{1AAE0EAC-68A6-DF4D-F540-DF10F962C1F9}"/>
              </a:ext>
            </a:extLst>
          </p:cNvPr>
          <p:cNvSpPr>
            <a:spLocks noChangeAspect="1" noEditPoints="1"/>
          </p:cNvSpPr>
          <p:nvPr/>
        </p:nvSpPr>
        <p:spPr bwMode="auto">
          <a:xfrm>
            <a:off x="9418163" y="3021499"/>
            <a:ext cx="404423" cy="550287"/>
          </a:xfrm>
          <a:custGeom>
            <a:avLst/>
            <a:gdLst>
              <a:gd name="T0" fmla="*/ 1892 w 2362"/>
              <a:gd name="T1" fmla="*/ 0 h 3213"/>
              <a:gd name="T2" fmla="*/ 1892 w 2362"/>
              <a:gd name="T3" fmla="*/ 475 h 3213"/>
              <a:gd name="T4" fmla="*/ 470 w 2362"/>
              <a:gd name="T5" fmla="*/ 475 h 3213"/>
              <a:gd name="T6" fmla="*/ 470 w 2362"/>
              <a:gd name="T7" fmla="*/ 0 h 3213"/>
              <a:gd name="T8" fmla="*/ 0 w 2362"/>
              <a:gd name="T9" fmla="*/ 0 h 3213"/>
              <a:gd name="T10" fmla="*/ 0 w 2362"/>
              <a:gd name="T11" fmla="*/ 3213 h 3213"/>
              <a:gd name="T12" fmla="*/ 2362 w 2362"/>
              <a:gd name="T13" fmla="*/ 3213 h 3213"/>
              <a:gd name="T14" fmla="*/ 2362 w 2362"/>
              <a:gd name="T15" fmla="*/ 0 h 3213"/>
              <a:gd name="T16" fmla="*/ 1892 w 2362"/>
              <a:gd name="T17" fmla="*/ 0 h 3213"/>
              <a:gd name="T18" fmla="*/ 756 w 2362"/>
              <a:gd name="T19" fmla="*/ 2646 h 3213"/>
              <a:gd name="T20" fmla="*/ 378 w 2362"/>
              <a:gd name="T21" fmla="*/ 2646 h 3213"/>
              <a:gd name="T22" fmla="*/ 378 w 2362"/>
              <a:gd name="T23" fmla="*/ 2268 h 3213"/>
              <a:gd name="T24" fmla="*/ 756 w 2362"/>
              <a:gd name="T25" fmla="*/ 2268 h 3213"/>
              <a:gd name="T26" fmla="*/ 756 w 2362"/>
              <a:gd name="T27" fmla="*/ 2646 h 3213"/>
              <a:gd name="T28" fmla="*/ 756 w 2362"/>
              <a:gd name="T29" fmla="*/ 1607 h 3213"/>
              <a:gd name="T30" fmla="*/ 378 w 2362"/>
              <a:gd name="T31" fmla="*/ 1607 h 3213"/>
              <a:gd name="T32" fmla="*/ 378 w 2362"/>
              <a:gd name="T33" fmla="*/ 1229 h 3213"/>
              <a:gd name="T34" fmla="*/ 756 w 2362"/>
              <a:gd name="T35" fmla="*/ 1229 h 3213"/>
              <a:gd name="T36" fmla="*/ 756 w 2362"/>
              <a:gd name="T37" fmla="*/ 1607 h 3213"/>
              <a:gd name="T38" fmla="*/ 1423 w 2362"/>
              <a:gd name="T39" fmla="*/ 2786 h 3213"/>
              <a:gd name="T40" fmla="*/ 1067 w 2362"/>
              <a:gd name="T41" fmla="*/ 2430 h 3213"/>
              <a:gd name="T42" fmla="*/ 1172 w 2362"/>
              <a:gd name="T43" fmla="*/ 2324 h 3213"/>
              <a:gd name="T44" fmla="*/ 1400 w 2362"/>
              <a:gd name="T45" fmla="*/ 2522 h 3213"/>
              <a:gd name="T46" fmla="*/ 1980 w 2362"/>
              <a:gd name="T47" fmla="*/ 2019 h 3213"/>
              <a:gd name="T48" fmla="*/ 2085 w 2362"/>
              <a:gd name="T49" fmla="*/ 2124 h 3213"/>
              <a:gd name="T50" fmla="*/ 1423 w 2362"/>
              <a:gd name="T51" fmla="*/ 2786 h 3213"/>
              <a:gd name="T52" fmla="*/ 1423 w 2362"/>
              <a:gd name="T53" fmla="*/ 1747 h 3213"/>
              <a:gd name="T54" fmla="*/ 1067 w 2362"/>
              <a:gd name="T55" fmla="*/ 1390 h 3213"/>
              <a:gd name="T56" fmla="*/ 1172 w 2362"/>
              <a:gd name="T57" fmla="*/ 1285 h 3213"/>
              <a:gd name="T58" fmla="*/ 1400 w 2362"/>
              <a:gd name="T59" fmla="*/ 1483 h 3213"/>
              <a:gd name="T60" fmla="*/ 1980 w 2362"/>
              <a:gd name="T61" fmla="*/ 979 h 3213"/>
              <a:gd name="T62" fmla="*/ 2085 w 2362"/>
              <a:gd name="T63" fmla="*/ 1085 h 3213"/>
              <a:gd name="T64" fmla="*/ 1423 w 2362"/>
              <a:gd name="T65" fmla="*/ 1747 h 3213"/>
              <a:gd name="T66" fmla="*/ 1698 w 2362"/>
              <a:gd name="T67" fmla="*/ 281 h 3213"/>
              <a:gd name="T68" fmla="*/ 664 w 2362"/>
              <a:gd name="T69" fmla="*/ 281 h 3213"/>
              <a:gd name="T70" fmla="*/ 664 w 2362"/>
              <a:gd name="T71" fmla="*/ 0 h 3213"/>
              <a:gd name="T72" fmla="*/ 1698 w 2362"/>
              <a:gd name="T73" fmla="*/ 0 h 3213"/>
              <a:gd name="T74" fmla="*/ 1698 w 2362"/>
              <a:gd name="T75" fmla="*/ 281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2" h="3213">
                <a:moveTo>
                  <a:pt x="1892" y="0"/>
                </a:moveTo>
                <a:lnTo>
                  <a:pt x="1892" y="475"/>
                </a:lnTo>
                <a:lnTo>
                  <a:pt x="470" y="475"/>
                </a:lnTo>
                <a:lnTo>
                  <a:pt x="470" y="0"/>
                </a:lnTo>
                <a:lnTo>
                  <a:pt x="0" y="0"/>
                </a:lnTo>
                <a:lnTo>
                  <a:pt x="0" y="3213"/>
                </a:lnTo>
                <a:lnTo>
                  <a:pt x="2362" y="3213"/>
                </a:lnTo>
                <a:lnTo>
                  <a:pt x="2362" y="0"/>
                </a:lnTo>
                <a:lnTo>
                  <a:pt x="1892" y="0"/>
                </a:lnTo>
                <a:close/>
                <a:moveTo>
                  <a:pt x="756" y="2646"/>
                </a:moveTo>
                <a:lnTo>
                  <a:pt x="378" y="2646"/>
                </a:lnTo>
                <a:lnTo>
                  <a:pt x="378" y="2268"/>
                </a:lnTo>
                <a:lnTo>
                  <a:pt x="756" y="2268"/>
                </a:lnTo>
                <a:lnTo>
                  <a:pt x="756" y="2646"/>
                </a:lnTo>
                <a:close/>
                <a:moveTo>
                  <a:pt x="756" y="1607"/>
                </a:moveTo>
                <a:lnTo>
                  <a:pt x="378" y="1607"/>
                </a:lnTo>
                <a:lnTo>
                  <a:pt x="378" y="1229"/>
                </a:lnTo>
                <a:lnTo>
                  <a:pt x="756" y="1229"/>
                </a:lnTo>
                <a:lnTo>
                  <a:pt x="756" y="1607"/>
                </a:lnTo>
                <a:close/>
                <a:moveTo>
                  <a:pt x="1423" y="2786"/>
                </a:moveTo>
                <a:lnTo>
                  <a:pt x="1067" y="2430"/>
                </a:lnTo>
                <a:lnTo>
                  <a:pt x="1172" y="2324"/>
                </a:lnTo>
                <a:lnTo>
                  <a:pt x="1400" y="2522"/>
                </a:lnTo>
                <a:lnTo>
                  <a:pt x="1980" y="2019"/>
                </a:lnTo>
                <a:lnTo>
                  <a:pt x="2085" y="2124"/>
                </a:lnTo>
                <a:lnTo>
                  <a:pt x="1423" y="2786"/>
                </a:lnTo>
                <a:close/>
                <a:moveTo>
                  <a:pt x="1423" y="1747"/>
                </a:moveTo>
                <a:lnTo>
                  <a:pt x="1067" y="1390"/>
                </a:lnTo>
                <a:lnTo>
                  <a:pt x="1172" y="1285"/>
                </a:lnTo>
                <a:lnTo>
                  <a:pt x="1400" y="1483"/>
                </a:lnTo>
                <a:lnTo>
                  <a:pt x="1980" y="979"/>
                </a:lnTo>
                <a:lnTo>
                  <a:pt x="2085" y="1085"/>
                </a:lnTo>
                <a:lnTo>
                  <a:pt x="1423" y="1747"/>
                </a:lnTo>
                <a:close/>
                <a:moveTo>
                  <a:pt x="1698" y="281"/>
                </a:moveTo>
                <a:lnTo>
                  <a:pt x="664" y="281"/>
                </a:lnTo>
                <a:lnTo>
                  <a:pt x="664" y="0"/>
                </a:lnTo>
                <a:lnTo>
                  <a:pt x="1698" y="0"/>
                </a:lnTo>
                <a:lnTo>
                  <a:pt x="1698" y="281"/>
                </a:ln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6">
            <a:extLst>
              <a:ext uri="{FF2B5EF4-FFF2-40B4-BE49-F238E27FC236}">
                <a16:creationId xmlns:a16="http://schemas.microsoft.com/office/drawing/2014/main" id="{B47E51E7-B265-1AC1-FDBE-4253D6D986F0}"/>
              </a:ext>
            </a:extLst>
          </p:cNvPr>
          <p:cNvSpPr>
            <a:spLocks noChangeAspect="1" noEditPoints="1"/>
          </p:cNvSpPr>
          <p:nvPr/>
        </p:nvSpPr>
        <p:spPr bwMode="auto">
          <a:xfrm>
            <a:off x="4520082" y="3000549"/>
            <a:ext cx="600131" cy="595114"/>
          </a:xfrm>
          <a:custGeom>
            <a:avLst/>
            <a:gdLst>
              <a:gd name="T0" fmla="*/ 1319 w 3239"/>
              <a:gd name="T1" fmla="*/ 2759 h 3212"/>
              <a:gd name="T2" fmla="*/ 1181 w 3239"/>
              <a:gd name="T3" fmla="*/ 3212 h 3212"/>
              <a:gd name="T4" fmla="*/ 0 w 3239"/>
              <a:gd name="T5" fmla="*/ 2031 h 3212"/>
              <a:gd name="T6" fmla="*/ 591 w 3239"/>
              <a:gd name="T7" fmla="*/ 2409 h 3212"/>
              <a:gd name="T8" fmla="*/ 1181 w 3239"/>
              <a:gd name="T9" fmla="*/ 2031 h 3212"/>
              <a:gd name="T10" fmla="*/ 1319 w 3239"/>
              <a:gd name="T11" fmla="*/ 2484 h 3212"/>
              <a:gd name="T12" fmla="*/ 1559 w 3239"/>
              <a:gd name="T13" fmla="*/ 2622 h 3212"/>
              <a:gd name="T14" fmla="*/ 453 w 3239"/>
              <a:gd name="T15" fmla="*/ 1980 h 3212"/>
              <a:gd name="T16" fmla="*/ 590 w 3239"/>
              <a:gd name="T17" fmla="*/ 2220 h 3212"/>
              <a:gd name="T18" fmla="*/ 728 w 3239"/>
              <a:gd name="T19" fmla="*/ 1980 h 3212"/>
              <a:gd name="T20" fmla="*/ 1181 w 3239"/>
              <a:gd name="T21" fmla="*/ 1842 h 3212"/>
              <a:gd name="T22" fmla="*/ 1043 w 3239"/>
              <a:gd name="T23" fmla="*/ 1366 h 3212"/>
              <a:gd name="T24" fmla="*/ 803 w 3239"/>
              <a:gd name="T25" fmla="*/ 1228 h 3212"/>
              <a:gd name="T26" fmla="*/ 1043 w 3239"/>
              <a:gd name="T27" fmla="*/ 1091 h 3212"/>
              <a:gd name="T28" fmla="*/ 1181 w 3239"/>
              <a:gd name="T29" fmla="*/ 661 h 3212"/>
              <a:gd name="T30" fmla="*/ 0 w 3239"/>
              <a:gd name="T31" fmla="*/ 1842 h 3212"/>
              <a:gd name="T32" fmla="*/ 453 w 3239"/>
              <a:gd name="T33" fmla="*/ 1980 h 3212"/>
              <a:gd name="T34" fmla="*/ 2815 w 3239"/>
              <a:gd name="T35" fmla="*/ 1264 h 3212"/>
              <a:gd name="T36" fmla="*/ 3076 w 3239"/>
              <a:gd name="T37" fmla="*/ 664 h 3212"/>
              <a:gd name="T38" fmla="*/ 2873 w 3239"/>
              <a:gd name="T39" fmla="*/ 761 h 3212"/>
              <a:gd name="T40" fmla="*/ 2762 w 3239"/>
              <a:gd name="T41" fmla="*/ 457 h 3212"/>
              <a:gd name="T42" fmla="*/ 2981 w 3239"/>
              <a:gd name="T43" fmla="*/ 401 h 3212"/>
              <a:gd name="T44" fmla="*/ 1725 w 3239"/>
              <a:gd name="T45" fmla="*/ 404 h 3212"/>
              <a:gd name="T46" fmla="*/ 2553 w 3239"/>
              <a:gd name="T47" fmla="*/ 1359 h 3212"/>
              <a:gd name="T48" fmla="*/ 2608 w 3239"/>
              <a:gd name="T49" fmla="*/ 1578 h 3212"/>
              <a:gd name="T50" fmla="*/ 2913 w 3239"/>
              <a:gd name="T51" fmla="*/ 1467 h 3212"/>
              <a:gd name="T52" fmla="*/ 2098 w 3239"/>
              <a:gd name="T53" fmla="*/ 1893 h 3212"/>
              <a:gd name="T54" fmla="*/ 1961 w 3239"/>
              <a:gd name="T55" fmla="*/ 1653 h 3212"/>
              <a:gd name="T56" fmla="*/ 1823 w 3239"/>
              <a:gd name="T57" fmla="*/ 1893 h 3212"/>
              <a:gd name="T58" fmla="*/ 1370 w 3239"/>
              <a:gd name="T59" fmla="*/ 2031 h 3212"/>
              <a:gd name="T60" fmla="*/ 1748 w 3239"/>
              <a:gd name="T61" fmla="*/ 2622 h 3212"/>
              <a:gd name="T62" fmla="*/ 1370 w 3239"/>
              <a:gd name="T63" fmla="*/ 3212 h 3212"/>
              <a:gd name="T64" fmla="*/ 2551 w 3239"/>
              <a:gd name="T65" fmla="*/ 2031 h 3212"/>
              <a:gd name="T66" fmla="*/ 2098 w 3239"/>
              <a:gd name="T67" fmla="*/ 1893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39" h="3212">
                <a:moveTo>
                  <a:pt x="1406" y="2784"/>
                </a:moveTo>
                <a:cubicBezTo>
                  <a:pt x="1376" y="2784"/>
                  <a:pt x="1346" y="2771"/>
                  <a:pt x="1319" y="2759"/>
                </a:cubicBezTo>
                <a:cubicBezTo>
                  <a:pt x="1262" y="2735"/>
                  <a:pt x="1197" y="2690"/>
                  <a:pt x="1181" y="2761"/>
                </a:cubicBezTo>
                <a:lnTo>
                  <a:pt x="1181" y="3212"/>
                </a:lnTo>
                <a:lnTo>
                  <a:pt x="0" y="3212"/>
                </a:lnTo>
                <a:lnTo>
                  <a:pt x="0" y="2031"/>
                </a:lnTo>
                <a:lnTo>
                  <a:pt x="213" y="2031"/>
                </a:lnTo>
                <a:cubicBezTo>
                  <a:pt x="213" y="2240"/>
                  <a:pt x="382" y="2409"/>
                  <a:pt x="591" y="2409"/>
                </a:cubicBezTo>
                <a:cubicBezTo>
                  <a:pt x="799" y="2409"/>
                  <a:pt x="969" y="2240"/>
                  <a:pt x="969" y="2031"/>
                </a:cubicBezTo>
                <a:lnTo>
                  <a:pt x="1181" y="2031"/>
                </a:lnTo>
                <a:lnTo>
                  <a:pt x="1181" y="2482"/>
                </a:lnTo>
                <a:cubicBezTo>
                  <a:pt x="1197" y="2554"/>
                  <a:pt x="1262" y="2509"/>
                  <a:pt x="1319" y="2484"/>
                </a:cubicBezTo>
                <a:cubicBezTo>
                  <a:pt x="1346" y="2473"/>
                  <a:pt x="1376" y="2460"/>
                  <a:pt x="1406" y="2460"/>
                </a:cubicBezTo>
                <a:cubicBezTo>
                  <a:pt x="1491" y="2460"/>
                  <a:pt x="1559" y="2532"/>
                  <a:pt x="1559" y="2622"/>
                </a:cubicBezTo>
                <a:cubicBezTo>
                  <a:pt x="1559" y="2712"/>
                  <a:pt x="1491" y="2784"/>
                  <a:pt x="1406" y="2784"/>
                </a:cubicBezTo>
                <a:close/>
                <a:moveTo>
                  <a:pt x="453" y="1980"/>
                </a:moveTo>
                <a:cubicBezTo>
                  <a:pt x="442" y="2007"/>
                  <a:pt x="429" y="2037"/>
                  <a:pt x="429" y="2067"/>
                </a:cubicBezTo>
                <a:cubicBezTo>
                  <a:pt x="429" y="2152"/>
                  <a:pt x="501" y="2220"/>
                  <a:pt x="590" y="2220"/>
                </a:cubicBezTo>
                <a:cubicBezTo>
                  <a:pt x="680" y="2220"/>
                  <a:pt x="753" y="2152"/>
                  <a:pt x="753" y="2067"/>
                </a:cubicBezTo>
                <a:cubicBezTo>
                  <a:pt x="753" y="2037"/>
                  <a:pt x="740" y="2007"/>
                  <a:pt x="728" y="1980"/>
                </a:cubicBezTo>
                <a:cubicBezTo>
                  <a:pt x="704" y="1923"/>
                  <a:pt x="659" y="1858"/>
                  <a:pt x="730" y="1842"/>
                </a:cubicBezTo>
                <a:lnTo>
                  <a:pt x="1181" y="1842"/>
                </a:lnTo>
                <a:lnTo>
                  <a:pt x="1181" y="1368"/>
                </a:lnTo>
                <a:cubicBezTo>
                  <a:pt x="1166" y="1296"/>
                  <a:pt x="1100" y="1341"/>
                  <a:pt x="1043" y="1366"/>
                </a:cubicBezTo>
                <a:cubicBezTo>
                  <a:pt x="1016" y="1377"/>
                  <a:pt x="987" y="1390"/>
                  <a:pt x="957" y="1390"/>
                </a:cubicBezTo>
                <a:cubicBezTo>
                  <a:pt x="872" y="1390"/>
                  <a:pt x="803" y="1318"/>
                  <a:pt x="803" y="1228"/>
                </a:cubicBezTo>
                <a:cubicBezTo>
                  <a:pt x="803" y="1138"/>
                  <a:pt x="872" y="1066"/>
                  <a:pt x="957" y="1066"/>
                </a:cubicBezTo>
                <a:cubicBezTo>
                  <a:pt x="987" y="1066"/>
                  <a:pt x="1016" y="1079"/>
                  <a:pt x="1043" y="1091"/>
                </a:cubicBezTo>
                <a:cubicBezTo>
                  <a:pt x="1100" y="1115"/>
                  <a:pt x="1166" y="1160"/>
                  <a:pt x="1181" y="1089"/>
                </a:cubicBezTo>
                <a:lnTo>
                  <a:pt x="1181" y="661"/>
                </a:lnTo>
                <a:lnTo>
                  <a:pt x="0" y="661"/>
                </a:lnTo>
                <a:lnTo>
                  <a:pt x="0" y="1842"/>
                </a:lnTo>
                <a:lnTo>
                  <a:pt x="451" y="1842"/>
                </a:lnTo>
                <a:cubicBezTo>
                  <a:pt x="522" y="1858"/>
                  <a:pt x="477" y="1923"/>
                  <a:pt x="453" y="1980"/>
                </a:cubicBezTo>
                <a:close/>
                <a:moveTo>
                  <a:pt x="2860" y="1394"/>
                </a:moveTo>
                <a:cubicBezTo>
                  <a:pt x="2818" y="1349"/>
                  <a:pt x="2753" y="1303"/>
                  <a:pt x="2815" y="1264"/>
                </a:cubicBezTo>
                <a:lnTo>
                  <a:pt x="3239" y="1110"/>
                </a:lnTo>
                <a:lnTo>
                  <a:pt x="3076" y="664"/>
                </a:lnTo>
                <a:cubicBezTo>
                  <a:pt x="3037" y="602"/>
                  <a:pt x="2991" y="667"/>
                  <a:pt x="2946" y="709"/>
                </a:cubicBezTo>
                <a:cubicBezTo>
                  <a:pt x="2924" y="729"/>
                  <a:pt x="2901" y="751"/>
                  <a:pt x="2873" y="761"/>
                </a:cubicBezTo>
                <a:cubicBezTo>
                  <a:pt x="2793" y="791"/>
                  <a:pt x="2704" y="746"/>
                  <a:pt x="2673" y="661"/>
                </a:cubicBezTo>
                <a:cubicBezTo>
                  <a:pt x="2643" y="577"/>
                  <a:pt x="2682" y="486"/>
                  <a:pt x="2762" y="457"/>
                </a:cubicBezTo>
                <a:cubicBezTo>
                  <a:pt x="2790" y="447"/>
                  <a:pt x="2822" y="449"/>
                  <a:pt x="2852" y="451"/>
                </a:cubicBezTo>
                <a:cubicBezTo>
                  <a:pt x="2914" y="454"/>
                  <a:pt x="2991" y="474"/>
                  <a:pt x="2981" y="401"/>
                </a:cubicBezTo>
                <a:lnTo>
                  <a:pt x="2835" y="0"/>
                </a:lnTo>
                <a:lnTo>
                  <a:pt x="1725" y="404"/>
                </a:lnTo>
                <a:lnTo>
                  <a:pt x="2129" y="1514"/>
                </a:lnTo>
                <a:lnTo>
                  <a:pt x="2553" y="1359"/>
                </a:lnTo>
                <a:cubicBezTo>
                  <a:pt x="2625" y="1350"/>
                  <a:pt x="2605" y="1426"/>
                  <a:pt x="2602" y="1488"/>
                </a:cubicBezTo>
                <a:cubicBezTo>
                  <a:pt x="2600" y="1518"/>
                  <a:pt x="2598" y="1550"/>
                  <a:pt x="2608" y="1578"/>
                </a:cubicBezTo>
                <a:cubicBezTo>
                  <a:pt x="2637" y="1658"/>
                  <a:pt x="2728" y="1697"/>
                  <a:pt x="2813" y="1667"/>
                </a:cubicBezTo>
                <a:cubicBezTo>
                  <a:pt x="2897" y="1636"/>
                  <a:pt x="2942" y="1547"/>
                  <a:pt x="2913" y="1467"/>
                </a:cubicBezTo>
                <a:cubicBezTo>
                  <a:pt x="2902" y="1439"/>
                  <a:pt x="2880" y="1416"/>
                  <a:pt x="2860" y="1394"/>
                </a:cubicBezTo>
                <a:close/>
                <a:moveTo>
                  <a:pt x="2098" y="1893"/>
                </a:moveTo>
                <a:cubicBezTo>
                  <a:pt x="2110" y="1866"/>
                  <a:pt x="2123" y="1837"/>
                  <a:pt x="2123" y="1807"/>
                </a:cubicBezTo>
                <a:cubicBezTo>
                  <a:pt x="2123" y="1722"/>
                  <a:pt x="2051" y="1654"/>
                  <a:pt x="1961" y="1653"/>
                </a:cubicBezTo>
                <a:cubicBezTo>
                  <a:pt x="1871" y="1654"/>
                  <a:pt x="1799" y="1722"/>
                  <a:pt x="1799" y="1807"/>
                </a:cubicBezTo>
                <a:cubicBezTo>
                  <a:pt x="1799" y="1837"/>
                  <a:pt x="1812" y="1866"/>
                  <a:pt x="1823" y="1893"/>
                </a:cubicBezTo>
                <a:cubicBezTo>
                  <a:pt x="1847" y="1950"/>
                  <a:pt x="1892" y="2016"/>
                  <a:pt x="1821" y="2031"/>
                </a:cubicBezTo>
                <a:lnTo>
                  <a:pt x="1370" y="2031"/>
                </a:lnTo>
                <a:lnTo>
                  <a:pt x="1370" y="2244"/>
                </a:lnTo>
                <a:cubicBezTo>
                  <a:pt x="1579" y="2244"/>
                  <a:pt x="1748" y="2413"/>
                  <a:pt x="1748" y="2622"/>
                </a:cubicBezTo>
                <a:cubicBezTo>
                  <a:pt x="1748" y="2831"/>
                  <a:pt x="1579" y="3000"/>
                  <a:pt x="1370" y="3000"/>
                </a:cubicBezTo>
                <a:lnTo>
                  <a:pt x="1370" y="3212"/>
                </a:lnTo>
                <a:lnTo>
                  <a:pt x="2551" y="3212"/>
                </a:lnTo>
                <a:lnTo>
                  <a:pt x="2551" y="2031"/>
                </a:lnTo>
                <a:lnTo>
                  <a:pt x="2100" y="2031"/>
                </a:lnTo>
                <a:cubicBezTo>
                  <a:pt x="2029" y="2016"/>
                  <a:pt x="2074" y="1950"/>
                  <a:pt x="2098" y="1893"/>
                </a:cubicBez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tangle 39">
            <a:extLst>
              <a:ext uri="{FF2B5EF4-FFF2-40B4-BE49-F238E27FC236}">
                <a16:creationId xmlns:a16="http://schemas.microsoft.com/office/drawing/2014/main" id="{3B0748CD-AC55-8A6D-8EEC-D61F99D07F86}"/>
              </a:ext>
            </a:extLst>
          </p:cNvPr>
          <p:cNvSpPr>
            <a:spLocks/>
          </p:cNvSpPr>
          <p:nvPr/>
        </p:nvSpPr>
        <p:spPr>
          <a:xfrm>
            <a:off x="207104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neo </a:t>
            </a:r>
          </a:p>
        </p:txBody>
      </p:sp>
      <p:sp>
        <p:nvSpPr>
          <p:cNvPr id="48" name="Rectangle 166">
            <a:extLst>
              <a:ext uri="{FF2B5EF4-FFF2-40B4-BE49-F238E27FC236}">
                <a16:creationId xmlns:a16="http://schemas.microsoft.com/office/drawing/2014/main" id="{FAA7E785-10FF-55E5-FF2F-7714EEB53BC0}"/>
              </a:ext>
            </a:extLst>
          </p:cNvPr>
          <p:cNvSpPr>
            <a:spLocks/>
          </p:cNvSpPr>
          <p:nvPr/>
        </p:nvSpPr>
        <p:spPr>
          <a:xfrm>
            <a:off x="4520083"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Virtual Process Controller</a:t>
            </a:r>
          </a:p>
        </p:txBody>
      </p:sp>
      <p:sp>
        <p:nvSpPr>
          <p:cNvPr id="49" name="Rectangle 12">
            <a:extLst>
              <a:ext uri="{FF2B5EF4-FFF2-40B4-BE49-F238E27FC236}">
                <a16:creationId xmlns:a16="http://schemas.microsoft.com/office/drawing/2014/main" id="{ABC8308E-E8DE-3B9D-AEC7-340D9EEAEF01}"/>
              </a:ext>
            </a:extLst>
          </p:cNvPr>
          <p:cNvSpPr>
            <a:spLocks/>
          </p:cNvSpPr>
          <p:nvPr/>
        </p:nvSpPr>
        <p:spPr>
          <a:xfrm>
            <a:off x="696912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err="1">
                <a:solidFill>
                  <a:prstClr val="white"/>
                </a:solidFill>
                <a:latin typeface="Arial"/>
                <a:cs typeface="Arial"/>
              </a:rPr>
              <a:t>eaSie</a:t>
            </a:r>
            <a:endParaRPr lang="en-US" sz="1200" kern="1200">
              <a:solidFill>
                <a:prstClr val="white"/>
              </a:solidFill>
              <a:latin typeface="Arial"/>
              <a:cs typeface="Arial"/>
            </a:endParaRPr>
          </a:p>
        </p:txBody>
      </p:sp>
      <p:sp>
        <p:nvSpPr>
          <p:cNvPr id="50" name="Rectangle 40">
            <a:extLst>
              <a:ext uri="{FF2B5EF4-FFF2-40B4-BE49-F238E27FC236}">
                <a16:creationId xmlns:a16="http://schemas.microsoft.com/office/drawing/2014/main" id="{A21901C8-C817-9C76-E35D-456AF4C646DE}"/>
              </a:ext>
            </a:extLst>
          </p:cNvPr>
          <p:cNvSpPr>
            <a:spLocks/>
          </p:cNvSpPr>
          <p:nvPr/>
        </p:nvSpPr>
        <p:spPr>
          <a:xfrm>
            <a:off x="9418165"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a:t>
            </a:r>
            <a:r>
              <a:rPr lang="en-US" sz="1200" kern="1200" err="1">
                <a:solidFill>
                  <a:prstClr val="white"/>
                </a:solidFill>
                <a:latin typeface="Arial"/>
                <a:cs typeface="Arial"/>
              </a:rPr>
              <a:t>myExpert</a:t>
            </a:r>
            <a:endParaRPr lang="en-US" sz="1200" kern="1200">
              <a:solidFill>
                <a:prstClr val="white"/>
              </a:solidFill>
              <a:latin typeface="Arial"/>
              <a:cs typeface="Arial"/>
            </a:endParaRPr>
          </a:p>
        </p:txBody>
      </p:sp>
      <p:sp>
        <p:nvSpPr>
          <p:cNvPr id="51" name="Freihandform: Form 74">
            <a:extLst>
              <a:ext uri="{FF2B5EF4-FFF2-40B4-BE49-F238E27FC236}">
                <a16:creationId xmlns:a16="http://schemas.microsoft.com/office/drawing/2014/main" id="{B8D80DB3-4FBC-39E7-FE31-A497F78E159B}"/>
              </a:ext>
            </a:extLst>
          </p:cNvPr>
          <p:cNvSpPr/>
          <p:nvPr/>
        </p:nvSpPr>
        <p:spPr bwMode="gray">
          <a:xfrm>
            <a:off x="6969123" y="3013167"/>
            <a:ext cx="750361" cy="568116"/>
          </a:xfrm>
          <a:custGeom>
            <a:avLst/>
            <a:gdLst>
              <a:gd name="connsiteX0" fmla="*/ 224748 w 648997"/>
              <a:gd name="connsiteY0" fmla="*/ 325810 h 491371"/>
              <a:gd name="connsiteX1" fmla="*/ 253408 w 648997"/>
              <a:gd name="connsiteY1" fmla="*/ 309286 h 491371"/>
              <a:gd name="connsiteX2" fmla="*/ 232839 w 648997"/>
              <a:gd name="connsiteY2" fmla="*/ 273634 h 491371"/>
              <a:gd name="connsiteX3" fmla="*/ 204111 w 648997"/>
              <a:gd name="connsiteY3" fmla="*/ 290226 h 491371"/>
              <a:gd name="connsiteX4" fmla="*/ 196638 w 648997"/>
              <a:gd name="connsiteY4" fmla="*/ 282752 h 491371"/>
              <a:gd name="connsiteX5" fmla="*/ 213230 w 648997"/>
              <a:gd name="connsiteY5" fmla="*/ 254025 h 491371"/>
              <a:gd name="connsiteX6" fmla="*/ 177577 w 648997"/>
              <a:gd name="connsiteY6" fmla="*/ 233456 h 491371"/>
              <a:gd name="connsiteX7" fmla="*/ 161054 w 648997"/>
              <a:gd name="connsiteY7" fmla="*/ 262115 h 491371"/>
              <a:gd name="connsiteX8" fmla="*/ 150838 w 648997"/>
              <a:gd name="connsiteY8" fmla="*/ 259373 h 491371"/>
              <a:gd name="connsiteX9" fmla="*/ 150838 w 648997"/>
              <a:gd name="connsiteY9" fmla="*/ 226325 h 491371"/>
              <a:gd name="connsiteX10" fmla="*/ 109700 w 648997"/>
              <a:gd name="connsiteY10" fmla="*/ 226325 h 491371"/>
              <a:gd name="connsiteX11" fmla="*/ 109700 w 648997"/>
              <a:gd name="connsiteY11" fmla="*/ 259373 h 491371"/>
              <a:gd name="connsiteX12" fmla="*/ 99484 w 648997"/>
              <a:gd name="connsiteY12" fmla="*/ 262115 h 491371"/>
              <a:gd name="connsiteX13" fmla="*/ 82961 w 648997"/>
              <a:gd name="connsiteY13" fmla="*/ 233456 h 491371"/>
              <a:gd name="connsiteX14" fmla="*/ 47308 w 648997"/>
              <a:gd name="connsiteY14" fmla="*/ 254025 h 491371"/>
              <a:gd name="connsiteX15" fmla="*/ 63900 w 648997"/>
              <a:gd name="connsiteY15" fmla="*/ 282752 h 491371"/>
              <a:gd name="connsiteX16" fmla="*/ 56427 w 648997"/>
              <a:gd name="connsiteY16" fmla="*/ 290226 h 491371"/>
              <a:gd name="connsiteX17" fmla="*/ 27699 w 648997"/>
              <a:gd name="connsiteY17" fmla="*/ 273634 h 491371"/>
              <a:gd name="connsiteX18" fmla="*/ 7131 w 648997"/>
              <a:gd name="connsiteY18" fmla="*/ 309286 h 491371"/>
              <a:gd name="connsiteX19" fmla="*/ 35790 w 648997"/>
              <a:gd name="connsiteY19" fmla="*/ 325810 h 491371"/>
              <a:gd name="connsiteX20" fmla="*/ 33047 w 648997"/>
              <a:gd name="connsiteY20" fmla="*/ 336026 h 491371"/>
              <a:gd name="connsiteX21" fmla="*/ 0 w 648997"/>
              <a:gd name="connsiteY21" fmla="*/ 336026 h 491371"/>
              <a:gd name="connsiteX22" fmla="*/ 0 w 648997"/>
              <a:gd name="connsiteY22" fmla="*/ 377163 h 491371"/>
              <a:gd name="connsiteX23" fmla="*/ 33047 w 648997"/>
              <a:gd name="connsiteY23" fmla="*/ 377163 h 491371"/>
              <a:gd name="connsiteX24" fmla="*/ 35790 w 648997"/>
              <a:gd name="connsiteY24" fmla="*/ 387379 h 491371"/>
              <a:gd name="connsiteX25" fmla="*/ 7131 w 648997"/>
              <a:gd name="connsiteY25" fmla="*/ 403903 h 491371"/>
              <a:gd name="connsiteX26" fmla="*/ 27699 w 648997"/>
              <a:gd name="connsiteY26" fmla="*/ 439555 h 491371"/>
              <a:gd name="connsiteX27" fmla="*/ 56427 w 648997"/>
              <a:gd name="connsiteY27" fmla="*/ 422963 h 491371"/>
              <a:gd name="connsiteX28" fmla="*/ 63900 w 648997"/>
              <a:gd name="connsiteY28" fmla="*/ 430436 h 491371"/>
              <a:gd name="connsiteX29" fmla="*/ 47308 w 648997"/>
              <a:gd name="connsiteY29" fmla="*/ 459164 h 491371"/>
              <a:gd name="connsiteX30" fmla="*/ 82961 w 648997"/>
              <a:gd name="connsiteY30" fmla="*/ 479733 h 491371"/>
              <a:gd name="connsiteX31" fmla="*/ 99484 w 648997"/>
              <a:gd name="connsiteY31" fmla="*/ 451074 h 491371"/>
              <a:gd name="connsiteX32" fmla="*/ 109700 w 648997"/>
              <a:gd name="connsiteY32" fmla="*/ 453816 h 491371"/>
              <a:gd name="connsiteX33" fmla="*/ 109700 w 648997"/>
              <a:gd name="connsiteY33" fmla="*/ 486864 h 491371"/>
              <a:gd name="connsiteX34" fmla="*/ 150838 w 648997"/>
              <a:gd name="connsiteY34" fmla="*/ 486864 h 491371"/>
              <a:gd name="connsiteX35" fmla="*/ 150838 w 648997"/>
              <a:gd name="connsiteY35" fmla="*/ 453816 h 491371"/>
              <a:gd name="connsiteX36" fmla="*/ 161054 w 648997"/>
              <a:gd name="connsiteY36" fmla="*/ 451074 h 491371"/>
              <a:gd name="connsiteX37" fmla="*/ 177577 w 648997"/>
              <a:gd name="connsiteY37" fmla="*/ 479733 h 491371"/>
              <a:gd name="connsiteX38" fmla="*/ 213230 w 648997"/>
              <a:gd name="connsiteY38" fmla="*/ 459164 h 491371"/>
              <a:gd name="connsiteX39" fmla="*/ 196638 w 648997"/>
              <a:gd name="connsiteY39" fmla="*/ 430436 h 491371"/>
              <a:gd name="connsiteX40" fmla="*/ 204111 w 648997"/>
              <a:gd name="connsiteY40" fmla="*/ 422963 h 491371"/>
              <a:gd name="connsiteX41" fmla="*/ 232839 w 648997"/>
              <a:gd name="connsiteY41" fmla="*/ 439555 h 491371"/>
              <a:gd name="connsiteX42" fmla="*/ 253408 w 648997"/>
              <a:gd name="connsiteY42" fmla="*/ 403903 h 491371"/>
              <a:gd name="connsiteX43" fmla="*/ 224748 w 648997"/>
              <a:gd name="connsiteY43" fmla="*/ 387379 h 491371"/>
              <a:gd name="connsiteX44" fmla="*/ 227491 w 648997"/>
              <a:gd name="connsiteY44" fmla="*/ 377163 h 491371"/>
              <a:gd name="connsiteX45" fmla="*/ 260538 w 648997"/>
              <a:gd name="connsiteY45" fmla="*/ 377163 h 491371"/>
              <a:gd name="connsiteX46" fmla="*/ 260538 w 648997"/>
              <a:gd name="connsiteY46" fmla="*/ 336026 h 491371"/>
              <a:gd name="connsiteX47" fmla="*/ 227491 w 648997"/>
              <a:gd name="connsiteY47" fmla="*/ 336026 h 491371"/>
              <a:gd name="connsiteX48" fmla="*/ 224748 w 648997"/>
              <a:gd name="connsiteY48" fmla="*/ 325810 h 491371"/>
              <a:gd name="connsiteX49" fmla="*/ 202260 w 648997"/>
              <a:gd name="connsiteY49" fmla="*/ 356594 h 491371"/>
              <a:gd name="connsiteX50" fmla="*/ 130269 w 648997"/>
              <a:gd name="connsiteY50" fmla="*/ 428585 h 491371"/>
              <a:gd name="connsiteX51" fmla="*/ 58278 w 648997"/>
              <a:gd name="connsiteY51" fmla="*/ 356594 h 491371"/>
              <a:gd name="connsiteX52" fmla="*/ 130269 w 648997"/>
              <a:gd name="connsiteY52" fmla="*/ 284604 h 491371"/>
              <a:gd name="connsiteX53" fmla="*/ 202260 w 648997"/>
              <a:gd name="connsiteY53" fmla="*/ 356594 h 491371"/>
              <a:gd name="connsiteX54" fmla="*/ 164550 w 648997"/>
              <a:gd name="connsiteY54" fmla="*/ 356594 h 491371"/>
              <a:gd name="connsiteX55" fmla="*/ 130269 w 648997"/>
              <a:gd name="connsiteY55" fmla="*/ 390876 h 491371"/>
              <a:gd name="connsiteX56" fmla="*/ 95988 w 648997"/>
              <a:gd name="connsiteY56" fmla="*/ 356594 h 491371"/>
              <a:gd name="connsiteX57" fmla="*/ 130269 w 648997"/>
              <a:gd name="connsiteY57" fmla="*/ 322313 h 491371"/>
              <a:gd name="connsiteX58" fmla="*/ 164550 w 648997"/>
              <a:gd name="connsiteY58" fmla="*/ 356594 h 491371"/>
              <a:gd name="connsiteX59" fmla="*/ 307778 w 648997"/>
              <a:gd name="connsiteY59" fmla="*/ 105655 h 491371"/>
              <a:gd name="connsiteX60" fmla="*/ 286866 w 648997"/>
              <a:gd name="connsiteY60" fmla="*/ 93588 h 491371"/>
              <a:gd name="connsiteX61" fmla="*/ 286866 w 648997"/>
              <a:gd name="connsiteY61" fmla="*/ 71099 h 491371"/>
              <a:gd name="connsiteX62" fmla="*/ 307778 w 648997"/>
              <a:gd name="connsiteY62" fmla="*/ 59032 h 491371"/>
              <a:gd name="connsiteX63" fmla="*/ 287209 w 648997"/>
              <a:gd name="connsiteY63" fmla="*/ 23380 h 491371"/>
              <a:gd name="connsiteX64" fmla="*/ 266297 w 648997"/>
              <a:gd name="connsiteY64" fmla="*/ 35447 h 491371"/>
              <a:gd name="connsiteX65" fmla="*/ 246826 w 648997"/>
              <a:gd name="connsiteY65" fmla="*/ 24203 h 491371"/>
              <a:gd name="connsiteX66" fmla="*/ 246826 w 648997"/>
              <a:gd name="connsiteY66" fmla="*/ 0 h 491371"/>
              <a:gd name="connsiteX67" fmla="*/ 205688 w 648997"/>
              <a:gd name="connsiteY67" fmla="*/ 0 h 491371"/>
              <a:gd name="connsiteX68" fmla="*/ 205688 w 648997"/>
              <a:gd name="connsiteY68" fmla="*/ 24203 h 491371"/>
              <a:gd name="connsiteX69" fmla="*/ 186216 w 648997"/>
              <a:gd name="connsiteY69" fmla="*/ 35447 h 491371"/>
              <a:gd name="connsiteX70" fmla="*/ 165305 w 648997"/>
              <a:gd name="connsiteY70" fmla="*/ 23380 h 491371"/>
              <a:gd name="connsiteX71" fmla="*/ 144736 w 648997"/>
              <a:gd name="connsiteY71" fmla="*/ 59032 h 491371"/>
              <a:gd name="connsiteX72" fmla="*/ 165647 w 648997"/>
              <a:gd name="connsiteY72" fmla="*/ 71099 h 491371"/>
              <a:gd name="connsiteX73" fmla="*/ 165647 w 648997"/>
              <a:gd name="connsiteY73" fmla="*/ 93588 h 491371"/>
              <a:gd name="connsiteX74" fmla="*/ 144736 w 648997"/>
              <a:gd name="connsiteY74" fmla="*/ 105655 h 491371"/>
              <a:gd name="connsiteX75" fmla="*/ 165305 w 648997"/>
              <a:gd name="connsiteY75" fmla="*/ 141308 h 491371"/>
              <a:gd name="connsiteX76" fmla="*/ 186216 w 648997"/>
              <a:gd name="connsiteY76" fmla="*/ 129241 h 491371"/>
              <a:gd name="connsiteX77" fmla="*/ 205688 w 648997"/>
              <a:gd name="connsiteY77" fmla="*/ 140485 h 491371"/>
              <a:gd name="connsiteX78" fmla="*/ 205688 w 648997"/>
              <a:gd name="connsiteY78" fmla="*/ 164688 h 491371"/>
              <a:gd name="connsiteX79" fmla="*/ 246826 w 648997"/>
              <a:gd name="connsiteY79" fmla="*/ 164688 h 491371"/>
              <a:gd name="connsiteX80" fmla="*/ 246826 w 648997"/>
              <a:gd name="connsiteY80" fmla="*/ 140485 h 491371"/>
              <a:gd name="connsiteX81" fmla="*/ 266297 w 648997"/>
              <a:gd name="connsiteY81" fmla="*/ 129241 h 491371"/>
              <a:gd name="connsiteX82" fmla="*/ 287209 w 648997"/>
              <a:gd name="connsiteY82" fmla="*/ 141308 h 491371"/>
              <a:gd name="connsiteX83" fmla="*/ 307778 w 648997"/>
              <a:gd name="connsiteY83" fmla="*/ 105655 h 491371"/>
              <a:gd name="connsiteX84" fmla="*/ 226257 w 648997"/>
              <a:gd name="connsiteY84" fmla="*/ 116625 h 491371"/>
              <a:gd name="connsiteX85" fmla="*/ 191975 w 648997"/>
              <a:gd name="connsiteY85" fmla="*/ 82344 h 491371"/>
              <a:gd name="connsiteX86" fmla="*/ 226257 w 648997"/>
              <a:gd name="connsiteY86" fmla="*/ 48062 h 491371"/>
              <a:gd name="connsiteX87" fmla="*/ 260538 w 648997"/>
              <a:gd name="connsiteY87" fmla="*/ 82344 h 491371"/>
              <a:gd name="connsiteX88" fmla="*/ 226257 w 648997"/>
              <a:gd name="connsiteY88" fmla="*/ 116625 h 491371"/>
              <a:gd name="connsiteX89" fmla="*/ 637633 w 648997"/>
              <a:gd name="connsiteY89" fmla="*/ 425157 h 491371"/>
              <a:gd name="connsiteX90" fmla="*/ 466226 w 648997"/>
              <a:gd name="connsiteY90" fmla="*/ 253750 h 491371"/>
              <a:gd name="connsiteX91" fmla="*/ 466226 w 648997"/>
              <a:gd name="connsiteY91" fmla="*/ 192250 h 491371"/>
              <a:gd name="connsiteX92" fmla="*/ 427420 w 648997"/>
              <a:gd name="connsiteY92" fmla="*/ 153443 h 491371"/>
              <a:gd name="connsiteX93" fmla="*/ 378946 w 648997"/>
              <a:gd name="connsiteY93" fmla="*/ 153443 h 491371"/>
              <a:gd name="connsiteX94" fmla="*/ 365576 w 648997"/>
              <a:gd name="connsiteY94" fmla="*/ 166813 h 491371"/>
              <a:gd name="connsiteX95" fmla="*/ 418232 w 648997"/>
              <a:gd name="connsiteY95" fmla="*/ 219469 h 491371"/>
              <a:gd name="connsiteX96" fmla="*/ 377095 w 648997"/>
              <a:gd name="connsiteY96" fmla="*/ 260607 h 491371"/>
              <a:gd name="connsiteX97" fmla="*/ 324439 w 648997"/>
              <a:gd name="connsiteY97" fmla="*/ 207951 h 491371"/>
              <a:gd name="connsiteX98" fmla="*/ 311069 w 648997"/>
              <a:gd name="connsiteY98" fmla="*/ 221320 h 491371"/>
              <a:gd name="connsiteX99" fmla="*/ 311069 w 648997"/>
              <a:gd name="connsiteY99" fmla="*/ 269794 h 491371"/>
              <a:gd name="connsiteX100" fmla="*/ 349875 w 648997"/>
              <a:gd name="connsiteY100" fmla="*/ 308601 h 491371"/>
              <a:gd name="connsiteX101" fmla="*/ 411376 w 648997"/>
              <a:gd name="connsiteY101" fmla="*/ 308601 h 491371"/>
              <a:gd name="connsiteX102" fmla="*/ 582783 w 648997"/>
              <a:gd name="connsiteY102" fmla="*/ 480007 h 491371"/>
              <a:gd name="connsiteX103" fmla="*/ 637633 w 648997"/>
              <a:gd name="connsiteY103" fmla="*/ 480007 h 491371"/>
              <a:gd name="connsiteX104" fmla="*/ 637633 w 648997"/>
              <a:gd name="connsiteY104" fmla="*/ 425157 h 491371"/>
              <a:gd name="connsiteX105" fmla="*/ 610208 w 648997"/>
              <a:gd name="connsiteY105" fmla="*/ 466295 h 491371"/>
              <a:gd name="connsiteX106" fmla="*/ 596495 w 648997"/>
              <a:gd name="connsiteY106" fmla="*/ 452582 h 491371"/>
              <a:gd name="connsiteX107" fmla="*/ 610208 w 648997"/>
              <a:gd name="connsiteY107" fmla="*/ 438870 h 491371"/>
              <a:gd name="connsiteX108" fmla="*/ 623920 w 648997"/>
              <a:gd name="connsiteY108" fmla="*/ 452582 h 491371"/>
              <a:gd name="connsiteX109" fmla="*/ 610208 w 648997"/>
              <a:gd name="connsiteY109" fmla="*/ 466295 h 49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648997" h="491371">
                <a:moveTo>
                  <a:pt x="224748" y="325810"/>
                </a:moveTo>
                <a:lnTo>
                  <a:pt x="253408" y="309286"/>
                </a:lnTo>
                <a:lnTo>
                  <a:pt x="232839" y="273634"/>
                </a:lnTo>
                <a:lnTo>
                  <a:pt x="204111" y="290226"/>
                </a:lnTo>
                <a:cubicBezTo>
                  <a:pt x="201780" y="287620"/>
                  <a:pt x="199312" y="285152"/>
                  <a:pt x="196638" y="282752"/>
                </a:cubicBezTo>
                <a:lnTo>
                  <a:pt x="213230" y="254025"/>
                </a:lnTo>
                <a:lnTo>
                  <a:pt x="177577" y="233456"/>
                </a:lnTo>
                <a:lnTo>
                  <a:pt x="161054" y="262115"/>
                </a:lnTo>
                <a:cubicBezTo>
                  <a:pt x="157694" y="261018"/>
                  <a:pt x="154266" y="260058"/>
                  <a:pt x="150838" y="259373"/>
                </a:cubicBezTo>
                <a:lnTo>
                  <a:pt x="150838" y="226325"/>
                </a:lnTo>
                <a:lnTo>
                  <a:pt x="109700" y="226325"/>
                </a:lnTo>
                <a:lnTo>
                  <a:pt x="109700" y="259373"/>
                </a:lnTo>
                <a:cubicBezTo>
                  <a:pt x="106272" y="260127"/>
                  <a:pt x="102844" y="261018"/>
                  <a:pt x="99484" y="262115"/>
                </a:cubicBezTo>
                <a:lnTo>
                  <a:pt x="82961" y="233456"/>
                </a:lnTo>
                <a:lnTo>
                  <a:pt x="47308" y="254025"/>
                </a:lnTo>
                <a:lnTo>
                  <a:pt x="63900" y="282752"/>
                </a:lnTo>
                <a:cubicBezTo>
                  <a:pt x="61295" y="285084"/>
                  <a:pt x="58827" y="287552"/>
                  <a:pt x="56427" y="290226"/>
                </a:cubicBezTo>
                <a:lnTo>
                  <a:pt x="27699" y="273634"/>
                </a:lnTo>
                <a:lnTo>
                  <a:pt x="7131" y="309286"/>
                </a:lnTo>
                <a:lnTo>
                  <a:pt x="35790" y="325810"/>
                </a:lnTo>
                <a:cubicBezTo>
                  <a:pt x="34693" y="329169"/>
                  <a:pt x="33733" y="332598"/>
                  <a:pt x="33047" y="336026"/>
                </a:cubicBezTo>
                <a:lnTo>
                  <a:pt x="0" y="336026"/>
                </a:lnTo>
                <a:lnTo>
                  <a:pt x="0" y="377163"/>
                </a:lnTo>
                <a:lnTo>
                  <a:pt x="33047" y="377163"/>
                </a:lnTo>
                <a:cubicBezTo>
                  <a:pt x="33801" y="380591"/>
                  <a:pt x="34693" y="384020"/>
                  <a:pt x="35790" y="387379"/>
                </a:cubicBezTo>
                <a:lnTo>
                  <a:pt x="7131" y="403903"/>
                </a:lnTo>
                <a:lnTo>
                  <a:pt x="27699" y="439555"/>
                </a:lnTo>
                <a:lnTo>
                  <a:pt x="56427" y="422963"/>
                </a:lnTo>
                <a:cubicBezTo>
                  <a:pt x="58758" y="425568"/>
                  <a:pt x="61226" y="428037"/>
                  <a:pt x="63900" y="430436"/>
                </a:cubicBezTo>
                <a:lnTo>
                  <a:pt x="47308" y="459164"/>
                </a:lnTo>
                <a:lnTo>
                  <a:pt x="82961" y="479733"/>
                </a:lnTo>
                <a:lnTo>
                  <a:pt x="99484" y="451074"/>
                </a:lnTo>
                <a:cubicBezTo>
                  <a:pt x="102844" y="452171"/>
                  <a:pt x="106272" y="453131"/>
                  <a:pt x="109700" y="453816"/>
                </a:cubicBezTo>
                <a:lnTo>
                  <a:pt x="109700" y="486864"/>
                </a:lnTo>
                <a:lnTo>
                  <a:pt x="150838" y="486864"/>
                </a:lnTo>
                <a:lnTo>
                  <a:pt x="150838" y="453816"/>
                </a:lnTo>
                <a:cubicBezTo>
                  <a:pt x="154266" y="453062"/>
                  <a:pt x="157694" y="452171"/>
                  <a:pt x="161054" y="451074"/>
                </a:cubicBezTo>
                <a:lnTo>
                  <a:pt x="177577" y="479733"/>
                </a:lnTo>
                <a:lnTo>
                  <a:pt x="213230" y="459164"/>
                </a:lnTo>
                <a:lnTo>
                  <a:pt x="196638" y="430436"/>
                </a:lnTo>
                <a:cubicBezTo>
                  <a:pt x="199243" y="428105"/>
                  <a:pt x="201711" y="425637"/>
                  <a:pt x="204111" y="422963"/>
                </a:cubicBezTo>
                <a:lnTo>
                  <a:pt x="232839" y="439555"/>
                </a:lnTo>
                <a:lnTo>
                  <a:pt x="253408" y="403903"/>
                </a:lnTo>
                <a:lnTo>
                  <a:pt x="224748" y="387379"/>
                </a:lnTo>
                <a:cubicBezTo>
                  <a:pt x="225845" y="384020"/>
                  <a:pt x="226805" y="380591"/>
                  <a:pt x="227491" y="377163"/>
                </a:cubicBezTo>
                <a:lnTo>
                  <a:pt x="260538" y="377163"/>
                </a:lnTo>
                <a:lnTo>
                  <a:pt x="260538" y="336026"/>
                </a:lnTo>
                <a:lnTo>
                  <a:pt x="227491" y="336026"/>
                </a:lnTo>
                <a:cubicBezTo>
                  <a:pt x="226737" y="332598"/>
                  <a:pt x="225845" y="329169"/>
                  <a:pt x="224748" y="325810"/>
                </a:cubicBezTo>
                <a:close/>
                <a:moveTo>
                  <a:pt x="202260" y="356594"/>
                </a:moveTo>
                <a:cubicBezTo>
                  <a:pt x="202260" y="396361"/>
                  <a:pt x="170035" y="428585"/>
                  <a:pt x="130269" y="428585"/>
                </a:cubicBezTo>
                <a:cubicBezTo>
                  <a:pt x="90503" y="428585"/>
                  <a:pt x="58278" y="396361"/>
                  <a:pt x="58278" y="356594"/>
                </a:cubicBezTo>
                <a:cubicBezTo>
                  <a:pt x="58278" y="316828"/>
                  <a:pt x="90503" y="284604"/>
                  <a:pt x="130269" y="284604"/>
                </a:cubicBezTo>
                <a:cubicBezTo>
                  <a:pt x="170035" y="284604"/>
                  <a:pt x="202191" y="316828"/>
                  <a:pt x="202260" y="356594"/>
                </a:cubicBezTo>
                <a:close/>
                <a:moveTo>
                  <a:pt x="164550" y="356594"/>
                </a:moveTo>
                <a:cubicBezTo>
                  <a:pt x="164550" y="375518"/>
                  <a:pt x="149192" y="390876"/>
                  <a:pt x="130269" y="390876"/>
                </a:cubicBezTo>
                <a:cubicBezTo>
                  <a:pt x="111346" y="390876"/>
                  <a:pt x="95988" y="375518"/>
                  <a:pt x="95988" y="356594"/>
                </a:cubicBezTo>
                <a:cubicBezTo>
                  <a:pt x="95988" y="337671"/>
                  <a:pt x="111346" y="322313"/>
                  <a:pt x="130269" y="322313"/>
                </a:cubicBezTo>
                <a:cubicBezTo>
                  <a:pt x="149192" y="322313"/>
                  <a:pt x="164550" y="337671"/>
                  <a:pt x="164550" y="356594"/>
                </a:cubicBezTo>
                <a:close/>
                <a:moveTo>
                  <a:pt x="307778" y="105655"/>
                </a:moveTo>
                <a:lnTo>
                  <a:pt x="286866" y="93588"/>
                </a:lnTo>
                <a:cubicBezTo>
                  <a:pt x="288306" y="86183"/>
                  <a:pt x="288306" y="78504"/>
                  <a:pt x="286866" y="71099"/>
                </a:cubicBezTo>
                <a:lnTo>
                  <a:pt x="307778" y="59032"/>
                </a:lnTo>
                <a:lnTo>
                  <a:pt x="287209" y="23380"/>
                </a:lnTo>
                <a:lnTo>
                  <a:pt x="266297" y="35447"/>
                </a:lnTo>
                <a:cubicBezTo>
                  <a:pt x="260538" y="30510"/>
                  <a:pt x="253956" y="26739"/>
                  <a:pt x="246826" y="24203"/>
                </a:cubicBezTo>
                <a:lnTo>
                  <a:pt x="246826" y="0"/>
                </a:lnTo>
                <a:lnTo>
                  <a:pt x="205688" y="0"/>
                </a:lnTo>
                <a:lnTo>
                  <a:pt x="205688" y="24203"/>
                </a:lnTo>
                <a:cubicBezTo>
                  <a:pt x="198557" y="26739"/>
                  <a:pt x="191975" y="30510"/>
                  <a:pt x="186216" y="35447"/>
                </a:cubicBezTo>
                <a:lnTo>
                  <a:pt x="165305" y="23380"/>
                </a:lnTo>
                <a:lnTo>
                  <a:pt x="144736" y="59032"/>
                </a:lnTo>
                <a:lnTo>
                  <a:pt x="165647" y="71099"/>
                </a:lnTo>
                <a:cubicBezTo>
                  <a:pt x="164208" y="78504"/>
                  <a:pt x="164208" y="86183"/>
                  <a:pt x="165647" y="93588"/>
                </a:cubicBezTo>
                <a:lnTo>
                  <a:pt x="144736" y="105655"/>
                </a:lnTo>
                <a:lnTo>
                  <a:pt x="165305" y="141308"/>
                </a:lnTo>
                <a:lnTo>
                  <a:pt x="186216" y="129241"/>
                </a:lnTo>
                <a:cubicBezTo>
                  <a:pt x="191975" y="134177"/>
                  <a:pt x="198557" y="137948"/>
                  <a:pt x="205688" y="140485"/>
                </a:cubicBezTo>
                <a:lnTo>
                  <a:pt x="205688" y="164688"/>
                </a:lnTo>
                <a:lnTo>
                  <a:pt x="246826" y="164688"/>
                </a:lnTo>
                <a:lnTo>
                  <a:pt x="246826" y="140485"/>
                </a:lnTo>
                <a:cubicBezTo>
                  <a:pt x="253956" y="137948"/>
                  <a:pt x="260538" y="134177"/>
                  <a:pt x="266297" y="129241"/>
                </a:cubicBezTo>
                <a:lnTo>
                  <a:pt x="287209" y="141308"/>
                </a:lnTo>
                <a:lnTo>
                  <a:pt x="307778" y="105655"/>
                </a:lnTo>
                <a:close/>
                <a:moveTo>
                  <a:pt x="226257" y="116625"/>
                </a:moveTo>
                <a:cubicBezTo>
                  <a:pt x="207334" y="116625"/>
                  <a:pt x="191975" y="101267"/>
                  <a:pt x="191975" y="82344"/>
                </a:cubicBezTo>
                <a:cubicBezTo>
                  <a:pt x="191975" y="63420"/>
                  <a:pt x="207334" y="48062"/>
                  <a:pt x="226257" y="48062"/>
                </a:cubicBezTo>
                <a:cubicBezTo>
                  <a:pt x="245180" y="48062"/>
                  <a:pt x="260538" y="63420"/>
                  <a:pt x="260538" y="82344"/>
                </a:cubicBezTo>
                <a:cubicBezTo>
                  <a:pt x="260538" y="101267"/>
                  <a:pt x="245180" y="116625"/>
                  <a:pt x="226257" y="116625"/>
                </a:cubicBezTo>
                <a:close/>
                <a:moveTo>
                  <a:pt x="637633" y="425157"/>
                </a:moveTo>
                <a:lnTo>
                  <a:pt x="466226" y="253750"/>
                </a:lnTo>
                <a:lnTo>
                  <a:pt x="466226" y="192250"/>
                </a:lnTo>
                <a:lnTo>
                  <a:pt x="427420" y="153443"/>
                </a:lnTo>
                <a:cubicBezTo>
                  <a:pt x="414050" y="140074"/>
                  <a:pt x="392316" y="140074"/>
                  <a:pt x="378946" y="153443"/>
                </a:cubicBezTo>
                <a:lnTo>
                  <a:pt x="365576" y="166813"/>
                </a:lnTo>
                <a:lnTo>
                  <a:pt x="418232" y="219469"/>
                </a:lnTo>
                <a:lnTo>
                  <a:pt x="377095" y="260607"/>
                </a:lnTo>
                <a:lnTo>
                  <a:pt x="324439" y="207951"/>
                </a:lnTo>
                <a:lnTo>
                  <a:pt x="311069" y="221320"/>
                </a:lnTo>
                <a:cubicBezTo>
                  <a:pt x="297699" y="234690"/>
                  <a:pt x="297699" y="256424"/>
                  <a:pt x="311069" y="269794"/>
                </a:cubicBezTo>
                <a:lnTo>
                  <a:pt x="349875" y="308601"/>
                </a:lnTo>
                <a:lnTo>
                  <a:pt x="411376" y="308601"/>
                </a:lnTo>
                <a:lnTo>
                  <a:pt x="582783" y="480007"/>
                </a:lnTo>
                <a:cubicBezTo>
                  <a:pt x="597935" y="495160"/>
                  <a:pt x="622480" y="495160"/>
                  <a:pt x="637633" y="480007"/>
                </a:cubicBezTo>
                <a:cubicBezTo>
                  <a:pt x="652785" y="464855"/>
                  <a:pt x="652785" y="440309"/>
                  <a:pt x="637633" y="425157"/>
                </a:cubicBezTo>
                <a:close/>
                <a:moveTo>
                  <a:pt x="610208" y="466295"/>
                </a:moveTo>
                <a:cubicBezTo>
                  <a:pt x="602666" y="466295"/>
                  <a:pt x="596495" y="460124"/>
                  <a:pt x="596495" y="452582"/>
                </a:cubicBezTo>
                <a:cubicBezTo>
                  <a:pt x="596495" y="445040"/>
                  <a:pt x="602666" y="438870"/>
                  <a:pt x="610208" y="438870"/>
                </a:cubicBezTo>
                <a:cubicBezTo>
                  <a:pt x="617750" y="438870"/>
                  <a:pt x="623920" y="445040"/>
                  <a:pt x="623920" y="452582"/>
                </a:cubicBezTo>
                <a:cubicBezTo>
                  <a:pt x="623920" y="460124"/>
                  <a:pt x="617750" y="466295"/>
                  <a:pt x="610208" y="466295"/>
                </a:cubicBezTo>
                <a:close/>
              </a:path>
            </a:pathLst>
          </a:custGeom>
          <a:solidFill>
            <a:srgbClr val="00C1B6"/>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cxnSp>
        <p:nvCxnSpPr>
          <p:cNvPr id="52" name="Straight Connector 37">
            <a:extLst>
              <a:ext uri="{FF2B5EF4-FFF2-40B4-BE49-F238E27FC236}">
                <a16:creationId xmlns:a16="http://schemas.microsoft.com/office/drawing/2014/main" id="{17650FFA-FE2C-50AD-6676-00C4DCA82AA4}"/>
              </a:ext>
            </a:extLst>
          </p:cNvPr>
          <p:cNvCxnSpPr>
            <a:cxnSpLocks/>
          </p:cNvCxnSpPr>
          <p:nvPr/>
        </p:nvCxnSpPr>
        <p:spPr>
          <a:xfrm>
            <a:off x="1924050"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Straight Connector 39">
            <a:extLst>
              <a:ext uri="{FF2B5EF4-FFF2-40B4-BE49-F238E27FC236}">
                <a16:creationId xmlns:a16="http://schemas.microsoft.com/office/drawing/2014/main" id="{B8D53D47-04BE-3FC4-25C4-0A09C5517465}"/>
              </a:ext>
            </a:extLst>
          </p:cNvPr>
          <p:cNvCxnSpPr>
            <a:cxnSpLocks/>
          </p:cNvCxnSpPr>
          <p:nvPr/>
        </p:nvCxnSpPr>
        <p:spPr>
          <a:xfrm>
            <a:off x="4375876"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40">
            <a:extLst>
              <a:ext uri="{FF2B5EF4-FFF2-40B4-BE49-F238E27FC236}">
                <a16:creationId xmlns:a16="http://schemas.microsoft.com/office/drawing/2014/main" id="{345B331D-41DD-59D9-1FE9-4A4EB355AA14}"/>
              </a:ext>
            </a:extLst>
          </p:cNvPr>
          <p:cNvCxnSpPr>
            <a:cxnSpLocks/>
          </p:cNvCxnSpPr>
          <p:nvPr/>
        </p:nvCxnSpPr>
        <p:spPr>
          <a:xfrm>
            <a:off x="6824918"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41">
            <a:extLst>
              <a:ext uri="{FF2B5EF4-FFF2-40B4-BE49-F238E27FC236}">
                <a16:creationId xmlns:a16="http://schemas.microsoft.com/office/drawing/2014/main" id="{C1F4386B-F2D3-6ACC-36E5-8B3D7983F8D2}"/>
              </a:ext>
            </a:extLst>
          </p:cNvPr>
          <p:cNvCxnSpPr>
            <a:cxnSpLocks/>
          </p:cNvCxnSpPr>
          <p:nvPr/>
        </p:nvCxnSpPr>
        <p:spPr>
          <a:xfrm>
            <a:off x="9269451"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 name="Rectangle 59">
            <a:extLst>
              <a:ext uri="{FF2B5EF4-FFF2-40B4-BE49-F238E27FC236}">
                <a16:creationId xmlns:a16="http://schemas.microsoft.com/office/drawing/2014/main" id="{FF73BC40-C33C-17C3-CDC0-A555DDCC07C6}"/>
              </a:ext>
            </a:extLst>
          </p:cNvPr>
          <p:cNvSpPr/>
          <p:nvPr/>
        </p:nvSpPr>
        <p:spPr>
          <a:xfrm>
            <a:off x="1701980" y="1294505"/>
            <a:ext cx="7562965" cy="3927107"/>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Tree>
    <p:extLst>
      <p:ext uri="{BB962C8B-B14F-4D97-AF65-F5344CB8AC3E}">
        <p14:creationId xmlns:p14="http://schemas.microsoft.com/office/powerpoint/2010/main" val="28900504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739E0-6090-9FFE-5AF4-391E434904F6}"/>
              </a:ext>
            </a:extLst>
          </p:cNvPr>
          <p:cNvSpPr>
            <a:spLocks noGrp="1"/>
          </p:cNvSpPr>
          <p:nvPr>
            <p:ph type="title"/>
          </p:nvPr>
        </p:nvSpPr>
        <p:spPr/>
        <p:txBody>
          <a:bodyPr/>
          <a:lstStyle/>
          <a:p>
            <a:r>
              <a:rPr lang="en-US">
                <a:ea typeface="ＭＳ Ｐゴシック"/>
              </a:rPr>
              <a:t>SIMATIC PCS neo – New Version 6.0 now available!</a:t>
            </a:r>
            <a:endParaRPr lang="en-US"/>
          </a:p>
        </p:txBody>
      </p:sp>
      <p:sp>
        <p:nvSpPr>
          <p:cNvPr id="3" name="Footer Placeholder 2">
            <a:extLst>
              <a:ext uri="{FF2B5EF4-FFF2-40B4-BE49-F238E27FC236}">
                <a16:creationId xmlns:a16="http://schemas.microsoft.com/office/drawing/2014/main" id="{0F59F21D-5D1E-98C6-B4C0-D626A37B2D24}"/>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5" name="Rechteck 17">
            <a:extLst>
              <a:ext uri="{FF2B5EF4-FFF2-40B4-BE49-F238E27FC236}">
                <a16:creationId xmlns:a16="http://schemas.microsoft.com/office/drawing/2014/main" id="{9698EA1C-85DD-1ABC-D7C8-1DD3632FFC94}"/>
              </a:ext>
            </a:extLst>
          </p:cNvPr>
          <p:cNvSpPr>
            <a:spLocks/>
          </p:cNvSpPr>
          <p:nvPr>
            <p:custDataLst>
              <p:tags r:id="rId1"/>
            </p:custDataLst>
          </p:nvPr>
        </p:nvSpPr>
        <p:spPr>
          <a:xfrm>
            <a:off x="3723082" y="1404473"/>
            <a:ext cx="45719" cy="12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spcAft>
                <a:spcPts val="300"/>
              </a:spcAft>
            </a:pPr>
            <a:endParaRPr lang="en-US" sz="1200" noProof="0"/>
          </a:p>
        </p:txBody>
      </p:sp>
      <p:sp>
        <p:nvSpPr>
          <p:cNvPr id="6" name="Rechteck 25">
            <a:extLst>
              <a:ext uri="{FF2B5EF4-FFF2-40B4-BE49-F238E27FC236}">
                <a16:creationId xmlns:a16="http://schemas.microsoft.com/office/drawing/2014/main" id="{69C0C392-6EFB-5B26-8842-2D3977E45150}"/>
              </a:ext>
            </a:extLst>
          </p:cNvPr>
          <p:cNvSpPr>
            <a:spLocks/>
          </p:cNvSpPr>
          <p:nvPr>
            <p:custDataLst>
              <p:tags r:id="rId2"/>
            </p:custDataLst>
          </p:nvPr>
        </p:nvSpPr>
        <p:spPr>
          <a:xfrm>
            <a:off x="3723437" y="4513617"/>
            <a:ext cx="46800" cy="12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spcAft>
                <a:spcPts val="300"/>
              </a:spcAft>
            </a:pPr>
            <a:endParaRPr lang="en-US" sz="1200" noProof="0"/>
          </a:p>
        </p:txBody>
      </p:sp>
      <p:sp>
        <p:nvSpPr>
          <p:cNvPr id="7" name="Rechteck 49">
            <a:extLst>
              <a:ext uri="{FF2B5EF4-FFF2-40B4-BE49-F238E27FC236}">
                <a16:creationId xmlns:a16="http://schemas.microsoft.com/office/drawing/2014/main" id="{A7647BAE-D9B4-8ADF-393C-9EA62DB9695D}"/>
              </a:ext>
            </a:extLst>
          </p:cNvPr>
          <p:cNvSpPr>
            <a:spLocks/>
          </p:cNvSpPr>
          <p:nvPr>
            <p:custDataLst>
              <p:tags r:id="rId3"/>
            </p:custDataLst>
          </p:nvPr>
        </p:nvSpPr>
        <p:spPr>
          <a:xfrm>
            <a:off x="3723082" y="2959045"/>
            <a:ext cx="45719" cy="12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spcAft>
                <a:spcPts val="300"/>
              </a:spcAft>
            </a:pPr>
            <a:endParaRPr lang="en-US" sz="1200" noProof="0"/>
          </a:p>
        </p:txBody>
      </p:sp>
      <p:grpSp>
        <p:nvGrpSpPr>
          <p:cNvPr id="8" name="Group 7">
            <a:extLst>
              <a:ext uri="{FF2B5EF4-FFF2-40B4-BE49-F238E27FC236}">
                <a16:creationId xmlns:a16="http://schemas.microsoft.com/office/drawing/2014/main" id="{13E06510-B3C9-91ED-CC26-A9AF3B6804DB}"/>
              </a:ext>
            </a:extLst>
          </p:cNvPr>
          <p:cNvGrpSpPr/>
          <p:nvPr/>
        </p:nvGrpSpPr>
        <p:grpSpPr>
          <a:xfrm>
            <a:off x="4316239" y="2094915"/>
            <a:ext cx="3382878" cy="3349052"/>
            <a:chOff x="4537620" y="2094915"/>
            <a:chExt cx="3382878" cy="3349052"/>
          </a:xfrm>
        </p:grpSpPr>
        <p:sp>
          <p:nvSpPr>
            <p:cNvPr id="9" name="Freeform 327">
              <a:extLst>
                <a:ext uri="{FF2B5EF4-FFF2-40B4-BE49-F238E27FC236}">
                  <a16:creationId xmlns:a16="http://schemas.microsoft.com/office/drawing/2014/main" id="{678D3405-0046-BC4B-61A4-6EC97A00375E}"/>
                </a:ext>
              </a:extLst>
            </p:cNvPr>
            <p:cNvSpPr>
              <a:spLocks noEditPoints="1"/>
            </p:cNvSpPr>
            <p:nvPr/>
          </p:nvSpPr>
          <p:spPr bwMode="gray">
            <a:xfrm>
              <a:off x="5306350" y="2797155"/>
              <a:ext cx="1913076" cy="1997067"/>
            </a:xfrm>
            <a:custGeom>
              <a:avLst/>
              <a:gdLst>
                <a:gd name="T0" fmla="*/ 921 w 921"/>
                <a:gd name="T1" fmla="*/ 421 h 961"/>
                <a:gd name="T2" fmla="*/ 901 w 921"/>
                <a:gd name="T3" fmla="*/ 334 h 961"/>
                <a:gd name="T4" fmla="*/ 889 w 921"/>
                <a:gd name="T5" fmla="*/ 303 h 961"/>
                <a:gd name="T6" fmla="*/ 743 w 921"/>
                <a:gd name="T7" fmla="*/ 113 h 961"/>
                <a:gd name="T8" fmla="*/ 828 w 921"/>
                <a:gd name="T9" fmla="*/ 199 h 961"/>
                <a:gd name="T10" fmla="*/ 845 w 921"/>
                <a:gd name="T11" fmla="*/ 186 h 961"/>
                <a:gd name="T12" fmla="*/ 519 w 921"/>
                <a:gd name="T13" fmla="*/ 0 h 961"/>
                <a:gd name="T14" fmla="*/ 496 w 921"/>
                <a:gd name="T15" fmla="*/ 18 h 961"/>
                <a:gd name="T16" fmla="*/ 460 w 921"/>
                <a:gd name="T17" fmla="*/ 16 h 961"/>
                <a:gd name="T18" fmla="*/ 92 w 921"/>
                <a:gd name="T19" fmla="*/ 198 h 961"/>
                <a:gd name="T20" fmla="*/ 92 w 921"/>
                <a:gd name="T21" fmla="*/ 198 h 961"/>
                <a:gd name="T22" fmla="*/ 49 w 921"/>
                <a:gd name="T23" fmla="*/ 310 h 961"/>
                <a:gd name="T24" fmla="*/ 16 w 921"/>
                <a:gd name="T25" fmla="*/ 481 h 961"/>
                <a:gd name="T26" fmla="*/ 18 w 921"/>
                <a:gd name="T27" fmla="*/ 531 h 961"/>
                <a:gd name="T28" fmla="*/ 0 w 921"/>
                <a:gd name="T29" fmla="*/ 542 h 961"/>
                <a:gd name="T30" fmla="*/ 76 w 921"/>
                <a:gd name="T31" fmla="*/ 774 h 961"/>
                <a:gd name="T32" fmla="*/ 343 w 921"/>
                <a:gd name="T33" fmla="*/ 951 h 961"/>
                <a:gd name="T34" fmla="*/ 400 w 921"/>
                <a:gd name="T35" fmla="*/ 941 h 961"/>
                <a:gd name="T36" fmla="*/ 365 w 921"/>
                <a:gd name="T37" fmla="*/ 934 h 961"/>
                <a:gd name="T38" fmla="*/ 460 w 921"/>
                <a:gd name="T39" fmla="*/ 927 h 961"/>
                <a:gd name="T40" fmla="*/ 521 w 921"/>
                <a:gd name="T41" fmla="*/ 941 h 961"/>
                <a:gd name="T42" fmla="*/ 645 w 921"/>
                <a:gd name="T43" fmla="*/ 928 h 961"/>
                <a:gd name="T44" fmla="*/ 741 w 921"/>
                <a:gd name="T45" fmla="*/ 875 h 961"/>
                <a:gd name="T46" fmla="*/ 832 w 921"/>
                <a:gd name="T47" fmla="*/ 767 h 961"/>
                <a:gd name="T48" fmla="*/ 816 w 921"/>
                <a:gd name="T49" fmla="*/ 753 h 961"/>
                <a:gd name="T50" fmla="*/ 460 w 921"/>
                <a:gd name="T51" fmla="*/ 17 h 961"/>
                <a:gd name="T52" fmla="*/ 514 w 921"/>
                <a:gd name="T53" fmla="*/ 38 h 961"/>
                <a:gd name="T54" fmla="*/ 460 w 921"/>
                <a:gd name="T55" fmla="*/ 17 h 961"/>
                <a:gd name="T56" fmla="*/ 399 w 921"/>
                <a:gd name="T57" fmla="*/ 21 h 961"/>
                <a:gd name="T58" fmla="*/ 295 w 921"/>
                <a:gd name="T59" fmla="*/ 103 h 961"/>
                <a:gd name="T60" fmla="*/ 126 w 921"/>
                <a:gd name="T61" fmla="*/ 188 h 961"/>
                <a:gd name="T62" fmla="*/ 606 w 921"/>
                <a:gd name="T63" fmla="*/ 921 h 961"/>
                <a:gd name="T64" fmla="*/ 637 w 921"/>
                <a:gd name="T65" fmla="*/ 909 h 961"/>
                <a:gd name="T66" fmla="*/ 831 w 921"/>
                <a:gd name="T67" fmla="*/ 634 h 961"/>
                <a:gd name="T68" fmla="*/ 856 w 921"/>
                <a:gd name="T69" fmla="*/ 680 h 961"/>
                <a:gd name="T70" fmla="*/ 827 w 921"/>
                <a:gd name="T71" fmla="*/ 763 h 961"/>
                <a:gd name="T72" fmla="*/ 754 w 921"/>
                <a:gd name="T73" fmla="*/ 864 h 961"/>
                <a:gd name="T74" fmla="*/ 630 w 921"/>
                <a:gd name="T75" fmla="*/ 890 h 961"/>
                <a:gd name="T76" fmla="*/ 403 w 921"/>
                <a:gd name="T77" fmla="*/ 920 h 961"/>
                <a:gd name="T78" fmla="*/ 291 w 921"/>
                <a:gd name="T79" fmla="*/ 891 h 961"/>
                <a:gd name="T80" fmla="*/ 192 w 921"/>
                <a:gd name="T81" fmla="*/ 834 h 961"/>
                <a:gd name="T82" fmla="*/ 177 w 921"/>
                <a:gd name="T83" fmla="*/ 848 h 961"/>
                <a:gd name="T84" fmla="*/ 178 w 921"/>
                <a:gd name="T85" fmla="*/ 849 h 961"/>
                <a:gd name="T86" fmla="*/ 396 w 921"/>
                <a:gd name="T87" fmla="*/ 960 h 961"/>
                <a:gd name="T88" fmla="*/ 93 w 921"/>
                <a:gd name="T89" fmla="*/ 763 h 961"/>
                <a:gd name="T90" fmla="*/ 92 w 921"/>
                <a:gd name="T91" fmla="*/ 762 h 961"/>
                <a:gd name="T92" fmla="*/ 20 w 921"/>
                <a:gd name="T93" fmla="*/ 539 h 961"/>
                <a:gd name="T94" fmla="*/ 22 w 921"/>
                <a:gd name="T95" fmla="*/ 538 h 961"/>
                <a:gd name="T96" fmla="*/ 82 w 921"/>
                <a:gd name="T97" fmla="*/ 323 h 961"/>
                <a:gd name="T98" fmla="*/ 225 w 921"/>
                <a:gd name="T99" fmla="*/ 173 h 961"/>
                <a:gd name="T100" fmla="*/ 324 w 921"/>
                <a:gd name="T101" fmla="*/ 151 h 961"/>
                <a:gd name="T102" fmla="*/ 410 w 921"/>
                <a:gd name="T103" fmla="*/ 96 h 961"/>
                <a:gd name="T104" fmla="*/ 518 w 921"/>
                <a:gd name="T105" fmla="*/ 41 h 961"/>
                <a:gd name="T106" fmla="*/ 841 w 921"/>
                <a:gd name="T107" fmla="*/ 188 h 961"/>
                <a:gd name="T108" fmla="*/ 743 w 921"/>
                <a:gd name="T109" fmla="*/ 112 h 961"/>
                <a:gd name="T110" fmla="*/ 631 w 921"/>
                <a:gd name="T111" fmla="*/ 67 h 961"/>
                <a:gd name="T112" fmla="*/ 870 w 921"/>
                <a:gd name="T113" fmla="*/ 311 h 961"/>
                <a:gd name="T114" fmla="*/ 900 w 921"/>
                <a:gd name="T115" fmla="*/ 335 h 961"/>
                <a:gd name="T116" fmla="*/ 685 w 921"/>
                <a:gd name="T117" fmla="*/ 452 h 961"/>
                <a:gd name="T118" fmla="*/ 902 w 921"/>
                <a:gd name="T119" fmla="*/ 439 h 961"/>
                <a:gd name="T120" fmla="*/ 900 w 921"/>
                <a:gd name="T121" fmla="*/ 538 h 961"/>
                <a:gd name="T122" fmla="*/ 895 w 921"/>
                <a:gd name="T123" fmla="*/ 569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1" h="961">
                  <a:moveTo>
                    <a:pt x="905" y="423"/>
                  </a:moveTo>
                  <a:cubicBezTo>
                    <a:pt x="921" y="421"/>
                    <a:pt x="921" y="421"/>
                    <a:pt x="921" y="421"/>
                  </a:cubicBezTo>
                  <a:cubicBezTo>
                    <a:pt x="921" y="421"/>
                    <a:pt x="921" y="421"/>
                    <a:pt x="921" y="421"/>
                  </a:cubicBezTo>
                  <a:cubicBezTo>
                    <a:pt x="921" y="421"/>
                    <a:pt x="921" y="421"/>
                    <a:pt x="921" y="421"/>
                  </a:cubicBezTo>
                  <a:cubicBezTo>
                    <a:pt x="921" y="420"/>
                    <a:pt x="921" y="420"/>
                    <a:pt x="921" y="420"/>
                  </a:cubicBezTo>
                  <a:cubicBezTo>
                    <a:pt x="921" y="419"/>
                    <a:pt x="921" y="419"/>
                    <a:pt x="921" y="419"/>
                  </a:cubicBezTo>
                  <a:cubicBezTo>
                    <a:pt x="921" y="419"/>
                    <a:pt x="921" y="419"/>
                    <a:pt x="921" y="419"/>
                  </a:cubicBezTo>
                  <a:cubicBezTo>
                    <a:pt x="917" y="390"/>
                    <a:pt x="910" y="362"/>
                    <a:pt x="901" y="334"/>
                  </a:cubicBezTo>
                  <a:cubicBezTo>
                    <a:pt x="899" y="329"/>
                    <a:pt x="897" y="324"/>
                    <a:pt x="895" y="318"/>
                  </a:cubicBezTo>
                  <a:cubicBezTo>
                    <a:pt x="893" y="313"/>
                    <a:pt x="891" y="308"/>
                    <a:pt x="889" y="302"/>
                  </a:cubicBezTo>
                  <a:cubicBezTo>
                    <a:pt x="889" y="302"/>
                    <a:pt x="889" y="302"/>
                    <a:pt x="889" y="302"/>
                  </a:cubicBezTo>
                  <a:cubicBezTo>
                    <a:pt x="889" y="303"/>
                    <a:pt x="889" y="303"/>
                    <a:pt x="889" y="303"/>
                  </a:cubicBezTo>
                  <a:cubicBezTo>
                    <a:pt x="888" y="303"/>
                    <a:pt x="888" y="303"/>
                    <a:pt x="888" y="303"/>
                  </a:cubicBezTo>
                  <a:cubicBezTo>
                    <a:pt x="873" y="309"/>
                    <a:pt x="873" y="309"/>
                    <a:pt x="873" y="309"/>
                  </a:cubicBezTo>
                  <a:cubicBezTo>
                    <a:pt x="843" y="236"/>
                    <a:pt x="794" y="173"/>
                    <a:pt x="733" y="126"/>
                  </a:cubicBezTo>
                  <a:cubicBezTo>
                    <a:pt x="743" y="113"/>
                    <a:pt x="743" y="113"/>
                    <a:pt x="743" y="113"/>
                  </a:cubicBezTo>
                  <a:cubicBezTo>
                    <a:pt x="747" y="117"/>
                    <a:pt x="751" y="120"/>
                    <a:pt x="755" y="124"/>
                  </a:cubicBezTo>
                  <a:cubicBezTo>
                    <a:pt x="760" y="127"/>
                    <a:pt x="764" y="131"/>
                    <a:pt x="768" y="135"/>
                  </a:cubicBezTo>
                  <a:cubicBezTo>
                    <a:pt x="790" y="154"/>
                    <a:pt x="810" y="176"/>
                    <a:pt x="828" y="199"/>
                  </a:cubicBezTo>
                  <a:cubicBezTo>
                    <a:pt x="828" y="199"/>
                    <a:pt x="828" y="199"/>
                    <a:pt x="828" y="199"/>
                  </a:cubicBezTo>
                  <a:cubicBezTo>
                    <a:pt x="828" y="199"/>
                    <a:pt x="828" y="199"/>
                    <a:pt x="828" y="199"/>
                  </a:cubicBezTo>
                  <a:cubicBezTo>
                    <a:pt x="844" y="187"/>
                    <a:pt x="844" y="187"/>
                    <a:pt x="844" y="187"/>
                  </a:cubicBezTo>
                  <a:cubicBezTo>
                    <a:pt x="845" y="186"/>
                    <a:pt x="845" y="186"/>
                    <a:pt x="845" y="186"/>
                  </a:cubicBezTo>
                  <a:cubicBezTo>
                    <a:pt x="845" y="186"/>
                    <a:pt x="845" y="186"/>
                    <a:pt x="845" y="186"/>
                  </a:cubicBezTo>
                  <a:cubicBezTo>
                    <a:pt x="845" y="186"/>
                    <a:pt x="845" y="186"/>
                    <a:pt x="845" y="186"/>
                  </a:cubicBezTo>
                  <a:cubicBezTo>
                    <a:pt x="845" y="186"/>
                    <a:pt x="844" y="186"/>
                    <a:pt x="844" y="185"/>
                  </a:cubicBezTo>
                  <a:cubicBezTo>
                    <a:pt x="768" y="87"/>
                    <a:pt x="656" y="18"/>
                    <a:pt x="527" y="1"/>
                  </a:cubicBezTo>
                  <a:cubicBezTo>
                    <a:pt x="524" y="0"/>
                    <a:pt x="522" y="0"/>
                    <a:pt x="519" y="0"/>
                  </a:cubicBezTo>
                  <a:cubicBezTo>
                    <a:pt x="519" y="0"/>
                    <a:pt x="519" y="0"/>
                    <a:pt x="519" y="0"/>
                  </a:cubicBezTo>
                  <a:cubicBezTo>
                    <a:pt x="519" y="0"/>
                    <a:pt x="519" y="0"/>
                    <a:pt x="519" y="0"/>
                  </a:cubicBezTo>
                  <a:cubicBezTo>
                    <a:pt x="517" y="20"/>
                    <a:pt x="517" y="20"/>
                    <a:pt x="517" y="20"/>
                  </a:cubicBezTo>
                  <a:cubicBezTo>
                    <a:pt x="510" y="19"/>
                    <a:pt x="503" y="18"/>
                    <a:pt x="496" y="18"/>
                  </a:cubicBezTo>
                  <a:cubicBezTo>
                    <a:pt x="494" y="17"/>
                    <a:pt x="492" y="17"/>
                    <a:pt x="491" y="17"/>
                  </a:cubicBezTo>
                  <a:cubicBezTo>
                    <a:pt x="481" y="17"/>
                    <a:pt x="470" y="16"/>
                    <a:pt x="460" y="16"/>
                  </a:cubicBezTo>
                  <a:cubicBezTo>
                    <a:pt x="460" y="16"/>
                    <a:pt x="460" y="16"/>
                    <a:pt x="460" y="16"/>
                  </a:cubicBezTo>
                  <a:cubicBezTo>
                    <a:pt x="460" y="16"/>
                    <a:pt x="460" y="16"/>
                    <a:pt x="460" y="16"/>
                  </a:cubicBezTo>
                  <a:cubicBezTo>
                    <a:pt x="352" y="16"/>
                    <a:pt x="253" y="53"/>
                    <a:pt x="174" y="115"/>
                  </a:cubicBezTo>
                  <a:cubicBezTo>
                    <a:pt x="158" y="127"/>
                    <a:pt x="144" y="140"/>
                    <a:pt x="130" y="154"/>
                  </a:cubicBezTo>
                  <a:cubicBezTo>
                    <a:pt x="116" y="168"/>
                    <a:pt x="103" y="183"/>
                    <a:pt x="92" y="198"/>
                  </a:cubicBezTo>
                  <a:cubicBezTo>
                    <a:pt x="92" y="198"/>
                    <a:pt x="92" y="198"/>
                    <a:pt x="92" y="198"/>
                  </a:cubicBezTo>
                  <a:cubicBezTo>
                    <a:pt x="92" y="198"/>
                    <a:pt x="92" y="198"/>
                    <a:pt x="92" y="198"/>
                  </a:cubicBezTo>
                  <a:cubicBezTo>
                    <a:pt x="92" y="198"/>
                    <a:pt x="92" y="198"/>
                    <a:pt x="92" y="198"/>
                  </a:cubicBezTo>
                  <a:cubicBezTo>
                    <a:pt x="92" y="198"/>
                    <a:pt x="92" y="198"/>
                    <a:pt x="92" y="198"/>
                  </a:cubicBezTo>
                  <a:cubicBezTo>
                    <a:pt x="92" y="198"/>
                    <a:pt x="92" y="198"/>
                    <a:pt x="92" y="198"/>
                  </a:cubicBezTo>
                  <a:cubicBezTo>
                    <a:pt x="91" y="199"/>
                    <a:pt x="91" y="199"/>
                    <a:pt x="91" y="199"/>
                  </a:cubicBezTo>
                  <a:cubicBezTo>
                    <a:pt x="107" y="211"/>
                    <a:pt x="107" y="211"/>
                    <a:pt x="107" y="211"/>
                  </a:cubicBezTo>
                  <a:cubicBezTo>
                    <a:pt x="98" y="222"/>
                    <a:pt x="90" y="234"/>
                    <a:pt x="83" y="246"/>
                  </a:cubicBezTo>
                  <a:cubicBezTo>
                    <a:pt x="70" y="266"/>
                    <a:pt x="59" y="288"/>
                    <a:pt x="49" y="310"/>
                  </a:cubicBezTo>
                  <a:cubicBezTo>
                    <a:pt x="49" y="310"/>
                    <a:pt x="49" y="310"/>
                    <a:pt x="49" y="310"/>
                  </a:cubicBezTo>
                  <a:cubicBezTo>
                    <a:pt x="40" y="332"/>
                    <a:pt x="33" y="355"/>
                    <a:pt x="27" y="379"/>
                  </a:cubicBezTo>
                  <a:cubicBezTo>
                    <a:pt x="26" y="383"/>
                    <a:pt x="25" y="388"/>
                    <a:pt x="24" y="393"/>
                  </a:cubicBezTo>
                  <a:cubicBezTo>
                    <a:pt x="19" y="421"/>
                    <a:pt x="16" y="450"/>
                    <a:pt x="16" y="481"/>
                  </a:cubicBezTo>
                  <a:cubicBezTo>
                    <a:pt x="16" y="481"/>
                    <a:pt x="16" y="481"/>
                    <a:pt x="16" y="481"/>
                  </a:cubicBezTo>
                  <a:cubicBezTo>
                    <a:pt x="16" y="481"/>
                    <a:pt x="16" y="481"/>
                    <a:pt x="16" y="481"/>
                  </a:cubicBezTo>
                  <a:cubicBezTo>
                    <a:pt x="16" y="495"/>
                    <a:pt x="16" y="509"/>
                    <a:pt x="18" y="523"/>
                  </a:cubicBezTo>
                  <a:cubicBezTo>
                    <a:pt x="18" y="525"/>
                    <a:pt x="18" y="528"/>
                    <a:pt x="18" y="531"/>
                  </a:cubicBezTo>
                  <a:cubicBezTo>
                    <a:pt x="19" y="533"/>
                    <a:pt x="19" y="536"/>
                    <a:pt x="19" y="538"/>
                  </a:cubicBezTo>
                  <a:cubicBezTo>
                    <a:pt x="0" y="541"/>
                    <a:pt x="0" y="541"/>
                    <a:pt x="0" y="541"/>
                  </a:cubicBezTo>
                  <a:cubicBezTo>
                    <a:pt x="0" y="542"/>
                    <a:pt x="0" y="542"/>
                    <a:pt x="0" y="542"/>
                  </a:cubicBezTo>
                  <a:cubicBezTo>
                    <a:pt x="0" y="542"/>
                    <a:pt x="0" y="542"/>
                    <a:pt x="0" y="542"/>
                  </a:cubicBezTo>
                  <a:cubicBezTo>
                    <a:pt x="8" y="601"/>
                    <a:pt x="27" y="657"/>
                    <a:pt x="55" y="707"/>
                  </a:cubicBezTo>
                  <a:cubicBezTo>
                    <a:pt x="60" y="717"/>
                    <a:pt x="66" y="726"/>
                    <a:pt x="72" y="736"/>
                  </a:cubicBezTo>
                  <a:cubicBezTo>
                    <a:pt x="78" y="745"/>
                    <a:pt x="85" y="754"/>
                    <a:pt x="91" y="763"/>
                  </a:cubicBezTo>
                  <a:cubicBezTo>
                    <a:pt x="76" y="774"/>
                    <a:pt x="76" y="774"/>
                    <a:pt x="76" y="774"/>
                  </a:cubicBezTo>
                  <a:cubicBezTo>
                    <a:pt x="76" y="775"/>
                    <a:pt x="76" y="775"/>
                    <a:pt x="76" y="775"/>
                  </a:cubicBezTo>
                  <a:cubicBezTo>
                    <a:pt x="76" y="775"/>
                    <a:pt x="76" y="775"/>
                    <a:pt x="76" y="775"/>
                  </a:cubicBezTo>
                  <a:cubicBezTo>
                    <a:pt x="131" y="847"/>
                    <a:pt x="205" y="903"/>
                    <a:pt x="292" y="935"/>
                  </a:cubicBezTo>
                  <a:cubicBezTo>
                    <a:pt x="308" y="941"/>
                    <a:pt x="326" y="946"/>
                    <a:pt x="343" y="951"/>
                  </a:cubicBezTo>
                  <a:cubicBezTo>
                    <a:pt x="360" y="955"/>
                    <a:pt x="378" y="958"/>
                    <a:pt x="396" y="961"/>
                  </a:cubicBezTo>
                  <a:cubicBezTo>
                    <a:pt x="396" y="961"/>
                    <a:pt x="396" y="961"/>
                    <a:pt x="396" y="961"/>
                  </a:cubicBezTo>
                  <a:cubicBezTo>
                    <a:pt x="397" y="961"/>
                    <a:pt x="397" y="961"/>
                    <a:pt x="397" y="961"/>
                  </a:cubicBezTo>
                  <a:cubicBezTo>
                    <a:pt x="400" y="941"/>
                    <a:pt x="400" y="941"/>
                    <a:pt x="400" y="941"/>
                  </a:cubicBezTo>
                  <a:cubicBezTo>
                    <a:pt x="400" y="940"/>
                    <a:pt x="400" y="940"/>
                    <a:pt x="400" y="940"/>
                  </a:cubicBezTo>
                  <a:cubicBezTo>
                    <a:pt x="400" y="940"/>
                    <a:pt x="400" y="940"/>
                    <a:pt x="400" y="940"/>
                  </a:cubicBezTo>
                  <a:cubicBezTo>
                    <a:pt x="400" y="940"/>
                    <a:pt x="400" y="940"/>
                    <a:pt x="400" y="940"/>
                  </a:cubicBezTo>
                  <a:cubicBezTo>
                    <a:pt x="388" y="939"/>
                    <a:pt x="377" y="937"/>
                    <a:pt x="365" y="934"/>
                  </a:cubicBezTo>
                  <a:cubicBezTo>
                    <a:pt x="354" y="932"/>
                    <a:pt x="343" y="929"/>
                    <a:pt x="332" y="926"/>
                  </a:cubicBezTo>
                  <a:cubicBezTo>
                    <a:pt x="277" y="910"/>
                    <a:pt x="226" y="884"/>
                    <a:pt x="181" y="850"/>
                  </a:cubicBezTo>
                  <a:cubicBezTo>
                    <a:pt x="191" y="837"/>
                    <a:pt x="191" y="837"/>
                    <a:pt x="191" y="837"/>
                  </a:cubicBezTo>
                  <a:cubicBezTo>
                    <a:pt x="266" y="893"/>
                    <a:pt x="359" y="927"/>
                    <a:pt x="460" y="927"/>
                  </a:cubicBezTo>
                  <a:cubicBezTo>
                    <a:pt x="480" y="927"/>
                    <a:pt x="499" y="925"/>
                    <a:pt x="518" y="923"/>
                  </a:cubicBezTo>
                  <a:cubicBezTo>
                    <a:pt x="520" y="941"/>
                    <a:pt x="520" y="941"/>
                    <a:pt x="520" y="941"/>
                  </a:cubicBezTo>
                  <a:cubicBezTo>
                    <a:pt x="520" y="941"/>
                    <a:pt x="520" y="941"/>
                    <a:pt x="520" y="941"/>
                  </a:cubicBezTo>
                  <a:cubicBezTo>
                    <a:pt x="521" y="941"/>
                    <a:pt x="521" y="941"/>
                    <a:pt x="521" y="941"/>
                  </a:cubicBezTo>
                  <a:cubicBezTo>
                    <a:pt x="550" y="937"/>
                    <a:pt x="579" y="931"/>
                    <a:pt x="606" y="922"/>
                  </a:cubicBezTo>
                  <a:cubicBezTo>
                    <a:pt x="612" y="920"/>
                    <a:pt x="617" y="918"/>
                    <a:pt x="622" y="916"/>
                  </a:cubicBezTo>
                  <a:cubicBezTo>
                    <a:pt x="627" y="914"/>
                    <a:pt x="632" y="912"/>
                    <a:pt x="637" y="910"/>
                  </a:cubicBezTo>
                  <a:cubicBezTo>
                    <a:pt x="645" y="928"/>
                    <a:pt x="645" y="928"/>
                    <a:pt x="645" y="928"/>
                  </a:cubicBezTo>
                  <a:cubicBezTo>
                    <a:pt x="645" y="928"/>
                    <a:pt x="645" y="928"/>
                    <a:pt x="645" y="928"/>
                  </a:cubicBezTo>
                  <a:cubicBezTo>
                    <a:pt x="646" y="928"/>
                    <a:pt x="646" y="928"/>
                    <a:pt x="646" y="928"/>
                  </a:cubicBezTo>
                  <a:cubicBezTo>
                    <a:pt x="674" y="916"/>
                    <a:pt x="701" y="902"/>
                    <a:pt x="726" y="885"/>
                  </a:cubicBezTo>
                  <a:cubicBezTo>
                    <a:pt x="731" y="882"/>
                    <a:pt x="736" y="879"/>
                    <a:pt x="741" y="875"/>
                  </a:cubicBezTo>
                  <a:cubicBezTo>
                    <a:pt x="745" y="872"/>
                    <a:pt x="750" y="868"/>
                    <a:pt x="755" y="865"/>
                  </a:cubicBezTo>
                  <a:cubicBezTo>
                    <a:pt x="755" y="864"/>
                    <a:pt x="755" y="864"/>
                    <a:pt x="755" y="864"/>
                  </a:cubicBezTo>
                  <a:cubicBezTo>
                    <a:pt x="746" y="852"/>
                    <a:pt x="746" y="852"/>
                    <a:pt x="746" y="852"/>
                  </a:cubicBezTo>
                  <a:cubicBezTo>
                    <a:pt x="778" y="828"/>
                    <a:pt x="807" y="799"/>
                    <a:pt x="832" y="767"/>
                  </a:cubicBezTo>
                  <a:cubicBezTo>
                    <a:pt x="832" y="766"/>
                    <a:pt x="832" y="766"/>
                    <a:pt x="832" y="766"/>
                  </a:cubicBezTo>
                  <a:cubicBezTo>
                    <a:pt x="829" y="763"/>
                    <a:pt x="829" y="763"/>
                    <a:pt x="829" y="763"/>
                  </a:cubicBezTo>
                  <a:cubicBezTo>
                    <a:pt x="829" y="763"/>
                    <a:pt x="829" y="763"/>
                    <a:pt x="829" y="763"/>
                  </a:cubicBezTo>
                  <a:cubicBezTo>
                    <a:pt x="816" y="753"/>
                    <a:pt x="816" y="753"/>
                    <a:pt x="816" y="753"/>
                  </a:cubicBezTo>
                  <a:cubicBezTo>
                    <a:pt x="874" y="677"/>
                    <a:pt x="908" y="583"/>
                    <a:pt x="908" y="481"/>
                  </a:cubicBezTo>
                  <a:cubicBezTo>
                    <a:pt x="908" y="461"/>
                    <a:pt x="907" y="442"/>
                    <a:pt x="905" y="423"/>
                  </a:cubicBezTo>
                  <a:close/>
                  <a:moveTo>
                    <a:pt x="460" y="17"/>
                  </a:moveTo>
                  <a:cubicBezTo>
                    <a:pt x="460" y="17"/>
                    <a:pt x="460" y="17"/>
                    <a:pt x="460" y="17"/>
                  </a:cubicBezTo>
                  <a:cubicBezTo>
                    <a:pt x="470" y="17"/>
                    <a:pt x="481" y="18"/>
                    <a:pt x="491" y="18"/>
                  </a:cubicBezTo>
                  <a:cubicBezTo>
                    <a:pt x="492" y="18"/>
                    <a:pt x="494" y="18"/>
                    <a:pt x="496" y="19"/>
                  </a:cubicBezTo>
                  <a:cubicBezTo>
                    <a:pt x="503" y="19"/>
                    <a:pt x="509" y="20"/>
                    <a:pt x="516" y="21"/>
                  </a:cubicBezTo>
                  <a:cubicBezTo>
                    <a:pt x="514" y="38"/>
                    <a:pt x="514" y="38"/>
                    <a:pt x="514" y="38"/>
                  </a:cubicBezTo>
                  <a:cubicBezTo>
                    <a:pt x="496" y="36"/>
                    <a:pt x="478" y="35"/>
                    <a:pt x="460" y="35"/>
                  </a:cubicBezTo>
                  <a:cubicBezTo>
                    <a:pt x="441" y="35"/>
                    <a:pt x="422" y="36"/>
                    <a:pt x="403" y="39"/>
                  </a:cubicBezTo>
                  <a:cubicBezTo>
                    <a:pt x="400" y="21"/>
                    <a:pt x="400" y="21"/>
                    <a:pt x="400" y="21"/>
                  </a:cubicBezTo>
                  <a:cubicBezTo>
                    <a:pt x="420" y="19"/>
                    <a:pt x="440" y="17"/>
                    <a:pt x="460" y="17"/>
                  </a:cubicBezTo>
                  <a:close/>
                  <a:moveTo>
                    <a:pt x="93" y="198"/>
                  </a:moveTo>
                  <a:cubicBezTo>
                    <a:pt x="105" y="183"/>
                    <a:pt x="117" y="169"/>
                    <a:pt x="131" y="155"/>
                  </a:cubicBezTo>
                  <a:cubicBezTo>
                    <a:pt x="144" y="141"/>
                    <a:pt x="159" y="128"/>
                    <a:pt x="174" y="116"/>
                  </a:cubicBezTo>
                  <a:cubicBezTo>
                    <a:pt x="238" y="66"/>
                    <a:pt x="315" y="32"/>
                    <a:pt x="399" y="21"/>
                  </a:cubicBezTo>
                  <a:cubicBezTo>
                    <a:pt x="401" y="39"/>
                    <a:pt x="401" y="39"/>
                    <a:pt x="401" y="39"/>
                  </a:cubicBezTo>
                  <a:cubicBezTo>
                    <a:pt x="367" y="43"/>
                    <a:pt x="333" y="52"/>
                    <a:pt x="302" y="64"/>
                  </a:cubicBezTo>
                  <a:cubicBezTo>
                    <a:pt x="295" y="67"/>
                    <a:pt x="288" y="69"/>
                    <a:pt x="282" y="72"/>
                  </a:cubicBezTo>
                  <a:cubicBezTo>
                    <a:pt x="295" y="103"/>
                    <a:pt x="295" y="103"/>
                    <a:pt x="295" y="103"/>
                  </a:cubicBezTo>
                  <a:cubicBezTo>
                    <a:pt x="264" y="116"/>
                    <a:pt x="236" y="133"/>
                    <a:pt x="210" y="153"/>
                  </a:cubicBezTo>
                  <a:cubicBezTo>
                    <a:pt x="190" y="127"/>
                    <a:pt x="190" y="127"/>
                    <a:pt x="190" y="127"/>
                  </a:cubicBezTo>
                  <a:cubicBezTo>
                    <a:pt x="189" y="128"/>
                    <a:pt x="189" y="128"/>
                    <a:pt x="189" y="128"/>
                  </a:cubicBezTo>
                  <a:cubicBezTo>
                    <a:pt x="166" y="146"/>
                    <a:pt x="145" y="166"/>
                    <a:pt x="126" y="188"/>
                  </a:cubicBezTo>
                  <a:cubicBezTo>
                    <a:pt x="119" y="195"/>
                    <a:pt x="113" y="202"/>
                    <a:pt x="108" y="210"/>
                  </a:cubicBezTo>
                  <a:lnTo>
                    <a:pt x="93" y="198"/>
                  </a:lnTo>
                  <a:close/>
                  <a:moveTo>
                    <a:pt x="622" y="915"/>
                  </a:moveTo>
                  <a:cubicBezTo>
                    <a:pt x="617" y="917"/>
                    <a:pt x="611" y="919"/>
                    <a:pt x="606" y="921"/>
                  </a:cubicBezTo>
                  <a:cubicBezTo>
                    <a:pt x="579" y="930"/>
                    <a:pt x="550" y="936"/>
                    <a:pt x="521" y="940"/>
                  </a:cubicBezTo>
                  <a:cubicBezTo>
                    <a:pt x="519" y="923"/>
                    <a:pt x="519" y="923"/>
                    <a:pt x="519" y="923"/>
                  </a:cubicBezTo>
                  <a:cubicBezTo>
                    <a:pt x="558" y="918"/>
                    <a:pt x="595" y="908"/>
                    <a:pt x="630" y="893"/>
                  </a:cubicBezTo>
                  <a:cubicBezTo>
                    <a:pt x="637" y="909"/>
                    <a:pt x="637" y="909"/>
                    <a:pt x="637" y="909"/>
                  </a:cubicBezTo>
                  <a:cubicBezTo>
                    <a:pt x="632" y="911"/>
                    <a:pt x="627" y="913"/>
                    <a:pt x="622" y="915"/>
                  </a:cubicBezTo>
                  <a:close/>
                  <a:moveTo>
                    <a:pt x="892" y="582"/>
                  </a:moveTo>
                  <a:cubicBezTo>
                    <a:pt x="887" y="606"/>
                    <a:pt x="879" y="628"/>
                    <a:pt x="870" y="650"/>
                  </a:cubicBezTo>
                  <a:cubicBezTo>
                    <a:pt x="831" y="634"/>
                    <a:pt x="831" y="634"/>
                    <a:pt x="831" y="634"/>
                  </a:cubicBezTo>
                  <a:cubicBezTo>
                    <a:pt x="830" y="635"/>
                    <a:pt x="830" y="635"/>
                    <a:pt x="830" y="635"/>
                  </a:cubicBezTo>
                  <a:cubicBezTo>
                    <a:pt x="870" y="651"/>
                    <a:pt x="870" y="651"/>
                    <a:pt x="870" y="651"/>
                  </a:cubicBezTo>
                  <a:cubicBezTo>
                    <a:pt x="868" y="656"/>
                    <a:pt x="866" y="661"/>
                    <a:pt x="863" y="666"/>
                  </a:cubicBezTo>
                  <a:cubicBezTo>
                    <a:pt x="861" y="670"/>
                    <a:pt x="859" y="675"/>
                    <a:pt x="856" y="680"/>
                  </a:cubicBezTo>
                  <a:cubicBezTo>
                    <a:pt x="844" y="705"/>
                    <a:pt x="829" y="728"/>
                    <a:pt x="812" y="750"/>
                  </a:cubicBezTo>
                  <a:cubicBezTo>
                    <a:pt x="812" y="751"/>
                    <a:pt x="812" y="751"/>
                    <a:pt x="812" y="751"/>
                  </a:cubicBezTo>
                  <a:cubicBezTo>
                    <a:pt x="827" y="763"/>
                    <a:pt x="827" y="763"/>
                    <a:pt x="827" y="763"/>
                  </a:cubicBezTo>
                  <a:cubicBezTo>
                    <a:pt x="827" y="763"/>
                    <a:pt x="827" y="763"/>
                    <a:pt x="827" y="763"/>
                  </a:cubicBezTo>
                  <a:cubicBezTo>
                    <a:pt x="802" y="795"/>
                    <a:pt x="774" y="824"/>
                    <a:pt x="742" y="848"/>
                  </a:cubicBezTo>
                  <a:cubicBezTo>
                    <a:pt x="742" y="848"/>
                    <a:pt x="742" y="848"/>
                    <a:pt x="742" y="848"/>
                  </a:cubicBezTo>
                  <a:cubicBezTo>
                    <a:pt x="742" y="849"/>
                    <a:pt x="742" y="849"/>
                    <a:pt x="742" y="849"/>
                  </a:cubicBezTo>
                  <a:cubicBezTo>
                    <a:pt x="754" y="864"/>
                    <a:pt x="754" y="864"/>
                    <a:pt x="754" y="864"/>
                  </a:cubicBezTo>
                  <a:cubicBezTo>
                    <a:pt x="749" y="868"/>
                    <a:pt x="745" y="871"/>
                    <a:pt x="740" y="875"/>
                  </a:cubicBezTo>
                  <a:cubicBezTo>
                    <a:pt x="735" y="878"/>
                    <a:pt x="730" y="881"/>
                    <a:pt x="725" y="885"/>
                  </a:cubicBezTo>
                  <a:cubicBezTo>
                    <a:pt x="700" y="901"/>
                    <a:pt x="674" y="915"/>
                    <a:pt x="646" y="927"/>
                  </a:cubicBezTo>
                  <a:cubicBezTo>
                    <a:pt x="630" y="890"/>
                    <a:pt x="630" y="890"/>
                    <a:pt x="630" y="890"/>
                  </a:cubicBezTo>
                  <a:cubicBezTo>
                    <a:pt x="630" y="890"/>
                    <a:pt x="630" y="890"/>
                    <a:pt x="630" y="890"/>
                  </a:cubicBezTo>
                  <a:cubicBezTo>
                    <a:pt x="630" y="890"/>
                    <a:pt x="630" y="890"/>
                    <a:pt x="630" y="890"/>
                  </a:cubicBezTo>
                  <a:cubicBezTo>
                    <a:pt x="578" y="912"/>
                    <a:pt x="520" y="924"/>
                    <a:pt x="460" y="924"/>
                  </a:cubicBezTo>
                  <a:cubicBezTo>
                    <a:pt x="441" y="924"/>
                    <a:pt x="422" y="923"/>
                    <a:pt x="403" y="920"/>
                  </a:cubicBezTo>
                  <a:cubicBezTo>
                    <a:pt x="410" y="865"/>
                    <a:pt x="410" y="865"/>
                    <a:pt x="410" y="865"/>
                  </a:cubicBezTo>
                  <a:cubicBezTo>
                    <a:pt x="409" y="865"/>
                    <a:pt x="409" y="865"/>
                    <a:pt x="409" y="865"/>
                  </a:cubicBezTo>
                  <a:cubicBezTo>
                    <a:pt x="402" y="920"/>
                    <a:pt x="402" y="920"/>
                    <a:pt x="402" y="920"/>
                  </a:cubicBezTo>
                  <a:cubicBezTo>
                    <a:pt x="363" y="915"/>
                    <a:pt x="326" y="905"/>
                    <a:pt x="291" y="891"/>
                  </a:cubicBezTo>
                  <a:cubicBezTo>
                    <a:pt x="312" y="839"/>
                    <a:pt x="312" y="839"/>
                    <a:pt x="312" y="839"/>
                  </a:cubicBezTo>
                  <a:cubicBezTo>
                    <a:pt x="311" y="839"/>
                    <a:pt x="311" y="839"/>
                    <a:pt x="311" y="839"/>
                  </a:cubicBezTo>
                  <a:cubicBezTo>
                    <a:pt x="290" y="890"/>
                    <a:pt x="290" y="890"/>
                    <a:pt x="290" y="890"/>
                  </a:cubicBezTo>
                  <a:cubicBezTo>
                    <a:pt x="255" y="875"/>
                    <a:pt x="222" y="856"/>
                    <a:pt x="192" y="834"/>
                  </a:cubicBezTo>
                  <a:cubicBezTo>
                    <a:pt x="191" y="833"/>
                    <a:pt x="190" y="833"/>
                    <a:pt x="190" y="832"/>
                  </a:cubicBezTo>
                  <a:cubicBezTo>
                    <a:pt x="189" y="832"/>
                    <a:pt x="189" y="832"/>
                    <a:pt x="189" y="832"/>
                  </a:cubicBezTo>
                  <a:cubicBezTo>
                    <a:pt x="189" y="832"/>
                    <a:pt x="189" y="832"/>
                    <a:pt x="189" y="832"/>
                  </a:cubicBezTo>
                  <a:cubicBezTo>
                    <a:pt x="177" y="848"/>
                    <a:pt x="177" y="848"/>
                    <a:pt x="177" y="848"/>
                  </a:cubicBezTo>
                  <a:cubicBezTo>
                    <a:pt x="177" y="849"/>
                    <a:pt x="177" y="849"/>
                    <a:pt x="177" y="849"/>
                  </a:cubicBezTo>
                  <a:cubicBezTo>
                    <a:pt x="177" y="849"/>
                    <a:pt x="177" y="849"/>
                    <a:pt x="177" y="849"/>
                  </a:cubicBezTo>
                  <a:cubicBezTo>
                    <a:pt x="177" y="849"/>
                    <a:pt x="177" y="849"/>
                    <a:pt x="178" y="849"/>
                  </a:cubicBezTo>
                  <a:cubicBezTo>
                    <a:pt x="178" y="849"/>
                    <a:pt x="178" y="849"/>
                    <a:pt x="178" y="849"/>
                  </a:cubicBezTo>
                  <a:cubicBezTo>
                    <a:pt x="223" y="884"/>
                    <a:pt x="275" y="911"/>
                    <a:pt x="332" y="927"/>
                  </a:cubicBezTo>
                  <a:cubicBezTo>
                    <a:pt x="343" y="930"/>
                    <a:pt x="354" y="933"/>
                    <a:pt x="365" y="935"/>
                  </a:cubicBezTo>
                  <a:cubicBezTo>
                    <a:pt x="376" y="938"/>
                    <a:pt x="388" y="940"/>
                    <a:pt x="399" y="941"/>
                  </a:cubicBezTo>
                  <a:cubicBezTo>
                    <a:pt x="396" y="960"/>
                    <a:pt x="396" y="960"/>
                    <a:pt x="396" y="960"/>
                  </a:cubicBezTo>
                  <a:cubicBezTo>
                    <a:pt x="378" y="957"/>
                    <a:pt x="361" y="954"/>
                    <a:pt x="343" y="950"/>
                  </a:cubicBezTo>
                  <a:cubicBezTo>
                    <a:pt x="326" y="945"/>
                    <a:pt x="309" y="940"/>
                    <a:pt x="292" y="934"/>
                  </a:cubicBezTo>
                  <a:cubicBezTo>
                    <a:pt x="206" y="902"/>
                    <a:pt x="132" y="846"/>
                    <a:pt x="77" y="775"/>
                  </a:cubicBezTo>
                  <a:cubicBezTo>
                    <a:pt x="93" y="763"/>
                    <a:pt x="93" y="763"/>
                    <a:pt x="93" y="763"/>
                  </a:cubicBezTo>
                  <a:cubicBezTo>
                    <a:pt x="93" y="763"/>
                    <a:pt x="93" y="763"/>
                    <a:pt x="93" y="763"/>
                  </a:cubicBezTo>
                  <a:cubicBezTo>
                    <a:pt x="135" y="730"/>
                    <a:pt x="135" y="730"/>
                    <a:pt x="135" y="730"/>
                  </a:cubicBezTo>
                  <a:cubicBezTo>
                    <a:pt x="135" y="729"/>
                    <a:pt x="135" y="729"/>
                    <a:pt x="135" y="729"/>
                  </a:cubicBezTo>
                  <a:cubicBezTo>
                    <a:pt x="92" y="762"/>
                    <a:pt x="92" y="762"/>
                    <a:pt x="92" y="762"/>
                  </a:cubicBezTo>
                  <a:cubicBezTo>
                    <a:pt x="85" y="753"/>
                    <a:pt x="79" y="744"/>
                    <a:pt x="73" y="735"/>
                  </a:cubicBezTo>
                  <a:cubicBezTo>
                    <a:pt x="67" y="726"/>
                    <a:pt x="61" y="716"/>
                    <a:pt x="56" y="707"/>
                  </a:cubicBezTo>
                  <a:cubicBezTo>
                    <a:pt x="28" y="657"/>
                    <a:pt x="9" y="601"/>
                    <a:pt x="1" y="542"/>
                  </a:cubicBezTo>
                  <a:cubicBezTo>
                    <a:pt x="20" y="539"/>
                    <a:pt x="20" y="539"/>
                    <a:pt x="20" y="539"/>
                  </a:cubicBezTo>
                  <a:cubicBezTo>
                    <a:pt x="20" y="539"/>
                    <a:pt x="20" y="539"/>
                    <a:pt x="20" y="539"/>
                  </a:cubicBezTo>
                  <a:cubicBezTo>
                    <a:pt x="20" y="539"/>
                    <a:pt x="20" y="539"/>
                    <a:pt x="20" y="539"/>
                  </a:cubicBezTo>
                  <a:cubicBezTo>
                    <a:pt x="22" y="539"/>
                    <a:pt x="22" y="539"/>
                    <a:pt x="22" y="539"/>
                  </a:cubicBezTo>
                  <a:cubicBezTo>
                    <a:pt x="22" y="539"/>
                    <a:pt x="22" y="538"/>
                    <a:pt x="22" y="538"/>
                  </a:cubicBezTo>
                  <a:cubicBezTo>
                    <a:pt x="20" y="519"/>
                    <a:pt x="19" y="500"/>
                    <a:pt x="19" y="481"/>
                  </a:cubicBezTo>
                  <a:cubicBezTo>
                    <a:pt x="19" y="421"/>
                    <a:pt x="30" y="364"/>
                    <a:pt x="52" y="312"/>
                  </a:cubicBezTo>
                  <a:cubicBezTo>
                    <a:pt x="81" y="324"/>
                    <a:pt x="81" y="324"/>
                    <a:pt x="81" y="324"/>
                  </a:cubicBezTo>
                  <a:cubicBezTo>
                    <a:pt x="82" y="323"/>
                    <a:pt x="82" y="323"/>
                    <a:pt x="82" y="323"/>
                  </a:cubicBezTo>
                  <a:cubicBezTo>
                    <a:pt x="52" y="311"/>
                    <a:pt x="52" y="311"/>
                    <a:pt x="52" y="311"/>
                  </a:cubicBezTo>
                  <a:cubicBezTo>
                    <a:pt x="82" y="239"/>
                    <a:pt x="130" y="177"/>
                    <a:pt x="191" y="131"/>
                  </a:cubicBezTo>
                  <a:cubicBezTo>
                    <a:pt x="224" y="173"/>
                    <a:pt x="224" y="173"/>
                    <a:pt x="224" y="173"/>
                  </a:cubicBezTo>
                  <a:cubicBezTo>
                    <a:pt x="225" y="173"/>
                    <a:pt x="225" y="173"/>
                    <a:pt x="225" y="173"/>
                  </a:cubicBezTo>
                  <a:cubicBezTo>
                    <a:pt x="211" y="155"/>
                    <a:pt x="211" y="155"/>
                    <a:pt x="211" y="155"/>
                  </a:cubicBezTo>
                  <a:cubicBezTo>
                    <a:pt x="239" y="134"/>
                    <a:pt x="270" y="116"/>
                    <a:pt x="303" y="102"/>
                  </a:cubicBezTo>
                  <a:cubicBezTo>
                    <a:pt x="323" y="151"/>
                    <a:pt x="323" y="151"/>
                    <a:pt x="323" y="151"/>
                  </a:cubicBezTo>
                  <a:cubicBezTo>
                    <a:pt x="324" y="151"/>
                    <a:pt x="324" y="151"/>
                    <a:pt x="324" y="151"/>
                  </a:cubicBezTo>
                  <a:cubicBezTo>
                    <a:pt x="291" y="71"/>
                    <a:pt x="291" y="71"/>
                    <a:pt x="291" y="71"/>
                  </a:cubicBezTo>
                  <a:cubicBezTo>
                    <a:pt x="326" y="56"/>
                    <a:pt x="363" y="46"/>
                    <a:pt x="402" y="41"/>
                  </a:cubicBezTo>
                  <a:cubicBezTo>
                    <a:pt x="409" y="96"/>
                    <a:pt x="409" y="96"/>
                    <a:pt x="409" y="96"/>
                  </a:cubicBezTo>
                  <a:cubicBezTo>
                    <a:pt x="410" y="96"/>
                    <a:pt x="410" y="96"/>
                    <a:pt x="410" y="96"/>
                  </a:cubicBezTo>
                  <a:cubicBezTo>
                    <a:pt x="403" y="41"/>
                    <a:pt x="403" y="41"/>
                    <a:pt x="403" y="41"/>
                  </a:cubicBezTo>
                  <a:cubicBezTo>
                    <a:pt x="422" y="38"/>
                    <a:pt x="441" y="37"/>
                    <a:pt x="460" y="37"/>
                  </a:cubicBezTo>
                  <a:cubicBezTo>
                    <a:pt x="480" y="37"/>
                    <a:pt x="499" y="38"/>
                    <a:pt x="518" y="41"/>
                  </a:cubicBezTo>
                  <a:cubicBezTo>
                    <a:pt x="518" y="41"/>
                    <a:pt x="518" y="41"/>
                    <a:pt x="518" y="41"/>
                  </a:cubicBezTo>
                  <a:cubicBezTo>
                    <a:pt x="518" y="41"/>
                    <a:pt x="518" y="41"/>
                    <a:pt x="518" y="41"/>
                  </a:cubicBezTo>
                  <a:cubicBezTo>
                    <a:pt x="523" y="4"/>
                    <a:pt x="523" y="4"/>
                    <a:pt x="523" y="4"/>
                  </a:cubicBezTo>
                  <a:cubicBezTo>
                    <a:pt x="524" y="4"/>
                    <a:pt x="524" y="4"/>
                    <a:pt x="524" y="4"/>
                  </a:cubicBezTo>
                  <a:cubicBezTo>
                    <a:pt x="653" y="22"/>
                    <a:pt x="765" y="90"/>
                    <a:pt x="841" y="188"/>
                  </a:cubicBezTo>
                  <a:cubicBezTo>
                    <a:pt x="828" y="197"/>
                    <a:pt x="828" y="197"/>
                    <a:pt x="828" y="197"/>
                  </a:cubicBezTo>
                  <a:cubicBezTo>
                    <a:pt x="811" y="174"/>
                    <a:pt x="791" y="153"/>
                    <a:pt x="769" y="134"/>
                  </a:cubicBezTo>
                  <a:cubicBezTo>
                    <a:pt x="765" y="130"/>
                    <a:pt x="761" y="126"/>
                    <a:pt x="756" y="123"/>
                  </a:cubicBezTo>
                  <a:cubicBezTo>
                    <a:pt x="752" y="119"/>
                    <a:pt x="747" y="116"/>
                    <a:pt x="743" y="112"/>
                  </a:cubicBezTo>
                  <a:cubicBezTo>
                    <a:pt x="742" y="112"/>
                    <a:pt x="742" y="112"/>
                    <a:pt x="742" y="112"/>
                  </a:cubicBezTo>
                  <a:cubicBezTo>
                    <a:pt x="742" y="113"/>
                    <a:pt x="742" y="113"/>
                    <a:pt x="742" y="113"/>
                  </a:cubicBezTo>
                  <a:cubicBezTo>
                    <a:pt x="732" y="125"/>
                    <a:pt x="732" y="125"/>
                    <a:pt x="732" y="125"/>
                  </a:cubicBezTo>
                  <a:cubicBezTo>
                    <a:pt x="701" y="102"/>
                    <a:pt x="667" y="82"/>
                    <a:pt x="631" y="67"/>
                  </a:cubicBezTo>
                  <a:cubicBezTo>
                    <a:pt x="630" y="71"/>
                    <a:pt x="630" y="71"/>
                    <a:pt x="630" y="71"/>
                  </a:cubicBezTo>
                  <a:cubicBezTo>
                    <a:pt x="738" y="116"/>
                    <a:pt x="825" y="203"/>
                    <a:pt x="870" y="311"/>
                  </a:cubicBezTo>
                  <a:cubicBezTo>
                    <a:pt x="870" y="311"/>
                    <a:pt x="870" y="311"/>
                    <a:pt x="870" y="311"/>
                  </a:cubicBezTo>
                  <a:cubicBezTo>
                    <a:pt x="870" y="311"/>
                    <a:pt x="870" y="311"/>
                    <a:pt x="870" y="311"/>
                  </a:cubicBezTo>
                  <a:cubicBezTo>
                    <a:pt x="871" y="311"/>
                    <a:pt x="871" y="311"/>
                    <a:pt x="871" y="311"/>
                  </a:cubicBezTo>
                  <a:cubicBezTo>
                    <a:pt x="889" y="304"/>
                    <a:pt x="889" y="304"/>
                    <a:pt x="889" y="304"/>
                  </a:cubicBezTo>
                  <a:cubicBezTo>
                    <a:pt x="891" y="309"/>
                    <a:pt x="893" y="314"/>
                    <a:pt x="894" y="319"/>
                  </a:cubicBezTo>
                  <a:cubicBezTo>
                    <a:pt x="896" y="324"/>
                    <a:pt x="898" y="329"/>
                    <a:pt x="900" y="335"/>
                  </a:cubicBezTo>
                  <a:cubicBezTo>
                    <a:pt x="909" y="362"/>
                    <a:pt x="916" y="390"/>
                    <a:pt x="920" y="420"/>
                  </a:cubicBezTo>
                  <a:cubicBezTo>
                    <a:pt x="858" y="428"/>
                    <a:pt x="858" y="428"/>
                    <a:pt x="858" y="428"/>
                  </a:cubicBezTo>
                  <a:cubicBezTo>
                    <a:pt x="685" y="450"/>
                    <a:pt x="685" y="450"/>
                    <a:pt x="685" y="450"/>
                  </a:cubicBezTo>
                  <a:cubicBezTo>
                    <a:pt x="685" y="452"/>
                    <a:pt x="685" y="452"/>
                    <a:pt x="685" y="452"/>
                  </a:cubicBezTo>
                  <a:cubicBezTo>
                    <a:pt x="858" y="429"/>
                    <a:pt x="858" y="429"/>
                    <a:pt x="858" y="429"/>
                  </a:cubicBezTo>
                  <a:cubicBezTo>
                    <a:pt x="900" y="423"/>
                    <a:pt x="900" y="423"/>
                    <a:pt x="900" y="423"/>
                  </a:cubicBezTo>
                  <a:cubicBezTo>
                    <a:pt x="900" y="426"/>
                    <a:pt x="901" y="428"/>
                    <a:pt x="901" y="431"/>
                  </a:cubicBezTo>
                  <a:cubicBezTo>
                    <a:pt x="901" y="433"/>
                    <a:pt x="902" y="436"/>
                    <a:pt x="902" y="439"/>
                  </a:cubicBezTo>
                  <a:cubicBezTo>
                    <a:pt x="903" y="453"/>
                    <a:pt x="904" y="467"/>
                    <a:pt x="904" y="481"/>
                  </a:cubicBezTo>
                  <a:cubicBezTo>
                    <a:pt x="904" y="481"/>
                    <a:pt x="904" y="481"/>
                    <a:pt x="904" y="481"/>
                  </a:cubicBezTo>
                  <a:cubicBezTo>
                    <a:pt x="904" y="481"/>
                    <a:pt x="904" y="481"/>
                    <a:pt x="904" y="481"/>
                  </a:cubicBezTo>
                  <a:cubicBezTo>
                    <a:pt x="904" y="500"/>
                    <a:pt x="902" y="519"/>
                    <a:pt x="900" y="538"/>
                  </a:cubicBezTo>
                  <a:cubicBezTo>
                    <a:pt x="796" y="524"/>
                    <a:pt x="796" y="524"/>
                    <a:pt x="796" y="524"/>
                  </a:cubicBezTo>
                  <a:cubicBezTo>
                    <a:pt x="796" y="525"/>
                    <a:pt x="796" y="525"/>
                    <a:pt x="796" y="525"/>
                  </a:cubicBezTo>
                  <a:cubicBezTo>
                    <a:pt x="900" y="539"/>
                    <a:pt x="900" y="539"/>
                    <a:pt x="900" y="539"/>
                  </a:cubicBezTo>
                  <a:cubicBezTo>
                    <a:pt x="899" y="549"/>
                    <a:pt x="897" y="559"/>
                    <a:pt x="895" y="569"/>
                  </a:cubicBezTo>
                  <a:cubicBezTo>
                    <a:pt x="894" y="573"/>
                    <a:pt x="893" y="578"/>
                    <a:pt x="892" y="58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0" name="Freeform 328">
              <a:extLst>
                <a:ext uri="{FF2B5EF4-FFF2-40B4-BE49-F238E27FC236}">
                  <a16:creationId xmlns:a16="http://schemas.microsoft.com/office/drawing/2014/main" id="{552E6CB7-2E65-94A7-33EC-3BF04A66530C}"/>
                </a:ext>
              </a:extLst>
            </p:cNvPr>
            <p:cNvSpPr>
              <a:spLocks noEditPoints="1"/>
            </p:cNvSpPr>
            <p:nvPr/>
          </p:nvSpPr>
          <p:spPr bwMode="gray">
            <a:xfrm>
              <a:off x="5133707" y="2666505"/>
              <a:ext cx="2247864" cy="2258365"/>
            </a:xfrm>
            <a:custGeom>
              <a:avLst/>
              <a:gdLst>
                <a:gd name="T0" fmla="*/ 1067 w 1082"/>
                <a:gd name="T1" fmla="*/ 544 h 1087"/>
                <a:gd name="T2" fmla="*/ 1082 w 1082"/>
                <a:gd name="T3" fmla="*/ 473 h 1087"/>
                <a:gd name="T4" fmla="*/ 916 w 1082"/>
                <a:gd name="T5" fmla="*/ 175 h 1087"/>
                <a:gd name="T6" fmla="*/ 614 w 1082"/>
                <a:gd name="T7" fmla="*/ 5 h 1087"/>
                <a:gd name="T8" fmla="*/ 419 w 1082"/>
                <a:gd name="T9" fmla="*/ 15 h 1087"/>
                <a:gd name="T10" fmla="*/ 213 w 1082"/>
                <a:gd name="T11" fmla="*/ 113 h 1087"/>
                <a:gd name="T12" fmla="*/ 0 w 1082"/>
                <a:gd name="T13" fmla="*/ 544 h 1087"/>
                <a:gd name="T14" fmla="*/ 5 w 1082"/>
                <a:gd name="T15" fmla="*/ 615 h 1087"/>
                <a:gd name="T16" fmla="*/ 128 w 1082"/>
                <a:gd name="T17" fmla="*/ 862 h 1087"/>
                <a:gd name="T18" fmla="*/ 335 w 1082"/>
                <a:gd name="T19" fmla="*/ 1046 h 1087"/>
                <a:gd name="T20" fmla="*/ 476 w 1082"/>
                <a:gd name="T21" fmla="*/ 1050 h 1087"/>
                <a:gd name="T22" fmla="*/ 494 w 1082"/>
                <a:gd name="T23" fmla="*/ 1066 h 1087"/>
                <a:gd name="T24" fmla="*/ 651 w 1082"/>
                <a:gd name="T25" fmla="*/ 1075 h 1087"/>
                <a:gd name="T26" fmla="*/ 377 w 1082"/>
                <a:gd name="T27" fmla="*/ 1054 h 1087"/>
                <a:gd name="T28" fmla="*/ 420 w 1082"/>
                <a:gd name="T29" fmla="*/ 1073 h 1087"/>
                <a:gd name="T30" fmla="*/ 752 w 1082"/>
                <a:gd name="T31" fmla="*/ 1045 h 1087"/>
                <a:gd name="T32" fmla="*/ 974 w 1082"/>
                <a:gd name="T33" fmla="*/ 875 h 1087"/>
                <a:gd name="T34" fmla="*/ 1082 w 1082"/>
                <a:gd name="T35" fmla="*/ 614 h 1087"/>
                <a:gd name="T36" fmla="*/ 543 w 1082"/>
                <a:gd name="T37" fmla="*/ 1 h 1087"/>
                <a:gd name="T38" fmla="*/ 543 w 1082"/>
                <a:gd name="T39" fmla="*/ 19 h 1087"/>
                <a:gd name="T40" fmla="*/ 474 w 1082"/>
                <a:gd name="T41" fmla="*/ 25 h 1087"/>
                <a:gd name="T42" fmla="*/ 355 w 1082"/>
                <a:gd name="T43" fmla="*/ 91 h 1087"/>
                <a:gd name="T44" fmla="*/ 224 w 1082"/>
                <a:gd name="T45" fmla="*/ 129 h 1087"/>
                <a:gd name="T46" fmla="*/ 113 w 1082"/>
                <a:gd name="T47" fmla="*/ 213 h 1087"/>
                <a:gd name="T48" fmla="*/ 1 w 1082"/>
                <a:gd name="T49" fmla="*/ 544 h 1087"/>
                <a:gd name="T50" fmla="*/ 80 w 1082"/>
                <a:gd name="T51" fmla="*/ 380 h 1087"/>
                <a:gd name="T52" fmla="*/ 36 w 1082"/>
                <a:gd name="T53" fmla="*/ 477 h 1087"/>
                <a:gd name="T54" fmla="*/ 5 w 1082"/>
                <a:gd name="T55" fmla="*/ 614 h 1087"/>
                <a:gd name="T56" fmla="*/ 36 w 1082"/>
                <a:gd name="T57" fmla="*/ 487 h 1087"/>
                <a:gd name="T58" fmla="*/ 62 w 1082"/>
                <a:gd name="T59" fmla="*/ 641 h 1087"/>
                <a:gd name="T60" fmla="*/ 612 w 1082"/>
                <a:gd name="T61" fmla="*/ 1062 h 1087"/>
                <a:gd name="T62" fmla="*/ 1017 w 1082"/>
                <a:gd name="T63" fmla="*/ 808 h 1087"/>
                <a:gd name="T64" fmla="*/ 770 w 1082"/>
                <a:gd name="T65" fmla="*/ 839 h 1087"/>
                <a:gd name="T66" fmla="*/ 720 w 1082"/>
                <a:gd name="T67" fmla="*/ 1022 h 1087"/>
                <a:gd name="T68" fmla="*/ 543 w 1082"/>
                <a:gd name="T69" fmla="*/ 1067 h 1087"/>
                <a:gd name="T70" fmla="*/ 477 w 1082"/>
                <a:gd name="T71" fmla="*/ 1049 h 1087"/>
                <a:gd name="T72" fmla="*/ 347 w 1082"/>
                <a:gd name="T73" fmla="*/ 1015 h 1087"/>
                <a:gd name="T74" fmla="*/ 151 w 1082"/>
                <a:gd name="T75" fmla="*/ 892 h 1087"/>
                <a:gd name="T76" fmla="*/ 233 w 1082"/>
                <a:gd name="T77" fmla="*/ 948 h 1087"/>
                <a:gd name="T78" fmla="*/ 54 w 1082"/>
                <a:gd name="T79" fmla="*/ 544 h 1087"/>
                <a:gd name="T80" fmla="*/ 58 w 1082"/>
                <a:gd name="T81" fmla="*/ 479 h 1087"/>
                <a:gd name="T82" fmla="*/ 91 w 1082"/>
                <a:gd name="T83" fmla="*/ 355 h 1087"/>
                <a:gd name="T84" fmla="*/ 260 w 1082"/>
                <a:gd name="T85" fmla="*/ 176 h 1087"/>
                <a:gd name="T86" fmla="*/ 480 w 1082"/>
                <a:gd name="T87" fmla="*/ 58 h 1087"/>
                <a:gd name="T88" fmla="*/ 609 w 1082"/>
                <a:gd name="T89" fmla="*/ 38 h 1087"/>
                <a:gd name="T90" fmla="*/ 853 w 1082"/>
                <a:gd name="T91" fmla="*/ 139 h 1087"/>
                <a:gd name="T92" fmla="*/ 996 w 1082"/>
                <a:gd name="T93" fmla="*/ 355 h 1087"/>
                <a:gd name="T94" fmla="*/ 1033 w 1082"/>
                <a:gd name="T95" fmla="*/ 544 h 1087"/>
                <a:gd name="T96" fmla="*/ 996 w 1082"/>
                <a:gd name="T97" fmla="*/ 732 h 1087"/>
                <a:gd name="T98" fmla="*/ 1054 w 1082"/>
                <a:gd name="T99" fmla="*/ 544 h 1087"/>
                <a:gd name="T100" fmla="*/ 1030 w 1082"/>
                <a:gd name="T101" fmla="*/ 479 h 1087"/>
                <a:gd name="T102" fmla="*/ 1016 w 1082"/>
                <a:gd name="T103" fmla="*/ 348 h 1087"/>
                <a:gd name="T104" fmla="*/ 915 w 1082"/>
                <a:gd name="T105" fmla="*/ 176 h 1087"/>
                <a:gd name="T106" fmla="*/ 1064 w 1082"/>
                <a:gd name="T107" fmla="*/ 394 h 1087"/>
                <a:gd name="T108" fmla="*/ 1066 w 1082"/>
                <a:gd name="T109" fmla="*/ 544 h 1087"/>
                <a:gd name="T110" fmla="*/ 1062 w 1082"/>
                <a:gd name="T111" fmla="*/ 612 h 1087"/>
                <a:gd name="T112" fmla="*/ 1052 w 1082"/>
                <a:gd name="T113" fmla="*/ 505 h 1087"/>
                <a:gd name="T114" fmla="*/ 1014 w 1082"/>
                <a:gd name="T115" fmla="*/ 73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2" h="1087">
                  <a:moveTo>
                    <a:pt x="1081" y="614"/>
                  </a:moveTo>
                  <a:cubicBezTo>
                    <a:pt x="1063" y="612"/>
                    <a:pt x="1063" y="612"/>
                    <a:pt x="1063" y="612"/>
                  </a:cubicBezTo>
                  <a:cubicBezTo>
                    <a:pt x="1064" y="609"/>
                    <a:pt x="1064" y="606"/>
                    <a:pt x="1064" y="603"/>
                  </a:cubicBezTo>
                  <a:cubicBezTo>
                    <a:pt x="1065" y="599"/>
                    <a:pt x="1065" y="596"/>
                    <a:pt x="1065" y="593"/>
                  </a:cubicBezTo>
                  <a:cubicBezTo>
                    <a:pt x="1067" y="577"/>
                    <a:pt x="1067" y="560"/>
                    <a:pt x="1067" y="544"/>
                  </a:cubicBezTo>
                  <a:cubicBezTo>
                    <a:pt x="1067" y="544"/>
                    <a:pt x="1067" y="544"/>
                    <a:pt x="1067" y="544"/>
                  </a:cubicBezTo>
                  <a:cubicBezTo>
                    <a:pt x="1067" y="544"/>
                    <a:pt x="1067" y="544"/>
                    <a:pt x="1067" y="544"/>
                  </a:cubicBezTo>
                  <a:cubicBezTo>
                    <a:pt x="1067" y="532"/>
                    <a:pt x="1067" y="521"/>
                    <a:pt x="1066" y="509"/>
                  </a:cubicBezTo>
                  <a:cubicBezTo>
                    <a:pt x="1066" y="507"/>
                    <a:pt x="1066" y="505"/>
                    <a:pt x="1066" y="504"/>
                  </a:cubicBezTo>
                  <a:cubicBezTo>
                    <a:pt x="1065" y="494"/>
                    <a:pt x="1064" y="485"/>
                    <a:pt x="1063" y="476"/>
                  </a:cubicBezTo>
                  <a:cubicBezTo>
                    <a:pt x="1081" y="473"/>
                    <a:pt x="1081" y="473"/>
                    <a:pt x="1081" y="473"/>
                  </a:cubicBezTo>
                  <a:cubicBezTo>
                    <a:pt x="1082" y="473"/>
                    <a:pt x="1082" y="473"/>
                    <a:pt x="1082" y="473"/>
                  </a:cubicBezTo>
                  <a:cubicBezTo>
                    <a:pt x="1082" y="473"/>
                    <a:pt x="1082" y="473"/>
                    <a:pt x="1082" y="473"/>
                  </a:cubicBezTo>
                  <a:cubicBezTo>
                    <a:pt x="1082" y="473"/>
                    <a:pt x="1082" y="473"/>
                    <a:pt x="1082" y="473"/>
                  </a:cubicBezTo>
                  <a:cubicBezTo>
                    <a:pt x="1080" y="459"/>
                    <a:pt x="1078" y="446"/>
                    <a:pt x="1075" y="433"/>
                  </a:cubicBezTo>
                  <a:cubicBezTo>
                    <a:pt x="1072" y="419"/>
                    <a:pt x="1069" y="406"/>
                    <a:pt x="1065" y="393"/>
                  </a:cubicBezTo>
                  <a:cubicBezTo>
                    <a:pt x="1046" y="327"/>
                    <a:pt x="1015" y="266"/>
                    <a:pt x="974" y="213"/>
                  </a:cubicBezTo>
                  <a:cubicBezTo>
                    <a:pt x="974" y="213"/>
                    <a:pt x="974" y="213"/>
                    <a:pt x="974" y="213"/>
                  </a:cubicBezTo>
                  <a:cubicBezTo>
                    <a:pt x="973" y="213"/>
                    <a:pt x="973" y="213"/>
                    <a:pt x="973" y="213"/>
                  </a:cubicBezTo>
                  <a:cubicBezTo>
                    <a:pt x="959" y="224"/>
                    <a:pt x="959" y="224"/>
                    <a:pt x="959" y="224"/>
                  </a:cubicBezTo>
                  <a:cubicBezTo>
                    <a:pt x="946" y="207"/>
                    <a:pt x="931" y="190"/>
                    <a:pt x="916" y="175"/>
                  </a:cubicBezTo>
                  <a:cubicBezTo>
                    <a:pt x="900" y="159"/>
                    <a:pt x="884" y="144"/>
                    <a:pt x="867" y="131"/>
                  </a:cubicBezTo>
                  <a:cubicBezTo>
                    <a:pt x="794" y="74"/>
                    <a:pt x="707" y="36"/>
                    <a:pt x="612" y="24"/>
                  </a:cubicBezTo>
                  <a:cubicBezTo>
                    <a:pt x="614" y="5"/>
                    <a:pt x="614" y="5"/>
                    <a:pt x="614" y="5"/>
                  </a:cubicBezTo>
                  <a:cubicBezTo>
                    <a:pt x="614" y="5"/>
                    <a:pt x="614" y="5"/>
                    <a:pt x="614" y="5"/>
                  </a:cubicBezTo>
                  <a:cubicBezTo>
                    <a:pt x="614" y="5"/>
                    <a:pt x="614" y="5"/>
                    <a:pt x="614" y="5"/>
                  </a:cubicBezTo>
                  <a:cubicBezTo>
                    <a:pt x="614" y="5"/>
                    <a:pt x="614" y="5"/>
                    <a:pt x="614" y="5"/>
                  </a:cubicBezTo>
                  <a:cubicBezTo>
                    <a:pt x="614" y="5"/>
                    <a:pt x="614" y="5"/>
                    <a:pt x="614" y="5"/>
                  </a:cubicBezTo>
                  <a:cubicBezTo>
                    <a:pt x="611" y="5"/>
                    <a:pt x="607" y="4"/>
                    <a:pt x="604" y="4"/>
                  </a:cubicBezTo>
                  <a:cubicBezTo>
                    <a:pt x="601" y="3"/>
                    <a:pt x="598" y="3"/>
                    <a:pt x="594" y="3"/>
                  </a:cubicBezTo>
                  <a:cubicBezTo>
                    <a:pt x="577" y="1"/>
                    <a:pt x="560" y="0"/>
                    <a:pt x="543" y="0"/>
                  </a:cubicBezTo>
                  <a:cubicBezTo>
                    <a:pt x="543" y="0"/>
                    <a:pt x="543" y="0"/>
                    <a:pt x="543" y="0"/>
                  </a:cubicBezTo>
                  <a:cubicBezTo>
                    <a:pt x="543" y="0"/>
                    <a:pt x="543" y="0"/>
                    <a:pt x="543" y="0"/>
                  </a:cubicBezTo>
                  <a:cubicBezTo>
                    <a:pt x="506" y="0"/>
                    <a:pt x="470" y="4"/>
                    <a:pt x="436" y="11"/>
                  </a:cubicBezTo>
                  <a:cubicBezTo>
                    <a:pt x="430" y="12"/>
                    <a:pt x="424" y="13"/>
                    <a:pt x="419" y="15"/>
                  </a:cubicBezTo>
                  <a:cubicBezTo>
                    <a:pt x="390" y="22"/>
                    <a:pt x="362" y="31"/>
                    <a:pt x="335" y="42"/>
                  </a:cubicBezTo>
                  <a:cubicBezTo>
                    <a:pt x="335" y="42"/>
                    <a:pt x="335" y="42"/>
                    <a:pt x="335" y="42"/>
                  </a:cubicBezTo>
                  <a:cubicBezTo>
                    <a:pt x="335" y="42"/>
                    <a:pt x="335" y="42"/>
                    <a:pt x="335" y="42"/>
                  </a:cubicBezTo>
                  <a:cubicBezTo>
                    <a:pt x="342" y="59"/>
                    <a:pt x="342" y="59"/>
                    <a:pt x="342" y="59"/>
                  </a:cubicBezTo>
                  <a:cubicBezTo>
                    <a:pt x="327" y="65"/>
                    <a:pt x="313" y="72"/>
                    <a:pt x="300" y="79"/>
                  </a:cubicBezTo>
                  <a:cubicBezTo>
                    <a:pt x="273" y="93"/>
                    <a:pt x="248" y="109"/>
                    <a:pt x="224" y="127"/>
                  </a:cubicBezTo>
                  <a:cubicBezTo>
                    <a:pt x="213" y="113"/>
                    <a:pt x="213" y="113"/>
                    <a:pt x="213" y="113"/>
                  </a:cubicBezTo>
                  <a:cubicBezTo>
                    <a:pt x="213" y="112"/>
                    <a:pt x="213" y="112"/>
                    <a:pt x="213" y="112"/>
                  </a:cubicBezTo>
                  <a:cubicBezTo>
                    <a:pt x="212" y="113"/>
                    <a:pt x="212" y="113"/>
                    <a:pt x="212" y="113"/>
                  </a:cubicBezTo>
                  <a:cubicBezTo>
                    <a:pt x="212" y="113"/>
                    <a:pt x="212" y="113"/>
                    <a:pt x="212" y="113"/>
                  </a:cubicBezTo>
                  <a:cubicBezTo>
                    <a:pt x="212" y="113"/>
                    <a:pt x="212" y="113"/>
                    <a:pt x="212" y="113"/>
                  </a:cubicBezTo>
                  <a:cubicBezTo>
                    <a:pt x="194" y="127"/>
                    <a:pt x="177" y="142"/>
                    <a:pt x="161" y="158"/>
                  </a:cubicBezTo>
                  <a:cubicBezTo>
                    <a:pt x="145" y="174"/>
                    <a:pt x="130" y="191"/>
                    <a:pt x="116" y="209"/>
                  </a:cubicBezTo>
                  <a:cubicBezTo>
                    <a:pt x="43" y="301"/>
                    <a:pt x="0" y="417"/>
                    <a:pt x="0" y="544"/>
                  </a:cubicBezTo>
                  <a:cubicBezTo>
                    <a:pt x="0" y="544"/>
                    <a:pt x="0" y="544"/>
                    <a:pt x="0" y="544"/>
                  </a:cubicBezTo>
                  <a:cubicBezTo>
                    <a:pt x="0" y="544"/>
                    <a:pt x="0" y="544"/>
                    <a:pt x="0" y="544"/>
                  </a:cubicBezTo>
                  <a:cubicBezTo>
                    <a:pt x="0" y="556"/>
                    <a:pt x="0" y="568"/>
                    <a:pt x="1" y="579"/>
                  </a:cubicBezTo>
                  <a:cubicBezTo>
                    <a:pt x="1" y="581"/>
                    <a:pt x="1" y="583"/>
                    <a:pt x="2" y="585"/>
                  </a:cubicBezTo>
                  <a:cubicBezTo>
                    <a:pt x="2" y="595"/>
                    <a:pt x="3" y="605"/>
                    <a:pt x="5" y="614"/>
                  </a:cubicBezTo>
                  <a:cubicBezTo>
                    <a:pt x="5" y="615"/>
                    <a:pt x="5" y="615"/>
                    <a:pt x="5" y="615"/>
                  </a:cubicBezTo>
                  <a:cubicBezTo>
                    <a:pt x="5" y="615"/>
                    <a:pt x="5" y="615"/>
                    <a:pt x="5" y="615"/>
                  </a:cubicBezTo>
                  <a:cubicBezTo>
                    <a:pt x="35" y="611"/>
                    <a:pt x="35" y="611"/>
                    <a:pt x="35" y="611"/>
                  </a:cubicBezTo>
                  <a:cubicBezTo>
                    <a:pt x="53" y="747"/>
                    <a:pt x="125" y="867"/>
                    <a:pt x="229" y="948"/>
                  </a:cubicBezTo>
                  <a:cubicBezTo>
                    <a:pt x="222" y="956"/>
                    <a:pt x="222" y="956"/>
                    <a:pt x="222" y="956"/>
                  </a:cubicBezTo>
                  <a:cubicBezTo>
                    <a:pt x="197" y="937"/>
                    <a:pt x="174" y="915"/>
                    <a:pt x="152" y="891"/>
                  </a:cubicBezTo>
                  <a:cubicBezTo>
                    <a:pt x="148" y="886"/>
                    <a:pt x="144" y="882"/>
                    <a:pt x="140" y="877"/>
                  </a:cubicBezTo>
                  <a:cubicBezTo>
                    <a:pt x="136" y="872"/>
                    <a:pt x="132" y="867"/>
                    <a:pt x="128" y="862"/>
                  </a:cubicBezTo>
                  <a:cubicBezTo>
                    <a:pt x="128" y="862"/>
                    <a:pt x="128" y="862"/>
                    <a:pt x="128" y="862"/>
                  </a:cubicBezTo>
                  <a:cubicBezTo>
                    <a:pt x="127" y="860"/>
                    <a:pt x="127" y="860"/>
                    <a:pt x="127" y="860"/>
                  </a:cubicBezTo>
                  <a:cubicBezTo>
                    <a:pt x="107" y="876"/>
                    <a:pt x="107" y="876"/>
                    <a:pt x="107" y="876"/>
                  </a:cubicBezTo>
                  <a:cubicBezTo>
                    <a:pt x="108" y="877"/>
                    <a:pt x="108" y="877"/>
                    <a:pt x="108" y="877"/>
                  </a:cubicBezTo>
                  <a:cubicBezTo>
                    <a:pt x="108" y="877"/>
                    <a:pt x="108" y="877"/>
                    <a:pt x="108" y="877"/>
                  </a:cubicBezTo>
                  <a:cubicBezTo>
                    <a:pt x="166" y="953"/>
                    <a:pt x="244" y="1013"/>
                    <a:pt x="333" y="1050"/>
                  </a:cubicBezTo>
                  <a:cubicBezTo>
                    <a:pt x="335" y="1046"/>
                    <a:pt x="335" y="1046"/>
                    <a:pt x="335" y="1046"/>
                  </a:cubicBezTo>
                  <a:cubicBezTo>
                    <a:pt x="335" y="1046"/>
                    <a:pt x="335" y="1046"/>
                    <a:pt x="335" y="1046"/>
                  </a:cubicBezTo>
                  <a:cubicBezTo>
                    <a:pt x="335" y="1046"/>
                    <a:pt x="336" y="1046"/>
                    <a:pt x="336" y="1046"/>
                  </a:cubicBezTo>
                  <a:cubicBezTo>
                    <a:pt x="336" y="1046"/>
                    <a:pt x="336" y="1046"/>
                    <a:pt x="336" y="1046"/>
                  </a:cubicBezTo>
                  <a:cubicBezTo>
                    <a:pt x="336" y="1046"/>
                    <a:pt x="336" y="1046"/>
                    <a:pt x="336" y="1046"/>
                  </a:cubicBezTo>
                  <a:cubicBezTo>
                    <a:pt x="348" y="1016"/>
                    <a:pt x="348" y="1016"/>
                    <a:pt x="348" y="1016"/>
                  </a:cubicBezTo>
                  <a:cubicBezTo>
                    <a:pt x="353" y="1018"/>
                    <a:pt x="359" y="1021"/>
                    <a:pt x="364" y="1023"/>
                  </a:cubicBezTo>
                  <a:cubicBezTo>
                    <a:pt x="370" y="1025"/>
                    <a:pt x="376" y="1027"/>
                    <a:pt x="382" y="1029"/>
                  </a:cubicBezTo>
                  <a:cubicBezTo>
                    <a:pt x="412" y="1039"/>
                    <a:pt x="443" y="1046"/>
                    <a:pt x="476" y="1050"/>
                  </a:cubicBezTo>
                  <a:cubicBezTo>
                    <a:pt x="474" y="1063"/>
                    <a:pt x="474" y="1063"/>
                    <a:pt x="474" y="1063"/>
                  </a:cubicBezTo>
                  <a:cubicBezTo>
                    <a:pt x="475" y="1063"/>
                    <a:pt x="475" y="1063"/>
                    <a:pt x="475" y="1063"/>
                  </a:cubicBezTo>
                  <a:cubicBezTo>
                    <a:pt x="475" y="1064"/>
                    <a:pt x="475" y="1064"/>
                    <a:pt x="475" y="1064"/>
                  </a:cubicBezTo>
                  <a:cubicBezTo>
                    <a:pt x="475" y="1064"/>
                    <a:pt x="475" y="1064"/>
                    <a:pt x="475" y="1064"/>
                  </a:cubicBezTo>
                  <a:cubicBezTo>
                    <a:pt x="475" y="1064"/>
                    <a:pt x="475" y="1064"/>
                    <a:pt x="475" y="1064"/>
                  </a:cubicBezTo>
                  <a:cubicBezTo>
                    <a:pt x="478" y="1064"/>
                    <a:pt x="481" y="1064"/>
                    <a:pt x="484" y="1065"/>
                  </a:cubicBezTo>
                  <a:cubicBezTo>
                    <a:pt x="487" y="1065"/>
                    <a:pt x="490" y="1065"/>
                    <a:pt x="494" y="1066"/>
                  </a:cubicBezTo>
                  <a:cubicBezTo>
                    <a:pt x="510" y="1067"/>
                    <a:pt x="526" y="1068"/>
                    <a:pt x="543" y="1068"/>
                  </a:cubicBezTo>
                  <a:cubicBezTo>
                    <a:pt x="543" y="1068"/>
                    <a:pt x="543" y="1068"/>
                    <a:pt x="543" y="1068"/>
                  </a:cubicBezTo>
                  <a:cubicBezTo>
                    <a:pt x="543" y="1068"/>
                    <a:pt x="543" y="1068"/>
                    <a:pt x="543" y="1068"/>
                  </a:cubicBezTo>
                  <a:cubicBezTo>
                    <a:pt x="614" y="1068"/>
                    <a:pt x="682" y="1054"/>
                    <a:pt x="744" y="1028"/>
                  </a:cubicBezTo>
                  <a:cubicBezTo>
                    <a:pt x="750" y="1045"/>
                    <a:pt x="750" y="1045"/>
                    <a:pt x="750" y="1045"/>
                  </a:cubicBezTo>
                  <a:cubicBezTo>
                    <a:pt x="724" y="1056"/>
                    <a:pt x="696" y="1065"/>
                    <a:pt x="667" y="1072"/>
                  </a:cubicBezTo>
                  <a:cubicBezTo>
                    <a:pt x="662" y="1073"/>
                    <a:pt x="656" y="1074"/>
                    <a:pt x="651" y="1075"/>
                  </a:cubicBezTo>
                  <a:cubicBezTo>
                    <a:pt x="616" y="1082"/>
                    <a:pt x="580" y="1086"/>
                    <a:pt x="543" y="1086"/>
                  </a:cubicBezTo>
                  <a:cubicBezTo>
                    <a:pt x="543" y="1086"/>
                    <a:pt x="543" y="1086"/>
                    <a:pt x="543" y="1086"/>
                  </a:cubicBezTo>
                  <a:cubicBezTo>
                    <a:pt x="519" y="1086"/>
                    <a:pt x="496" y="1084"/>
                    <a:pt x="472" y="1081"/>
                  </a:cubicBezTo>
                  <a:cubicBezTo>
                    <a:pt x="473" y="1076"/>
                    <a:pt x="473" y="1076"/>
                    <a:pt x="473" y="1076"/>
                  </a:cubicBezTo>
                  <a:cubicBezTo>
                    <a:pt x="440" y="1071"/>
                    <a:pt x="409" y="1064"/>
                    <a:pt x="378" y="1054"/>
                  </a:cubicBezTo>
                  <a:cubicBezTo>
                    <a:pt x="378" y="1054"/>
                    <a:pt x="377" y="1054"/>
                    <a:pt x="377" y="1054"/>
                  </a:cubicBezTo>
                  <a:cubicBezTo>
                    <a:pt x="377" y="1054"/>
                    <a:pt x="377" y="1054"/>
                    <a:pt x="377" y="1054"/>
                  </a:cubicBezTo>
                  <a:cubicBezTo>
                    <a:pt x="376" y="1054"/>
                    <a:pt x="376" y="1054"/>
                    <a:pt x="376" y="1054"/>
                  </a:cubicBezTo>
                  <a:cubicBezTo>
                    <a:pt x="375" y="1060"/>
                    <a:pt x="375" y="1060"/>
                    <a:pt x="375" y="1060"/>
                  </a:cubicBezTo>
                  <a:cubicBezTo>
                    <a:pt x="374" y="1060"/>
                    <a:pt x="374" y="1060"/>
                    <a:pt x="374" y="1060"/>
                  </a:cubicBezTo>
                  <a:cubicBezTo>
                    <a:pt x="375" y="1060"/>
                    <a:pt x="375" y="1060"/>
                    <a:pt x="375" y="1060"/>
                  </a:cubicBezTo>
                  <a:cubicBezTo>
                    <a:pt x="375" y="1060"/>
                    <a:pt x="375" y="1060"/>
                    <a:pt x="375" y="1060"/>
                  </a:cubicBezTo>
                  <a:cubicBezTo>
                    <a:pt x="382" y="1063"/>
                    <a:pt x="390" y="1065"/>
                    <a:pt x="397" y="1067"/>
                  </a:cubicBezTo>
                  <a:cubicBezTo>
                    <a:pt x="405" y="1069"/>
                    <a:pt x="412" y="1071"/>
                    <a:pt x="420" y="1073"/>
                  </a:cubicBezTo>
                  <a:cubicBezTo>
                    <a:pt x="460" y="1082"/>
                    <a:pt x="501" y="1087"/>
                    <a:pt x="543" y="1087"/>
                  </a:cubicBezTo>
                  <a:cubicBezTo>
                    <a:pt x="543" y="1087"/>
                    <a:pt x="543" y="1087"/>
                    <a:pt x="543" y="1087"/>
                  </a:cubicBezTo>
                  <a:cubicBezTo>
                    <a:pt x="543" y="1087"/>
                    <a:pt x="543" y="1087"/>
                    <a:pt x="543" y="1087"/>
                  </a:cubicBezTo>
                  <a:cubicBezTo>
                    <a:pt x="580" y="1087"/>
                    <a:pt x="616" y="1083"/>
                    <a:pt x="651" y="1076"/>
                  </a:cubicBezTo>
                  <a:cubicBezTo>
                    <a:pt x="656" y="1075"/>
                    <a:pt x="662" y="1074"/>
                    <a:pt x="668" y="1073"/>
                  </a:cubicBezTo>
                  <a:cubicBezTo>
                    <a:pt x="696" y="1066"/>
                    <a:pt x="724" y="1057"/>
                    <a:pt x="751" y="1046"/>
                  </a:cubicBezTo>
                  <a:cubicBezTo>
                    <a:pt x="752" y="1045"/>
                    <a:pt x="752" y="1045"/>
                    <a:pt x="752" y="1045"/>
                  </a:cubicBezTo>
                  <a:cubicBezTo>
                    <a:pt x="751" y="1045"/>
                    <a:pt x="751" y="1045"/>
                    <a:pt x="751" y="1045"/>
                  </a:cubicBezTo>
                  <a:cubicBezTo>
                    <a:pt x="744" y="1028"/>
                    <a:pt x="744" y="1028"/>
                    <a:pt x="744" y="1028"/>
                  </a:cubicBezTo>
                  <a:cubicBezTo>
                    <a:pt x="756" y="1023"/>
                    <a:pt x="768" y="1018"/>
                    <a:pt x="779" y="1012"/>
                  </a:cubicBezTo>
                  <a:cubicBezTo>
                    <a:pt x="790" y="1006"/>
                    <a:pt x="802" y="1000"/>
                    <a:pt x="813" y="993"/>
                  </a:cubicBezTo>
                  <a:cubicBezTo>
                    <a:pt x="869" y="959"/>
                    <a:pt x="919" y="915"/>
                    <a:pt x="959" y="863"/>
                  </a:cubicBezTo>
                  <a:cubicBezTo>
                    <a:pt x="974" y="874"/>
                    <a:pt x="974" y="874"/>
                    <a:pt x="974" y="874"/>
                  </a:cubicBezTo>
                  <a:cubicBezTo>
                    <a:pt x="974" y="875"/>
                    <a:pt x="974" y="875"/>
                    <a:pt x="974" y="875"/>
                  </a:cubicBezTo>
                  <a:cubicBezTo>
                    <a:pt x="974" y="874"/>
                    <a:pt x="974" y="874"/>
                    <a:pt x="974" y="874"/>
                  </a:cubicBezTo>
                  <a:cubicBezTo>
                    <a:pt x="974" y="874"/>
                    <a:pt x="974" y="874"/>
                    <a:pt x="974" y="874"/>
                  </a:cubicBezTo>
                  <a:cubicBezTo>
                    <a:pt x="974" y="874"/>
                    <a:pt x="974" y="874"/>
                    <a:pt x="974" y="874"/>
                  </a:cubicBezTo>
                  <a:cubicBezTo>
                    <a:pt x="982" y="864"/>
                    <a:pt x="990" y="853"/>
                    <a:pt x="997" y="842"/>
                  </a:cubicBezTo>
                  <a:cubicBezTo>
                    <a:pt x="1004" y="831"/>
                    <a:pt x="1011" y="820"/>
                    <a:pt x="1017" y="809"/>
                  </a:cubicBezTo>
                  <a:cubicBezTo>
                    <a:pt x="1050" y="750"/>
                    <a:pt x="1073" y="684"/>
                    <a:pt x="1082" y="614"/>
                  </a:cubicBezTo>
                  <a:cubicBezTo>
                    <a:pt x="1082" y="614"/>
                    <a:pt x="1082" y="614"/>
                    <a:pt x="1082" y="614"/>
                  </a:cubicBezTo>
                  <a:lnTo>
                    <a:pt x="1081" y="614"/>
                  </a:lnTo>
                  <a:close/>
                  <a:moveTo>
                    <a:pt x="336" y="42"/>
                  </a:moveTo>
                  <a:cubicBezTo>
                    <a:pt x="363" y="31"/>
                    <a:pt x="390" y="22"/>
                    <a:pt x="419" y="16"/>
                  </a:cubicBezTo>
                  <a:cubicBezTo>
                    <a:pt x="424" y="14"/>
                    <a:pt x="430" y="13"/>
                    <a:pt x="436" y="12"/>
                  </a:cubicBezTo>
                  <a:cubicBezTo>
                    <a:pt x="470" y="5"/>
                    <a:pt x="506" y="1"/>
                    <a:pt x="543" y="1"/>
                  </a:cubicBezTo>
                  <a:cubicBezTo>
                    <a:pt x="543" y="1"/>
                    <a:pt x="543" y="1"/>
                    <a:pt x="543" y="1"/>
                  </a:cubicBezTo>
                  <a:cubicBezTo>
                    <a:pt x="543" y="1"/>
                    <a:pt x="543" y="1"/>
                    <a:pt x="543" y="1"/>
                  </a:cubicBezTo>
                  <a:cubicBezTo>
                    <a:pt x="560" y="1"/>
                    <a:pt x="577" y="2"/>
                    <a:pt x="594" y="4"/>
                  </a:cubicBezTo>
                  <a:cubicBezTo>
                    <a:pt x="597" y="4"/>
                    <a:pt x="601" y="4"/>
                    <a:pt x="604" y="5"/>
                  </a:cubicBezTo>
                  <a:cubicBezTo>
                    <a:pt x="607" y="5"/>
                    <a:pt x="610" y="5"/>
                    <a:pt x="613" y="6"/>
                  </a:cubicBezTo>
                  <a:cubicBezTo>
                    <a:pt x="611" y="24"/>
                    <a:pt x="611" y="24"/>
                    <a:pt x="611" y="24"/>
                  </a:cubicBezTo>
                  <a:cubicBezTo>
                    <a:pt x="589" y="21"/>
                    <a:pt x="566" y="19"/>
                    <a:pt x="543" y="19"/>
                  </a:cubicBezTo>
                  <a:cubicBezTo>
                    <a:pt x="543" y="19"/>
                    <a:pt x="543" y="19"/>
                    <a:pt x="543" y="19"/>
                  </a:cubicBezTo>
                  <a:cubicBezTo>
                    <a:pt x="543" y="19"/>
                    <a:pt x="543" y="19"/>
                    <a:pt x="543" y="19"/>
                  </a:cubicBezTo>
                  <a:cubicBezTo>
                    <a:pt x="481" y="19"/>
                    <a:pt x="421" y="30"/>
                    <a:pt x="365" y="50"/>
                  </a:cubicBezTo>
                  <a:cubicBezTo>
                    <a:pt x="358" y="53"/>
                    <a:pt x="350" y="56"/>
                    <a:pt x="343" y="59"/>
                  </a:cubicBezTo>
                  <a:lnTo>
                    <a:pt x="336" y="42"/>
                  </a:lnTo>
                  <a:close/>
                  <a:moveTo>
                    <a:pt x="356" y="90"/>
                  </a:moveTo>
                  <a:cubicBezTo>
                    <a:pt x="343" y="60"/>
                    <a:pt x="343" y="60"/>
                    <a:pt x="343" y="60"/>
                  </a:cubicBezTo>
                  <a:cubicBezTo>
                    <a:pt x="351" y="57"/>
                    <a:pt x="358" y="54"/>
                    <a:pt x="366" y="51"/>
                  </a:cubicBezTo>
                  <a:cubicBezTo>
                    <a:pt x="400" y="39"/>
                    <a:pt x="437" y="30"/>
                    <a:pt x="474" y="25"/>
                  </a:cubicBezTo>
                  <a:cubicBezTo>
                    <a:pt x="478" y="57"/>
                    <a:pt x="478" y="57"/>
                    <a:pt x="478" y="57"/>
                  </a:cubicBezTo>
                  <a:cubicBezTo>
                    <a:pt x="460" y="60"/>
                    <a:pt x="442" y="63"/>
                    <a:pt x="425" y="67"/>
                  </a:cubicBezTo>
                  <a:cubicBezTo>
                    <a:pt x="407" y="72"/>
                    <a:pt x="389" y="77"/>
                    <a:pt x="372" y="84"/>
                  </a:cubicBezTo>
                  <a:cubicBezTo>
                    <a:pt x="367" y="86"/>
                    <a:pt x="361" y="88"/>
                    <a:pt x="356" y="90"/>
                  </a:cubicBezTo>
                  <a:close/>
                  <a:moveTo>
                    <a:pt x="300" y="80"/>
                  </a:moveTo>
                  <a:cubicBezTo>
                    <a:pt x="314" y="73"/>
                    <a:pt x="328" y="67"/>
                    <a:pt x="342" y="61"/>
                  </a:cubicBezTo>
                  <a:cubicBezTo>
                    <a:pt x="355" y="91"/>
                    <a:pt x="355" y="91"/>
                    <a:pt x="355" y="91"/>
                  </a:cubicBezTo>
                  <a:cubicBezTo>
                    <a:pt x="315" y="107"/>
                    <a:pt x="278" y="128"/>
                    <a:pt x="245" y="154"/>
                  </a:cubicBezTo>
                  <a:cubicBezTo>
                    <a:pt x="225" y="128"/>
                    <a:pt x="225" y="128"/>
                    <a:pt x="225" y="128"/>
                  </a:cubicBezTo>
                  <a:cubicBezTo>
                    <a:pt x="249" y="110"/>
                    <a:pt x="274" y="94"/>
                    <a:pt x="300" y="80"/>
                  </a:cubicBezTo>
                  <a:close/>
                  <a:moveTo>
                    <a:pt x="244" y="155"/>
                  </a:moveTo>
                  <a:cubicBezTo>
                    <a:pt x="210" y="181"/>
                    <a:pt x="180" y="211"/>
                    <a:pt x="154" y="245"/>
                  </a:cubicBezTo>
                  <a:cubicBezTo>
                    <a:pt x="129" y="225"/>
                    <a:pt x="129" y="225"/>
                    <a:pt x="129" y="225"/>
                  </a:cubicBezTo>
                  <a:cubicBezTo>
                    <a:pt x="156" y="189"/>
                    <a:pt x="188" y="157"/>
                    <a:pt x="224" y="129"/>
                  </a:cubicBezTo>
                  <a:lnTo>
                    <a:pt x="244" y="155"/>
                  </a:lnTo>
                  <a:close/>
                  <a:moveTo>
                    <a:pt x="116" y="209"/>
                  </a:moveTo>
                  <a:cubicBezTo>
                    <a:pt x="130" y="191"/>
                    <a:pt x="145" y="174"/>
                    <a:pt x="162" y="158"/>
                  </a:cubicBezTo>
                  <a:cubicBezTo>
                    <a:pt x="178" y="142"/>
                    <a:pt x="195" y="127"/>
                    <a:pt x="213" y="114"/>
                  </a:cubicBezTo>
                  <a:cubicBezTo>
                    <a:pt x="224" y="128"/>
                    <a:pt x="224" y="128"/>
                    <a:pt x="224" y="128"/>
                  </a:cubicBezTo>
                  <a:cubicBezTo>
                    <a:pt x="188" y="156"/>
                    <a:pt x="155" y="188"/>
                    <a:pt x="128" y="224"/>
                  </a:cubicBezTo>
                  <a:cubicBezTo>
                    <a:pt x="113" y="213"/>
                    <a:pt x="113" y="213"/>
                    <a:pt x="113" y="213"/>
                  </a:cubicBezTo>
                  <a:cubicBezTo>
                    <a:pt x="114" y="212"/>
                    <a:pt x="115" y="210"/>
                    <a:pt x="116" y="209"/>
                  </a:cubicBezTo>
                  <a:close/>
                  <a:moveTo>
                    <a:pt x="5" y="614"/>
                  </a:moveTo>
                  <a:cubicBezTo>
                    <a:pt x="4" y="604"/>
                    <a:pt x="3" y="595"/>
                    <a:pt x="2" y="585"/>
                  </a:cubicBezTo>
                  <a:cubicBezTo>
                    <a:pt x="2" y="583"/>
                    <a:pt x="2" y="581"/>
                    <a:pt x="2" y="579"/>
                  </a:cubicBezTo>
                  <a:cubicBezTo>
                    <a:pt x="1" y="567"/>
                    <a:pt x="1" y="556"/>
                    <a:pt x="1" y="544"/>
                  </a:cubicBezTo>
                  <a:cubicBezTo>
                    <a:pt x="1" y="544"/>
                    <a:pt x="1" y="544"/>
                    <a:pt x="1" y="544"/>
                  </a:cubicBezTo>
                  <a:cubicBezTo>
                    <a:pt x="1" y="544"/>
                    <a:pt x="1" y="544"/>
                    <a:pt x="1" y="544"/>
                  </a:cubicBezTo>
                  <a:cubicBezTo>
                    <a:pt x="1" y="420"/>
                    <a:pt x="43" y="305"/>
                    <a:pt x="113" y="214"/>
                  </a:cubicBezTo>
                  <a:cubicBezTo>
                    <a:pt x="127" y="225"/>
                    <a:pt x="127" y="225"/>
                    <a:pt x="127" y="225"/>
                  </a:cubicBezTo>
                  <a:cubicBezTo>
                    <a:pt x="99" y="261"/>
                    <a:pt x="77" y="300"/>
                    <a:pt x="59" y="342"/>
                  </a:cubicBezTo>
                  <a:cubicBezTo>
                    <a:pt x="59" y="342"/>
                    <a:pt x="59" y="342"/>
                    <a:pt x="59" y="342"/>
                  </a:cubicBezTo>
                  <a:cubicBezTo>
                    <a:pt x="58" y="343"/>
                    <a:pt x="58" y="343"/>
                    <a:pt x="58" y="343"/>
                  </a:cubicBezTo>
                  <a:cubicBezTo>
                    <a:pt x="90" y="356"/>
                    <a:pt x="90" y="356"/>
                    <a:pt x="90" y="356"/>
                  </a:cubicBezTo>
                  <a:cubicBezTo>
                    <a:pt x="86" y="364"/>
                    <a:pt x="83" y="372"/>
                    <a:pt x="80" y="380"/>
                  </a:cubicBezTo>
                  <a:cubicBezTo>
                    <a:pt x="77" y="389"/>
                    <a:pt x="75" y="397"/>
                    <a:pt x="72" y="406"/>
                  </a:cubicBezTo>
                  <a:cubicBezTo>
                    <a:pt x="65" y="429"/>
                    <a:pt x="60" y="454"/>
                    <a:pt x="57" y="479"/>
                  </a:cubicBezTo>
                  <a:cubicBezTo>
                    <a:pt x="37" y="477"/>
                    <a:pt x="37" y="477"/>
                    <a:pt x="37" y="477"/>
                  </a:cubicBezTo>
                  <a:cubicBezTo>
                    <a:pt x="36" y="477"/>
                    <a:pt x="36" y="477"/>
                    <a:pt x="36" y="477"/>
                  </a:cubicBezTo>
                  <a:cubicBezTo>
                    <a:pt x="36" y="477"/>
                    <a:pt x="36" y="477"/>
                    <a:pt x="36" y="477"/>
                  </a:cubicBezTo>
                  <a:cubicBezTo>
                    <a:pt x="36" y="477"/>
                    <a:pt x="36" y="477"/>
                    <a:pt x="36" y="477"/>
                  </a:cubicBezTo>
                  <a:cubicBezTo>
                    <a:pt x="36" y="477"/>
                    <a:pt x="36" y="477"/>
                    <a:pt x="36" y="477"/>
                  </a:cubicBezTo>
                  <a:cubicBezTo>
                    <a:pt x="36" y="480"/>
                    <a:pt x="35" y="483"/>
                    <a:pt x="35" y="486"/>
                  </a:cubicBezTo>
                  <a:cubicBezTo>
                    <a:pt x="35" y="489"/>
                    <a:pt x="34" y="492"/>
                    <a:pt x="34" y="496"/>
                  </a:cubicBezTo>
                  <a:cubicBezTo>
                    <a:pt x="33" y="511"/>
                    <a:pt x="32" y="527"/>
                    <a:pt x="32" y="544"/>
                  </a:cubicBezTo>
                  <a:cubicBezTo>
                    <a:pt x="32" y="544"/>
                    <a:pt x="32" y="544"/>
                    <a:pt x="32" y="544"/>
                  </a:cubicBezTo>
                  <a:cubicBezTo>
                    <a:pt x="32" y="544"/>
                    <a:pt x="32" y="544"/>
                    <a:pt x="32" y="544"/>
                  </a:cubicBezTo>
                  <a:cubicBezTo>
                    <a:pt x="32" y="566"/>
                    <a:pt x="33" y="588"/>
                    <a:pt x="36" y="610"/>
                  </a:cubicBezTo>
                  <a:lnTo>
                    <a:pt x="5" y="614"/>
                  </a:lnTo>
                  <a:close/>
                  <a:moveTo>
                    <a:pt x="38" y="610"/>
                  </a:moveTo>
                  <a:cubicBezTo>
                    <a:pt x="38" y="610"/>
                    <a:pt x="38" y="610"/>
                    <a:pt x="38" y="610"/>
                  </a:cubicBezTo>
                  <a:cubicBezTo>
                    <a:pt x="35" y="588"/>
                    <a:pt x="33" y="566"/>
                    <a:pt x="33" y="544"/>
                  </a:cubicBezTo>
                  <a:cubicBezTo>
                    <a:pt x="33" y="544"/>
                    <a:pt x="33" y="544"/>
                    <a:pt x="33" y="544"/>
                  </a:cubicBezTo>
                  <a:cubicBezTo>
                    <a:pt x="33" y="544"/>
                    <a:pt x="33" y="544"/>
                    <a:pt x="33" y="544"/>
                  </a:cubicBezTo>
                  <a:cubicBezTo>
                    <a:pt x="33" y="527"/>
                    <a:pt x="34" y="511"/>
                    <a:pt x="35" y="496"/>
                  </a:cubicBezTo>
                  <a:cubicBezTo>
                    <a:pt x="36" y="493"/>
                    <a:pt x="36" y="490"/>
                    <a:pt x="36" y="487"/>
                  </a:cubicBezTo>
                  <a:cubicBezTo>
                    <a:pt x="37" y="484"/>
                    <a:pt x="37" y="481"/>
                    <a:pt x="37" y="478"/>
                  </a:cubicBezTo>
                  <a:cubicBezTo>
                    <a:pt x="57" y="480"/>
                    <a:pt x="57" y="480"/>
                    <a:pt x="57" y="480"/>
                  </a:cubicBezTo>
                  <a:cubicBezTo>
                    <a:pt x="54" y="501"/>
                    <a:pt x="53" y="522"/>
                    <a:pt x="53" y="544"/>
                  </a:cubicBezTo>
                  <a:cubicBezTo>
                    <a:pt x="53" y="544"/>
                    <a:pt x="53" y="544"/>
                    <a:pt x="53" y="544"/>
                  </a:cubicBezTo>
                  <a:cubicBezTo>
                    <a:pt x="53" y="544"/>
                    <a:pt x="53" y="544"/>
                    <a:pt x="53" y="544"/>
                  </a:cubicBezTo>
                  <a:cubicBezTo>
                    <a:pt x="53" y="544"/>
                    <a:pt x="53" y="544"/>
                    <a:pt x="53" y="544"/>
                  </a:cubicBezTo>
                  <a:cubicBezTo>
                    <a:pt x="53" y="577"/>
                    <a:pt x="56" y="609"/>
                    <a:pt x="62" y="641"/>
                  </a:cubicBezTo>
                  <a:cubicBezTo>
                    <a:pt x="63" y="646"/>
                    <a:pt x="64" y="651"/>
                    <a:pt x="65" y="656"/>
                  </a:cubicBezTo>
                  <a:cubicBezTo>
                    <a:pt x="71" y="682"/>
                    <a:pt x="79" y="707"/>
                    <a:pt x="89" y="731"/>
                  </a:cubicBezTo>
                  <a:cubicBezTo>
                    <a:pt x="72" y="738"/>
                    <a:pt x="72" y="738"/>
                    <a:pt x="72" y="738"/>
                  </a:cubicBezTo>
                  <a:cubicBezTo>
                    <a:pt x="55" y="698"/>
                    <a:pt x="43" y="655"/>
                    <a:pt x="38" y="610"/>
                  </a:cubicBezTo>
                  <a:close/>
                  <a:moveTo>
                    <a:pt x="812" y="992"/>
                  </a:moveTo>
                  <a:cubicBezTo>
                    <a:pt x="801" y="999"/>
                    <a:pt x="790" y="1005"/>
                    <a:pt x="778" y="1011"/>
                  </a:cubicBezTo>
                  <a:cubicBezTo>
                    <a:pt x="727" y="1037"/>
                    <a:pt x="671" y="1054"/>
                    <a:pt x="612" y="1062"/>
                  </a:cubicBezTo>
                  <a:cubicBezTo>
                    <a:pt x="610" y="1050"/>
                    <a:pt x="610" y="1050"/>
                    <a:pt x="610" y="1050"/>
                  </a:cubicBezTo>
                  <a:cubicBezTo>
                    <a:pt x="629" y="1048"/>
                    <a:pt x="648" y="1044"/>
                    <a:pt x="667" y="1040"/>
                  </a:cubicBezTo>
                  <a:cubicBezTo>
                    <a:pt x="685" y="1035"/>
                    <a:pt x="703" y="1030"/>
                    <a:pt x="721" y="1023"/>
                  </a:cubicBezTo>
                  <a:cubicBezTo>
                    <a:pt x="812" y="989"/>
                    <a:pt x="890" y="930"/>
                    <a:pt x="948" y="855"/>
                  </a:cubicBezTo>
                  <a:cubicBezTo>
                    <a:pt x="958" y="862"/>
                    <a:pt x="958" y="862"/>
                    <a:pt x="958" y="862"/>
                  </a:cubicBezTo>
                  <a:cubicBezTo>
                    <a:pt x="918" y="914"/>
                    <a:pt x="868" y="958"/>
                    <a:pt x="812" y="992"/>
                  </a:cubicBezTo>
                  <a:close/>
                  <a:moveTo>
                    <a:pt x="1017" y="808"/>
                  </a:moveTo>
                  <a:cubicBezTo>
                    <a:pt x="1010" y="820"/>
                    <a:pt x="1003" y="831"/>
                    <a:pt x="996" y="842"/>
                  </a:cubicBezTo>
                  <a:cubicBezTo>
                    <a:pt x="989" y="853"/>
                    <a:pt x="982" y="863"/>
                    <a:pt x="974" y="873"/>
                  </a:cubicBezTo>
                  <a:cubicBezTo>
                    <a:pt x="948" y="853"/>
                    <a:pt x="948" y="853"/>
                    <a:pt x="948" y="853"/>
                  </a:cubicBezTo>
                  <a:cubicBezTo>
                    <a:pt x="948" y="854"/>
                    <a:pt x="948" y="854"/>
                    <a:pt x="948" y="854"/>
                  </a:cubicBezTo>
                  <a:cubicBezTo>
                    <a:pt x="948" y="854"/>
                    <a:pt x="948" y="854"/>
                    <a:pt x="948" y="854"/>
                  </a:cubicBezTo>
                  <a:cubicBezTo>
                    <a:pt x="921" y="889"/>
                    <a:pt x="889" y="921"/>
                    <a:pt x="854" y="948"/>
                  </a:cubicBezTo>
                  <a:cubicBezTo>
                    <a:pt x="770" y="839"/>
                    <a:pt x="770" y="839"/>
                    <a:pt x="770" y="839"/>
                  </a:cubicBezTo>
                  <a:cubicBezTo>
                    <a:pt x="769" y="840"/>
                    <a:pt x="769" y="840"/>
                    <a:pt x="769" y="840"/>
                  </a:cubicBezTo>
                  <a:cubicBezTo>
                    <a:pt x="853" y="949"/>
                    <a:pt x="853" y="949"/>
                    <a:pt x="853" y="949"/>
                  </a:cubicBezTo>
                  <a:cubicBezTo>
                    <a:pt x="818" y="975"/>
                    <a:pt x="780" y="997"/>
                    <a:pt x="739" y="1014"/>
                  </a:cubicBezTo>
                  <a:cubicBezTo>
                    <a:pt x="686" y="888"/>
                    <a:pt x="686" y="888"/>
                    <a:pt x="686" y="888"/>
                  </a:cubicBezTo>
                  <a:cubicBezTo>
                    <a:pt x="685" y="888"/>
                    <a:pt x="685" y="888"/>
                    <a:pt x="685" y="888"/>
                  </a:cubicBezTo>
                  <a:cubicBezTo>
                    <a:pt x="738" y="1015"/>
                    <a:pt x="738" y="1015"/>
                    <a:pt x="738" y="1015"/>
                  </a:cubicBezTo>
                  <a:cubicBezTo>
                    <a:pt x="732" y="1017"/>
                    <a:pt x="726" y="1020"/>
                    <a:pt x="720" y="1022"/>
                  </a:cubicBezTo>
                  <a:cubicBezTo>
                    <a:pt x="703" y="1028"/>
                    <a:pt x="685" y="1034"/>
                    <a:pt x="666" y="1039"/>
                  </a:cubicBezTo>
                  <a:cubicBezTo>
                    <a:pt x="648" y="1043"/>
                    <a:pt x="629" y="1047"/>
                    <a:pt x="610" y="1049"/>
                  </a:cubicBezTo>
                  <a:cubicBezTo>
                    <a:pt x="610" y="1049"/>
                    <a:pt x="610" y="1049"/>
                    <a:pt x="610" y="1049"/>
                  </a:cubicBezTo>
                  <a:cubicBezTo>
                    <a:pt x="609" y="1049"/>
                    <a:pt x="609" y="1049"/>
                    <a:pt x="609" y="1049"/>
                  </a:cubicBezTo>
                  <a:cubicBezTo>
                    <a:pt x="609" y="1050"/>
                    <a:pt x="609" y="1050"/>
                    <a:pt x="609" y="1050"/>
                  </a:cubicBezTo>
                  <a:cubicBezTo>
                    <a:pt x="611" y="1062"/>
                    <a:pt x="611" y="1062"/>
                    <a:pt x="611" y="1062"/>
                  </a:cubicBezTo>
                  <a:cubicBezTo>
                    <a:pt x="589" y="1065"/>
                    <a:pt x="566" y="1067"/>
                    <a:pt x="543" y="1067"/>
                  </a:cubicBezTo>
                  <a:cubicBezTo>
                    <a:pt x="543" y="1067"/>
                    <a:pt x="543" y="1067"/>
                    <a:pt x="543" y="1067"/>
                  </a:cubicBezTo>
                  <a:cubicBezTo>
                    <a:pt x="543" y="1067"/>
                    <a:pt x="543" y="1067"/>
                    <a:pt x="543" y="1067"/>
                  </a:cubicBezTo>
                  <a:cubicBezTo>
                    <a:pt x="527" y="1067"/>
                    <a:pt x="510" y="1066"/>
                    <a:pt x="494" y="1064"/>
                  </a:cubicBezTo>
                  <a:cubicBezTo>
                    <a:pt x="491" y="1064"/>
                    <a:pt x="488" y="1064"/>
                    <a:pt x="484" y="1063"/>
                  </a:cubicBezTo>
                  <a:cubicBezTo>
                    <a:pt x="481" y="1063"/>
                    <a:pt x="478" y="1063"/>
                    <a:pt x="476" y="1062"/>
                  </a:cubicBezTo>
                  <a:cubicBezTo>
                    <a:pt x="477" y="1050"/>
                    <a:pt x="477" y="1050"/>
                    <a:pt x="477" y="1050"/>
                  </a:cubicBezTo>
                  <a:cubicBezTo>
                    <a:pt x="477" y="1049"/>
                    <a:pt x="477" y="1049"/>
                    <a:pt x="477" y="1049"/>
                  </a:cubicBezTo>
                  <a:cubicBezTo>
                    <a:pt x="477" y="1049"/>
                    <a:pt x="477" y="1049"/>
                    <a:pt x="477" y="1049"/>
                  </a:cubicBezTo>
                  <a:cubicBezTo>
                    <a:pt x="444" y="1045"/>
                    <a:pt x="413" y="1038"/>
                    <a:pt x="382" y="1028"/>
                  </a:cubicBezTo>
                  <a:cubicBezTo>
                    <a:pt x="377" y="1026"/>
                    <a:pt x="371" y="1024"/>
                    <a:pt x="365" y="1021"/>
                  </a:cubicBezTo>
                  <a:cubicBezTo>
                    <a:pt x="359" y="1019"/>
                    <a:pt x="353" y="1017"/>
                    <a:pt x="348" y="1015"/>
                  </a:cubicBezTo>
                  <a:cubicBezTo>
                    <a:pt x="348" y="1015"/>
                    <a:pt x="348" y="1015"/>
                    <a:pt x="348" y="1015"/>
                  </a:cubicBezTo>
                  <a:cubicBezTo>
                    <a:pt x="347" y="1014"/>
                    <a:pt x="347" y="1014"/>
                    <a:pt x="347" y="1014"/>
                  </a:cubicBezTo>
                  <a:cubicBezTo>
                    <a:pt x="347" y="1015"/>
                    <a:pt x="347" y="1015"/>
                    <a:pt x="347" y="1015"/>
                  </a:cubicBezTo>
                  <a:cubicBezTo>
                    <a:pt x="335" y="1044"/>
                    <a:pt x="335" y="1044"/>
                    <a:pt x="335" y="1044"/>
                  </a:cubicBezTo>
                  <a:cubicBezTo>
                    <a:pt x="271" y="1018"/>
                    <a:pt x="214" y="980"/>
                    <a:pt x="166" y="933"/>
                  </a:cubicBezTo>
                  <a:cubicBezTo>
                    <a:pt x="156" y="924"/>
                    <a:pt x="147" y="914"/>
                    <a:pt x="138" y="904"/>
                  </a:cubicBezTo>
                  <a:cubicBezTo>
                    <a:pt x="131" y="896"/>
                    <a:pt x="124" y="888"/>
                    <a:pt x="118" y="880"/>
                  </a:cubicBezTo>
                  <a:cubicBezTo>
                    <a:pt x="131" y="868"/>
                    <a:pt x="131" y="868"/>
                    <a:pt x="131" y="868"/>
                  </a:cubicBezTo>
                  <a:cubicBezTo>
                    <a:pt x="134" y="871"/>
                    <a:pt x="136" y="874"/>
                    <a:pt x="139" y="878"/>
                  </a:cubicBezTo>
                  <a:cubicBezTo>
                    <a:pt x="143" y="883"/>
                    <a:pt x="147" y="887"/>
                    <a:pt x="151" y="892"/>
                  </a:cubicBezTo>
                  <a:cubicBezTo>
                    <a:pt x="173" y="917"/>
                    <a:pt x="198" y="939"/>
                    <a:pt x="224" y="959"/>
                  </a:cubicBezTo>
                  <a:cubicBezTo>
                    <a:pt x="224" y="959"/>
                    <a:pt x="224" y="959"/>
                    <a:pt x="224" y="959"/>
                  </a:cubicBezTo>
                  <a:cubicBezTo>
                    <a:pt x="224" y="960"/>
                    <a:pt x="224" y="960"/>
                    <a:pt x="224" y="960"/>
                  </a:cubicBezTo>
                  <a:cubicBezTo>
                    <a:pt x="233" y="949"/>
                    <a:pt x="233" y="949"/>
                    <a:pt x="233" y="949"/>
                  </a:cubicBezTo>
                  <a:cubicBezTo>
                    <a:pt x="233" y="948"/>
                    <a:pt x="233" y="948"/>
                    <a:pt x="233" y="948"/>
                  </a:cubicBezTo>
                  <a:cubicBezTo>
                    <a:pt x="233" y="948"/>
                    <a:pt x="233" y="948"/>
                    <a:pt x="233" y="948"/>
                  </a:cubicBezTo>
                  <a:cubicBezTo>
                    <a:pt x="233" y="948"/>
                    <a:pt x="233" y="948"/>
                    <a:pt x="233" y="948"/>
                  </a:cubicBezTo>
                  <a:cubicBezTo>
                    <a:pt x="162" y="894"/>
                    <a:pt x="107" y="822"/>
                    <a:pt x="72" y="739"/>
                  </a:cubicBezTo>
                  <a:cubicBezTo>
                    <a:pt x="91" y="732"/>
                    <a:pt x="91" y="732"/>
                    <a:pt x="91" y="732"/>
                  </a:cubicBezTo>
                  <a:cubicBezTo>
                    <a:pt x="91" y="731"/>
                    <a:pt x="91" y="731"/>
                    <a:pt x="91" y="731"/>
                  </a:cubicBezTo>
                  <a:cubicBezTo>
                    <a:pt x="91" y="731"/>
                    <a:pt x="91" y="731"/>
                    <a:pt x="91" y="731"/>
                  </a:cubicBezTo>
                  <a:cubicBezTo>
                    <a:pt x="81" y="707"/>
                    <a:pt x="73" y="681"/>
                    <a:pt x="67" y="656"/>
                  </a:cubicBezTo>
                  <a:cubicBezTo>
                    <a:pt x="66" y="650"/>
                    <a:pt x="64" y="645"/>
                    <a:pt x="63" y="640"/>
                  </a:cubicBezTo>
                  <a:cubicBezTo>
                    <a:pt x="57" y="609"/>
                    <a:pt x="54" y="577"/>
                    <a:pt x="54" y="544"/>
                  </a:cubicBezTo>
                  <a:cubicBezTo>
                    <a:pt x="54" y="544"/>
                    <a:pt x="54" y="544"/>
                    <a:pt x="54" y="544"/>
                  </a:cubicBezTo>
                  <a:cubicBezTo>
                    <a:pt x="54" y="544"/>
                    <a:pt x="54" y="544"/>
                    <a:pt x="54" y="544"/>
                  </a:cubicBezTo>
                  <a:cubicBezTo>
                    <a:pt x="54" y="544"/>
                    <a:pt x="54" y="544"/>
                    <a:pt x="54" y="544"/>
                  </a:cubicBezTo>
                  <a:cubicBezTo>
                    <a:pt x="54" y="522"/>
                    <a:pt x="55" y="501"/>
                    <a:pt x="58" y="481"/>
                  </a:cubicBezTo>
                  <a:cubicBezTo>
                    <a:pt x="174" y="496"/>
                    <a:pt x="174" y="496"/>
                    <a:pt x="174" y="496"/>
                  </a:cubicBezTo>
                  <a:cubicBezTo>
                    <a:pt x="174" y="495"/>
                    <a:pt x="174" y="495"/>
                    <a:pt x="174" y="495"/>
                  </a:cubicBezTo>
                  <a:cubicBezTo>
                    <a:pt x="58" y="479"/>
                    <a:pt x="58" y="479"/>
                    <a:pt x="58" y="479"/>
                  </a:cubicBezTo>
                  <a:cubicBezTo>
                    <a:pt x="61" y="454"/>
                    <a:pt x="67" y="430"/>
                    <a:pt x="73" y="406"/>
                  </a:cubicBezTo>
                  <a:cubicBezTo>
                    <a:pt x="76" y="398"/>
                    <a:pt x="79" y="389"/>
                    <a:pt x="82" y="381"/>
                  </a:cubicBezTo>
                  <a:cubicBezTo>
                    <a:pt x="84" y="373"/>
                    <a:pt x="88" y="364"/>
                    <a:pt x="91" y="356"/>
                  </a:cubicBezTo>
                  <a:cubicBezTo>
                    <a:pt x="91" y="356"/>
                    <a:pt x="91" y="356"/>
                    <a:pt x="91" y="356"/>
                  </a:cubicBezTo>
                  <a:cubicBezTo>
                    <a:pt x="91" y="356"/>
                    <a:pt x="91" y="356"/>
                    <a:pt x="91" y="356"/>
                  </a:cubicBezTo>
                  <a:cubicBezTo>
                    <a:pt x="91" y="356"/>
                    <a:pt x="91" y="356"/>
                    <a:pt x="91" y="356"/>
                  </a:cubicBezTo>
                  <a:cubicBezTo>
                    <a:pt x="91" y="355"/>
                    <a:pt x="91" y="355"/>
                    <a:pt x="91" y="355"/>
                  </a:cubicBezTo>
                  <a:cubicBezTo>
                    <a:pt x="68" y="346"/>
                    <a:pt x="68" y="346"/>
                    <a:pt x="68" y="346"/>
                  </a:cubicBezTo>
                  <a:cubicBezTo>
                    <a:pt x="86" y="305"/>
                    <a:pt x="108" y="266"/>
                    <a:pt x="135" y="231"/>
                  </a:cubicBezTo>
                  <a:cubicBezTo>
                    <a:pt x="154" y="246"/>
                    <a:pt x="154" y="246"/>
                    <a:pt x="154" y="246"/>
                  </a:cubicBezTo>
                  <a:cubicBezTo>
                    <a:pt x="154" y="247"/>
                    <a:pt x="154" y="247"/>
                    <a:pt x="154" y="247"/>
                  </a:cubicBezTo>
                  <a:cubicBezTo>
                    <a:pt x="155" y="246"/>
                    <a:pt x="155" y="246"/>
                    <a:pt x="155" y="246"/>
                  </a:cubicBezTo>
                  <a:cubicBezTo>
                    <a:pt x="181" y="212"/>
                    <a:pt x="211" y="182"/>
                    <a:pt x="245" y="156"/>
                  </a:cubicBezTo>
                  <a:cubicBezTo>
                    <a:pt x="260" y="176"/>
                    <a:pt x="260" y="176"/>
                    <a:pt x="260" y="176"/>
                  </a:cubicBezTo>
                  <a:cubicBezTo>
                    <a:pt x="261" y="175"/>
                    <a:pt x="261" y="175"/>
                    <a:pt x="261" y="175"/>
                  </a:cubicBezTo>
                  <a:cubicBezTo>
                    <a:pt x="246" y="155"/>
                    <a:pt x="246" y="155"/>
                    <a:pt x="246" y="155"/>
                  </a:cubicBezTo>
                  <a:cubicBezTo>
                    <a:pt x="284" y="126"/>
                    <a:pt x="327" y="102"/>
                    <a:pt x="373" y="85"/>
                  </a:cubicBezTo>
                  <a:cubicBezTo>
                    <a:pt x="390" y="78"/>
                    <a:pt x="407" y="73"/>
                    <a:pt x="425" y="69"/>
                  </a:cubicBezTo>
                  <a:cubicBezTo>
                    <a:pt x="443" y="64"/>
                    <a:pt x="461" y="61"/>
                    <a:pt x="479" y="58"/>
                  </a:cubicBezTo>
                  <a:cubicBezTo>
                    <a:pt x="479" y="58"/>
                    <a:pt x="479" y="58"/>
                    <a:pt x="479" y="58"/>
                  </a:cubicBezTo>
                  <a:cubicBezTo>
                    <a:pt x="480" y="58"/>
                    <a:pt x="480" y="58"/>
                    <a:pt x="480" y="58"/>
                  </a:cubicBezTo>
                  <a:cubicBezTo>
                    <a:pt x="480" y="58"/>
                    <a:pt x="480" y="58"/>
                    <a:pt x="480" y="58"/>
                  </a:cubicBezTo>
                  <a:cubicBezTo>
                    <a:pt x="476" y="25"/>
                    <a:pt x="476" y="25"/>
                    <a:pt x="476" y="25"/>
                  </a:cubicBezTo>
                  <a:cubicBezTo>
                    <a:pt x="498" y="22"/>
                    <a:pt x="520" y="21"/>
                    <a:pt x="543" y="21"/>
                  </a:cubicBezTo>
                  <a:cubicBezTo>
                    <a:pt x="543" y="21"/>
                    <a:pt x="543" y="21"/>
                    <a:pt x="543" y="21"/>
                  </a:cubicBezTo>
                  <a:cubicBezTo>
                    <a:pt x="543" y="21"/>
                    <a:pt x="543" y="21"/>
                    <a:pt x="543" y="21"/>
                  </a:cubicBezTo>
                  <a:cubicBezTo>
                    <a:pt x="566" y="21"/>
                    <a:pt x="589" y="22"/>
                    <a:pt x="611" y="25"/>
                  </a:cubicBezTo>
                  <a:cubicBezTo>
                    <a:pt x="609" y="38"/>
                    <a:pt x="609" y="38"/>
                    <a:pt x="609" y="38"/>
                  </a:cubicBezTo>
                  <a:cubicBezTo>
                    <a:pt x="609" y="38"/>
                    <a:pt x="609" y="38"/>
                    <a:pt x="609" y="38"/>
                  </a:cubicBezTo>
                  <a:cubicBezTo>
                    <a:pt x="609" y="38"/>
                    <a:pt x="609" y="38"/>
                    <a:pt x="609" y="38"/>
                  </a:cubicBezTo>
                  <a:cubicBezTo>
                    <a:pt x="654" y="44"/>
                    <a:pt x="697" y="55"/>
                    <a:pt x="738" y="72"/>
                  </a:cubicBezTo>
                  <a:cubicBezTo>
                    <a:pt x="728" y="97"/>
                    <a:pt x="728" y="97"/>
                    <a:pt x="728" y="97"/>
                  </a:cubicBezTo>
                  <a:cubicBezTo>
                    <a:pt x="729" y="97"/>
                    <a:pt x="729" y="97"/>
                    <a:pt x="729" y="97"/>
                  </a:cubicBezTo>
                  <a:cubicBezTo>
                    <a:pt x="739" y="73"/>
                    <a:pt x="739" y="73"/>
                    <a:pt x="739" y="73"/>
                  </a:cubicBezTo>
                  <a:cubicBezTo>
                    <a:pt x="780" y="90"/>
                    <a:pt x="818" y="112"/>
                    <a:pt x="853" y="139"/>
                  </a:cubicBezTo>
                  <a:cubicBezTo>
                    <a:pt x="837" y="160"/>
                    <a:pt x="837" y="160"/>
                    <a:pt x="837" y="160"/>
                  </a:cubicBezTo>
                  <a:cubicBezTo>
                    <a:pt x="838" y="160"/>
                    <a:pt x="838" y="160"/>
                    <a:pt x="838" y="160"/>
                  </a:cubicBezTo>
                  <a:cubicBezTo>
                    <a:pt x="854" y="139"/>
                    <a:pt x="854" y="139"/>
                    <a:pt x="854" y="139"/>
                  </a:cubicBezTo>
                  <a:cubicBezTo>
                    <a:pt x="885" y="163"/>
                    <a:pt x="913" y="191"/>
                    <a:pt x="938" y="221"/>
                  </a:cubicBezTo>
                  <a:cubicBezTo>
                    <a:pt x="954" y="240"/>
                    <a:pt x="968" y="260"/>
                    <a:pt x="981" y="282"/>
                  </a:cubicBezTo>
                  <a:cubicBezTo>
                    <a:pt x="993" y="303"/>
                    <a:pt x="1004" y="325"/>
                    <a:pt x="1014" y="348"/>
                  </a:cubicBezTo>
                  <a:cubicBezTo>
                    <a:pt x="996" y="355"/>
                    <a:pt x="996" y="355"/>
                    <a:pt x="996" y="355"/>
                  </a:cubicBezTo>
                  <a:cubicBezTo>
                    <a:pt x="995" y="356"/>
                    <a:pt x="995" y="356"/>
                    <a:pt x="995" y="356"/>
                  </a:cubicBezTo>
                  <a:cubicBezTo>
                    <a:pt x="995" y="356"/>
                    <a:pt x="995" y="356"/>
                    <a:pt x="995" y="356"/>
                  </a:cubicBezTo>
                  <a:cubicBezTo>
                    <a:pt x="1005" y="380"/>
                    <a:pt x="1013" y="405"/>
                    <a:pt x="1020" y="431"/>
                  </a:cubicBezTo>
                  <a:cubicBezTo>
                    <a:pt x="1021" y="436"/>
                    <a:pt x="1022" y="442"/>
                    <a:pt x="1023" y="447"/>
                  </a:cubicBezTo>
                  <a:cubicBezTo>
                    <a:pt x="1029" y="478"/>
                    <a:pt x="1033" y="510"/>
                    <a:pt x="1033" y="544"/>
                  </a:cubicBezTo>
                  <a:cubicBezTo>
                    <a:pt x="1033" y="544"/>
                    <a:pt x="1033" y="544"/>
                    <a:pt x="1033" y="544"/>
                  </a:cubicBezTo>
                  <a:cubicBezTo>
                    <a:pt x="1033" y="544"/>
                    <a:pt x="1033" y="544"/>
                    <a:pt x="1033" y="544"/>
                  </a:cubicBezTo>
                  <a:cubicBezTo>
                    <a:pt x="1033" y="591"/>
                    <a:pt x="1026" y="638"/>
                    <a:pt x="1013" y="681"/>
                  </a:cubicBezTo>
                  <a:cubicBezTo>
                    <a:pt x="1010" y="690"/>
                    <a:pt x="1008" y="698"/>
                    <a:pt x="1005" y="707"/>
                  </a:cubicBezTo>
                  <a:cubicBezTo>
                    <a:pt x="1002" y="715"/>
                    <a:pt x="999" y="723"/>
                    <a:pt x="995" y="731"/>
                  </a:cubicBezTo>
                  <a:cubicBezTo>
                    <a:pt x="995" y="731"/>
                    <a:pt x="995" y="731"/>
                    <a:pt x="995" y="731"/>
                  </a:cubicBezTo>
                  <a:cubicBezTo>
                    <a:pt x="995" y="731"/>
                    <a:pt x="995" y="731"/>
                    <a:pt x="995" y="731"/>
                  </a:cubicBezTo>
                  <a:cubicBezTo>
                    <a:pt x="995" y="732"/>
                    <a:pt x="995" y="732"/>
                    <a:pt x="995" y="732"/>
                  </a:cubicBezTo>
                  <a:cubicBezTo>
                    <a:pt x="996" y="732"/>
                    <a:pt x="996" y="732"/>
                    <a:pt x="996" y="732"/>
                  </a:cubicBezTo>
                  <a:cubicBezTo>
                    <a:pt x="1015" y="740"/>
                    <a:pt x="1015" y="740"/>
                    <a:pt x="1015" y="740"/>
                  </a:cubicBezTo>
                  <a:cubicBezTo>
                    <a:pt x="1016" y="739"/>
                    <a:pt x="1016" y="739"/>
                    <a:pt x="1016" y="739"/>
                  </a:cubicBezTo>
                  <a:cubicBezTo>
                    <a:pt x="1016" y="739"/>
                    <a:pt x="1016" y="739"/>
                    <a:pt x="1016" y="739"/>
                  </a:cubicBezTo>
                  <a:cubicBezTo>
                    <a:pt x="1019" y="731"/>
                    <a:pt x="1022" y="722"/>
                    <a:pt x="1025" y="714"/>
                  </a:cubicBezTo>
                  <a:cubicBezTo>
                    <a:pt x="1028" y="705"/>
                    <a:pt x="1031" y="696"/>
                    <a:pt x="1034" y="687"/>
                  </a:cubicBezTo>
                  <a:cubicBezTo>
                    <a:pt x="1047" y="642"/>
                    <a:pt x="1054" y="594"/>
                    <a:pt x="1054" y="544"/>
                  </a:cubicBezTo>
                  <a:cubicBezTo>
                    <a:pt x="1054" y="544"/>
                    <a:pt x="1054" y="544"/>
                    <a:pt x="1054" y="544"/>
                  </a:cubicBezTo>
                  <a:cubicBezTo>
                    <a:pt x="1054" y="544"/>
                    <a:pt x="1054" y="544"/>
                    <a:pt x="1054" y="544"/>
                  </a:cubicBezTo>
                  <a:cubicBezTo>
                    <a:pt x="1054" y="532"/>
                    <a:pt x="1054" y="521"/>
                    <a:pt x="1053" y="510"/>
                  </a:cubicBezTo>
                  <a:cubicBezTo>
                    <a:pt x="1053" y="508"/>
                    <a:pt x="1053" y="506"/>
                    <a:pt x="1053" y="505"/>
                  </a:cubicBezTo>
                  <a:cubicBezTo>
                    <a:pt x="1052" y="495"/>
                    <a:pt x="1051" y="486"/>
                    <a:pt x="1050" y="477"/>
                  </a:cubicBezTo>
                  <a:cubicBezTo>
                    <a:pt x="1050" y="476"/>
                    <a:pt x="1050" y="476"/>
                    <a:pt x="1050" y="476"/>
                  </a:cubicBezTo>
                  <a:cubicBezTo>
                    <a:pt x="1049" y="476"/>
                    <a:pt x="1049" y="476"/>
                    <a:pt x="1049" y="476"/>
                  </a:cubicBezTo>
                  <a:cubicBezTo>
                    <a:pt x="1030" y="479"/>
                    <a:pt x="1030" y="479"/>
                    <a:pt x="1030" y="479"/>
                  </a:cubicBezTo>
                  <a:cubicBezTo>
                    <a:pt x="1028" y="468"/>
                    <a:pt x="1026" y="457"/>
                    <a:pt x="1024" y="446"/>
                  </a:cubicBezTo>
                  <a:cubicBezTo>
                    <a:pt x="1023" y="441"/>
                    <a:pt x="1022" y="436"/>
                    <a:pt x="1021" y="431"/>
                  </a:cubicBezTo>
                  <a:cubicBezTo>
                    <a:pt x="1015" y="405"/>
                    <a:pt x="1007" y="380"/>
                    <a:pt x="997" y="356"/>
                  </a:cubicBezTo>
                  <a:cubicBezTo>
                    <a:pt x="1016" y="348"/>
                    <a:pt x="1016" y="348"/>
                    <a:pt x="1016" y="348"/>
                  </a:cubicBezTo>
                  <a:cubicBezTo>
                    <a:pt x="1015" y="348"/>
                    <a:pt x="1015" y="348"/>
                    <a:pt x="1015" y="348"/>
                  </a:cubicBezTo>
                  <a:cubicBezTo>
                    <a:pt x="1016" y="348"/>
                    <a:pt x="1016" y="348"/>
                    <a:pt x="1016" y="348"/>
                  </a:cubicBezTo>
                  <a:cubicBezTo>
                    <a:pt x="1016" y="348"/>
                    <a:pt x="1016" y="348"/>
                    <a:pt x="1016" y="348"/>
                  </a:cubicBezTo>
                  <a:cubicBezTo>
                    <a:pt x="1016" y="348"/>
                    <a:pt x="1016" y="348"/>
                    <a:pt x="1016" y="348"/>
                  </a:cubicBezTo>
                  <a:cubicBezTo>
                    <a:pt x="1006" y="325"/>
                    <a:pt x="995" y="302"/>
                    <a:pt x="982" y="281"/>
                  </a:cubicBezTo>
                  <a:cubicBezTo>
                    <a:pt x="969" y="260"/>
                    <a:pt x="955" y="239"/>
                    <a:pt x="939" y="220"/>
                  </a:cubicBezTo>
                  <a:cubicBezTo>
                    <a:pt x="859" y="122"/>
                    <a:pt x="742" y="54"/>
                    <a:pt x="610" y="37"/>
                  </a:cubicBezTo>
                  <a:cubicBezTo>
                    <a:pt x="612" y="25"/>
                    <a:pt x="612" y="25"/>
                    <a:pt x="612" y="25"/>
                  </a:cubicBezTo>
                  <a:cubicBezTo>
                    <a:pt x="707" y="38"/>
                    <a:pt x="794" y="76"/>
                    <a:pt x="866" y="132"/>
                  </a:cubicBezTo>
                  <a:cubicBezTo>
                    <a:pt x="883" y="146"/>
                    <a:pt x="899" y="160"/>
                    <a:pt x="915" y="176"/>
                  </a:cubicBezTo>
                  <a:cubicBezTo>
                    <a:pt x="930" y="191"/>
                    <a:pt x="945" y="208"/>
                    <a:pt x="958" y="225"/>
                  </a:cubicBezTo>
                  <a:cubicBezTo>
                    <a:pt x="958" y="225"/>
                    <a:pt x="958" y="225"/>
                    <a:pt x="958" y="225"/>
                  </a:cubicBezTo>
                  <a:cubicBezTo>
                    <a:pt x="958" y="225"/>
                    <a:pt x="958" y="225"/>
                    <a:pt x="958" y="225"/>
                  </a:cubicBezTo>
                  <a:cubicBezTo>
                    <a:pt x="958" y="225"/>
                    <a:pt x="958" y="225"/>
                    <a:pt x="958" y="225"/>
                  </a:cubicBezTo>
                  <a:cubicBezTo>
                    <a:pt x="958" y="226"/>
                    <a:pt x="958" y="226"/>
                    <a:pt x="958" y="226"/>
                  </a:cubicBezTo>
                  <a:cubicBezTo>
                    <a:pt x="974" y="214"/>
                    <a:pt x="974" y="214"/>
                    <a:pt x="974" y="214"/>
                  </a:cubicBezTo>
                  <a:cubicBezTo>
                    <a:pt x="1014" y="267"/>
                    <a:pt x="1046" y="328"/>
                    <a:pt x="1064" y="394"/>
                  </a:cubicBezTo>
                  <a:cubicBezTo>
                    <a:pt x="1068" y="406"/>
                    <a:pt x="1071" y="420"/>
                    <a:pt x="1074" y="433"/>
                  </a:cubicBezTo>
                  <a:cubicBezTo>
                    <a:pt x="1077" y="446"/>
                    <a:pt x="1079" y="459"/>
                    <a:pt x="1081" y="472"/>
                  </a:cubicBezTo>
                  <a:cubicBezTo>
                    <a:pt x="1062" y="475"/>
                    <a:pt x="1062" y="475"/>
                    <a:pt x="1062" y="475"/>
                  </a:cubicBezTo>
                  <a:cubicBezTo>
                    <a:pt x="1062" y="476"/>
                    <a:pt x="1062" y="476"/>
                    <a:pt x="1062" y="476"/>
                  </a:cubicBezTo>
                  <a:cubicBezTo>
                    <a:pt x="1063" y="485"/>
                    <a:pt x="1064" y="494"/>
                    <a:pt x="1065" y="504"/>
                  </a:cubicBezTo>
                  <a:cubicBezTo>
                    <a:pt x="1065" y="506"/>
                    <a:pt x="1065" y="507"/>
                    <a:pt x="1065" y="509"/>
                  </a:cubicBezTo>
                  <a:cubicBezTo>
                    <a:pt x="1066" y="521"/>
                    <a:pt x="1066" y="532"/>
                    <a:pt x="1066" y="544"/>
                  </a:cubicBezTo>
                  <a:cubicBezTo>
                    <a:pt x="1066" y="544"/>
                    <a:pt x="1066" y="544"/>
                    <a:pt x="1066" y="544"/>
                  </a:cubicBezTo>
                  <a:cubicBezTo>
                    <a:pt x="1066" y="544"/>
                    <a:pt x="1066" y="544"/>
                    <a:pt x="1066" y="544"/>
                  </a:cubicBezTo>
                  <a:cubicBezTo>
                    <a:pt x="1066" y="560"/>
                    <a:pt x="1065" y="577"/>
                    <a:pt x="1064" y="593"/>
                  </a:cubicBezTo>
                  <a:cubicBezTo>
                    <a:pt x="1064" y="596"/>
                    <a:pt x="1063" y="599"/>
                    <a:pt x="1063" y="602"/>
                  </a:cubicBezTo>
                  <a:cubicBezTo>
                    <a:pt x="1063" y="606"/>
                    <a:pt x="1062" y="609"/>
                    <a:pt x="1062" y="612"/>
                  </a:cubicBezTo>
                  <a:cubicBezTo>
                    <a:pt x="1062" y="612"/>
                    <a:pt x="1062" y="612"/>
                    <a:pt x="1062" y="612"/>
                  </a:cubicBezTo>
                  <a:cubicBezTo>
                    <a:pt x="1062" y="612"/>
                    <a:pt x="1062" y="612"/>
                    <a:pt x="1062" y="612"/>
                  </a:cubicBezTo>
                  <a:cubicBezTo>
                    <a:pt x="1062" y="612"/>
                    <a:pt x="1062" y="612"/>
                    <a:pt x="1062" y="612"/>
                  </a:cubicBezTo>
                  <a:cubicBezTo>
                    <a:pt x="1081" y="615"/>
                    <a:pt x="1081" y="615"/>
                    <a:pt x="1081" y="615"/>
                  </a:cubicBezTo>
                  <a:cubicBezTo>
                    <a:pt x="1072" y="684"/>
                    <a:pt x="1049" y="750"/>
                    <a:pt x="1017" y="808"/>
                  </a:cubicBezTo>
                  <a:close/>
                  <a:moveTo>
                    <a:pt x="1034" y="544"/>
                  </a:moveTo>
                  <a:cubicBezTo>
                    <a:pt x="1034" y="522"/>
                    <a:pt x="1032" y="501"/>
                    <a:pt x="1030" y="480"/>
                  </a:cubicBezTo>
                  <a:cubicBezTo>
                    <a:pt x="1049" y="478"/>
                    <a:pt x="1049" y="478"/>
                    <a:pt x="1049" y="478"/>
                  </a:cubicBezTo>
                  <a:cubicBezTo>
                    <a:pt x="1050" y="487"/>
                    <a:pt x="1051" y="496"/>
                    <a:pt x="1052" y="505"/>
                  </a:cubicBezTo>
                  <a:cubicBezTo>
                    <a:pt x="1052" y="507"/>
                    <a:pt x="1052" y="508"/>
                    <a:pt x="1052" y="510"/>
                  </a:cubicBezTo>
                  <a:cubicBezTo>
                    <a:pt x="1053" y="521"/>
                    <a:pt x="1053" y="532"/>
                    <a:pt x="1053" y="544"/>
                  </a:cubicBezTo>
                  <a:cubicBezTo>
                    <a:pt x="1053" y="544"/>
                    <a:pt x="1053" y="544"/>
                    <a:pt x="1053" y="544"/>
                  </a:cubicBezTo>
                  <a:cubicBezTo>
                    <a:pt x="1053" y="544"/>
                    <a:pt x="1053" y="544"/>
                    <a:pt x="1053" y="544"/>
                  </a:cubicBezTo>
                  <a:cubicBezTo>
                    <a:pt x="1053" y="593"/>
                    <a:pt x="1046" y="642"/>
                    <a:pt x="1033" y="687"/>
                  </a:cubicBezTo>
                  <a:cubicBezTo>
                    <a:pt x="1030" y="696"/>
                    <a:pt x="1027" y="705"/>
                    <a:pt x="1024" y="713"/>
                  </a:cubicBezTo>
                  <a:cubicBezTo>
                    <a:pt x="1021" y="722"/>
                    <a:pt x="1018" y="730"/>
                    <a:pt x="1014" y="738"/>
                  </a:cubicBezTo>
                  <a:cubicBezTo>
                    <a:pt x="997" y="731"/>
                    <a:pt x="997" y="731"/>
                    <a:pt x="997" y="731"/>
                  </a:cubicBezTo>
                  <a:cubicBezTo>
                    <a:pt x="1000" y="723"/>
                    <a:pt x="1003" y="715"/>
                    <a:pt x="1006" y="707"/>
                  </a:cubicBezTo>
                  <a:cubicBezTo>
                    <a:pt x="1009" y="699"/>
                    <a:pt x="1012" y="690"/>
                    <a:pt x="1014" y="682"/>
                  </a:cubicBezTo>
                  <a:cubicBezTo>
                    <a:pt x="1027" y="638"/>
                    <a:pt x="1034" y="592"/>
                    <a:pt x="1034" y="544"/>
                  </a:cubicBezTo>
                  <a:cubicBezTo>
                    <a:pt x="1034" y="544"/>
                    <a:pt x="1034" y="544"/>
                    <a:pt x="1034" y="54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1" name="Freeform 329">
              <a:extLst>
                <a:ext uri="{FF2B5EF4-FFF2-40B4-BE49-F238E27FC236}">
                  <a16:creationId xmlns:a16="http://schemas.microsoft.com/office/drawing/2014/main" id="{BB3D36C4-B501-61D2-2A39-FD784CDB4C16}"/>
                </a:ext>
              </a:extLst>
            </p:cNvPr>
            <p:cNvSpPr>
              <a:spLocks noEditPoints="1"/>
            </p:cNvSpPr>
            <p:nvPr/>
          </p:nvSpPr>
          <p:spPr bwMode="gray">
            <a:xfrm>
              <a:off x="4553952" y="2094915"/>
              <a:ext cx="3345550" cy="3349052"/>
            </a:xfrm>
            <a:custGeom>
              <a:avLst/>
              <a:gdLst>
                <a:gd name="T0" fmla="*/ 566 w 1610"/>
                <a:gd name="T1" fmla="*/ 1504 h 1612"/>
                <a:gd name="T2" fmla="*/ 542 w 1610"/>
                <a:gd name="T3" fmla="*/ 1493 h 1612"/>
                <a:gd name="T4" fmla="*/ 1610 w 1610"/>
                <a:gd name="T5" fmla="*/ 493 h 1612"/>
                <a:gd name="T6" fmla="*/ 1309 w 1610"/>
                <a:gd name="T7" fmla="*/ 185 h 1612"/>
                <a:gd name="T8" fmla="*/ 766 w 1610"/>
                <a:gd name="T9" fmla="*/ 89 h 1612"/>
                <a:gd name="T10" fmla="*/ 195 w 1610"/>
                <a:gd name="T11" fmla="*/ 1 h 1612"/>
                <a:gd name="T12" fmla="*/ 90 w 1610"/>
                <a:gd name="T13" fmla="*/ 818 h 1612"/>
                <a:gd name="T14" fmla="*/ 377 w 1610"/>
                <a:gd name="T15" fmla="*/ 1399 h 1612"/>
                <a:gd name="T16" fmla="*/ 912 w 1610"/>
                <a:gd name="T17" fmla="*/ 1506 h 1612"/>
                <a:gd name="T18" fmla="*/ 917 w 1610"/>
                <a:gd name="T19" fmla="*/ 1544 h 1612"/>
                <a:gd name="T20" fmla="*/ 1267 w 1610"/>
                <a:gd name="T21" fmla="*/ 1398 h 1612"/>
                <a:gd name="T22" fmla="*/ 1485 w 1610"/>
                <a:gd name="T23" fmla="*/ 549 h 1612"/>
                <a:gd name="T24" fmla="*/ 1411 w 1610"/>
                <a:gd name="T25" fmla="*/ 1061 h 1612"/>
                <a:gd name="T26" fmla="*/ 1369 w 1610"/>
                <a:gd name="T27" fmla="*/ 1047 h 1612"/>
                <a:gd name="T28" fmla="*/ 1166 w 1610"/>
                <a:gd name="T29" fmla="*/ 1301 h 1612"/>
                <a:gd name="T30" fmla="*/ 896 w 1610"/>
                <a:gd name="T31" fmla="*/ 1406 h 1612"/>
                <a:gd name="T32" fmla="*/ 492 w 1610"/>
                <a:gd name="T33" fmla="*/ 1250 h 1612"/>
                <a:gd name="T34" fmla="*/ 233 w 1610"/>
                <a:gd name="T35" fmla="*/ 820 h 1612"/>
                <a:gd name="T36" fmla="*/ 463 w 1610"/>
                <a:gd name="T37" fmla="*/ 352 h 1612"/>
                <a:gd name="T38" fmla="*/ 882 w 1610"/>
                <a:gd name="T39" fmla="*/ 234 h 1612"/>
                <a:gd name="T40" fmla="*/ 1141 w 1610"/>
                <a:gd name="T41" fmla="*/ 403 h 1612"/>
                <a:gd name="T42" fmla="*/ 1380 w 1610"/>
                <a:gd name="T43" fmla="*/ 588 h 1612"/>
                <a:gd name="T44" fmla="*/ 1370 w 1610"/>
                <a:gd name="T45" fmla="*/ 1044 h 1612"/>
                <a:gd name="T46" fmla="*/ 1244 w 1610"/>
                <a:gd name="T47" fmla="*/ 1241 h 1612"/>
                <a:gd name="T48" fmla="*/ 273 w 1610"/>
                <a:gd name="T49" fmla="*/ 1238 h 1612"/>
                <a:gd name="T50" fmla="*/ 165 w 1610"/>
                <a:gd name="T51" fmla="*/ 906 h 1612"/>
                <a:gd name="T52" fmla="*/ 899 w 1610"/>
                <a:gd name="T53" fmla="*/ 1408 h 1612"/>
                <a:gd name="T54" fmla="*/ 191 w 1610"/>
                <a:gd name="T55" fmla="*/ 736 h 1612"/>
                <a:gd name="T56" fmla="*/ 191 w 1610"/>
                <a:gd name="T57" fmla="*/ 900 h 1612"/>
                <a:gd name="T58" fmla="*/ 216 w 1610"/>
                <a:gd name="T59" fmla="*/ 620 h 1612"/>
                <a:gd name="T60" fmla="*/ 1410 w 1610"/>
                <a:gd name="T61" fmla="*/ 576 h 1612"/>
                <a:gd name="T62" fmla="*/ 1190 w 1610"/>
                <a:gd name="T63" fmla="*/ 339 h 1612"/>
                <a:gd name="T64" fmla="*/ 1189 w 1610"/>
                <a:gd name="T65" fmla="*/ 339 h 1612"/>
                <a:gd name="T66" fmla="*/ 981 w 1610"/>
                <a:gd name="T67" fmla="*/ 146 h 1612"/>
                <a:gd name="T68" fmla="*/ 558 w 1610"/>
                <a:gd name="T69" fmla="*/ 180 h 1612"/>
                <a:gd name="T70" fmla="*/ 594 w 1610"/>
                <a:gd name="T71" fmla="*/ 270 h 1612"/>
                <a:gd name="T72" fmla="*/ 579 w 1610"/>
                <a:gd name="T73" fmla="*/ 231 h 1612"/>
                <a:gd name="T74" fmla="*/ 433 w 1610"/>
                <a:gd name="T75" fmla="*/ 313 h 1612"/>
                <a:gd name="T76" fmla="*/ 256 w 1610"/>
                <a:gd name="T77" fmla="*/ 1025 h 1612"/>
                <a:gd name="T78" fmla="*/ 234 w 1610"/>
                <a:gd name="T79" fmla="*/ 1062 h 1612"/>
                <a:gd name="T80" fmla="*/ 352 w 1610"/>
                <a:gd name="T81" fmla="*/ 1179 h 1612"/>
                <a:gd name="T82" fmla="*/ 1457 w 1610"/>
                <a:gd name="T83" fmla="*/ 820 h 1612"/>
                <a:gd name="T84" fmla="*/ 1390 w 1610"/>
                <a:gd name="T85" fmla="*/ 384 h 1612"/>
                <a:gd name="T86" fmla="*/ 1261 w 1610"/>
                <a:gd name="T87" fmla="*/ 317 h 1612"/>
                <a:gd name="T88" fmla="*/ 1257 w 1610"/>
                <a:gd name="T89" fmla="*/ 250 h 1612"/>
                <a:gd name="T90" fmla="*/ 920 w 1610"/>
                <a:gd name="T91" fmla="*/ 102 h 1612"/>
                <a:gd name="T92" fmla="*/ 726 w 1610"/>
                <a:gd name="T93" fmla="*/ 94 h 1612"/>
                <a:gd name="T94" fmla="*/ 476 w 1610"/>
                <a:gd name="T95" fmla="*/ 175 h 1612"/>
                <a:gd name="T96" fmla="*/ 147 w 1610"/>
                <a:gd name="T97" fmla="*/ 538 h 1612"/>
                <a:gd name="T98" fmla="*/ 273 w 1610"/>
                <a:gd name="T99" fmla="*/ 399 h 1612"/>
                <a:gd name="T100" fmla="*/ 101 w 1610"/>
                <a:gd name="T101" fmla="*/ 697 h 1612"/>
                <a:gd name="T102" fmla="*/ 376 w 1610"/>
                <a:gd name="T103" fmla="*/ 1397 h 1612"/>
                <a:gd name="T104" fmla="*/ 910 w 1610"/>
                <a:gd name="T105" fmla="*/ 1504 h 1612"/>
                <a:gd name="T106" fmla="*/ 385 w 1610"/>
                <a:gd name="T107" fmla="*/ 1386 h 1612"/>
                <a:gd name="T108" fmla="*/ 206 w 1610"/>
                <a:gd name="T109" fmla="*/ 1072 h 1612"/>
                <a:gd name="T110" fmla="*/ 522 w 1610"/>
                <a:gd name="T111" fmla="*/ 1414 h 1612"/>
                <a:gd name="T112" fmla="*/ 1077 w 1610"/>
                <a:gd name="T113" fmla="*/ 1431 h 1612"/>
                <a:gd name="T114" fmla="*/ 1101 w 1610"/>
                <a:gd name="T115" fmla="*/ 1493 h 1612"/>
                <a:gd name="T116" fmla="*/ 1385 w 1610"/>
                <a:gd name="T117" fmla="*/ 1261 h 1612"/>
                <a:gd name="T118" fmla="*/ 1339 w 1610"/>
                <a:gd name="T119" fmla="*/ 1313 h 1612"/>
                <a:gd name="T120" fmla="*/ 1370 w 1610"/>
                <a:gd name="T121" fmla="*/ 1048 h 1612"/>
                <a:gd name="T122" fmla="*/ 1436 w 1610"/>
                <a:gd name="T123" fmla="*/ 1075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0" h="1612">
                  <a:moveTo>
                    <a:pt x="728" y="1528"/>
                  </a:moveTo>
                  <a:cubicBezTo>
                    <a:pt x="719" y="1527"/>
                    <a:pt x="710" y="1526"/>
                    <a:pt x="702" y="1524"/>
                  </a:cubicBezTo>
                  <a:cubicBezTo>
                    <a:pt x="693" y="1523"/>
                    <a:pt x="684" y="1521"/>
                    <a:pt x="676" y="1519"/>
                  </a:cubicBezTo>
                  <a:cubicBezTo>
                    <a:pt x="631" y="1510"/>
                    <a:pt x="588" y="1497"/>
                    <a:pt x="547" y="1480"/>
                  </a:cubicBezTo>
                  <a:cubicBezTo>
                    <a:pt x="547" y="1479"/>
                    <a:pt x="547" y="1479"/>
                    <a:pt x="547" y="1479"/>
                  </a:cubicBezTo>
                  <a:cubicBezTo>
                    <a:pt x="547" y="1480"/>
                    <a:pt x="547" y="1480"/>
                    <a:pt x="547" y="1480"/>
                  </a:cubicBezTo>
                  <a:cubicBezTo>
                    <a:pt x="541" y="1493"/>
                    <a:pt x="541" y="1493"/>
                    <a:pt x="541" y="1493"/>
                  </a:cubicBezTo>
                  <a:cubicBezTo>
                    <a:pt x="541" y="1494"/>
                    <a:pt x="541" y="1494"/>
                    <a:pt x="541" y="1494"/>
                  </a:cubicBezTo>
                  <a:cubicBezTo>
                    <a:pt x="541" y="1494"/>
                    <a:pt x="541" y="1494"/>
                    <a:pt x="541" y="1494"/>
                  </a:cubicBezTo>
                  <a:cubicBezTo>
                    <a:pt x="541" y="1494"/>
                    <a:pt x="541" y="1494"/>
                    <a:pt x="541" y="1494"/>
                  </a:cubicBezTo>
                  <a:cubicBezTo>
                    <a:pt x="549" y="1498"/>
                    <a:pt x="558" y="1501"/>
                    <a:pt x="566" y="1504"/>
                  </a:cubicBezTo>
                  <a:cubicBezTo>
                    <a:pt x="574" y="1507"/>
                    <a:pt x="583" y="1510"/>
                    <a:pt x="591" y="1513"/>
                  </a:cubicBezTo>
                  <a:cubicBezTo>
                    <a:pt x="634" y="1527"/>
                    <a:pt x="680" y="1538"/>
                    <a:pt x="726" y="1544"/>
                  </a:cubicBezTo>
                  <a:cubicBezTo>
                    <a:pt x="727" y="1544"/>
                    <a:pt x="727" y="1544"/>
                    <a:pt x="727" y="1544"/>
                  </a:cubicBezTo>
                  <a:cubicBezTo>
                    <a:pt x="727" y="1543"/>
                    <a:pt x="727" y="1543"/>
                    <a:pt x="727" y="1543"/>
                  </a:cubicBezTo>
                  <a:cubicBezTo>
                    <a:pt x="729" y="1529"/>
                    <a:pt x="729" y="1529"/>
                    <a:pt x="729" y="1529"/>
                  </a:cubicBezTo>
                  <a:cubicBezTo>
                    <a:pt x="729" y="1528"/>
                    <a:pt x="729" y="1528"/>
                    <a:pt x="729" y="1528"/>
                  </a:cubicBezTo>
                  <a:cubicBezTo>
                    <a:pt x="728" y="1528"/>
                    <a:pt x="728" y="1528"/>
                    <a:pt x="728" y="1528"/>
                  </a:cubicBezTo>
                  <a:close/>
                  <a:moveTo>
                    <a:pt x="726" y="1543"/>
                  </a:moveTo>
                  <a:cubicBezTo>
                    <a:pt x="679" y="1536"/>
                    <a:pt x="634" y="1526"/>
                    <a:pt x="591" y="1512"/>
                  </a:cubicBezTo>
                  <a:cubicBezTo>
                    <a:pt x="583" y="1509"/>
                    <a:pt x="575" y="1506"/>
                    <a:pt x="566" y="1503"/>
                  </a:cubicBezTo>
                  <a:cubicBezTo>
                    <a:pt x="558" y="1500"/>
                    <a:pt x="550" y="1497"/>
                    <a:pt x="542" y="1493"/>
                  </a:cubicBezTo>
                  <a:cubicBezTo>
                    <a:pt x="547" y="1481"/>
                    <a:pt x="547" y="1481"/>
                    <a:pt x="547" y="1481"/>
                  </a:cubicBezTo>
                  <a:cubicBezTo>
                    <a:pt x="588" y="1498"/>
                    <a:pt x="631" y="1511"/>
                    <a:pt x="675" y="1520"/>
                  </a:cubicBezTo>
                  <a:cubicBezTo>
                    <a:pt x="684" y="1522"/>
                    <a:pt x="693" y="1524"/>
                    <a:pt x="702" y="1525"/>
                  </a:cubicBezTo>
                  <a:cubicBezTo>
                    <a:pt x="710" y="1527"/>
                    <a:pt x="719" y="1528"/>
                    <a:pt x="727" y="1529"/>
                  </a:cubicBezTo>
                  <a:lnTo>
                    <a:pt x="726" y="1543"/>
                  </a:lnTo>
                  <a:close/>
                  <a:moveTo>
                    <a:pt x="1610" y="714"/>
                  </a:moveTo>
                  <a:cubicBezTo>
                    <a:pt x="1532" y="725"/>
                    <a:pt x="1532" y="725"/>
                    <a:pt x="1532" y="725"/>
                  </a:cubicBezTo>
                  <a:cubicBezTo>
                    <a:pt x="1526" y="676"/>
                    <a:pt x="1515" y="629"/>
                    <a:pt x="1499" y="584"/>
                  </a:cubicBezTo>
                  <a:cubicBezTo>
                    <a:pt x="1495" y="572"/>
                    <a:pt x="1490" y="560"/>
                    <a:pt x="1486" y="548"/>
                  </a:cubicBezTo>
                  <a:cubicBezTo>
                    <a:pt x="1485" y="547"/>
                    <a:pt x="1485" y="546"/>
                    <a:pt x="1484" y="545"/>
                  </a:cubicBezTo>
                  <a:cubicBezTo>
                    <a:pt x="1610" y="493"/>
                    <a:pt x="1610" y="493"/>
                    <a:pt x="1610" y="493"/>
                  </a:cubicBezTo>
                  <a:cubicBezTo>
                    <a:pt x="1610" y="492"/>
                    <a:pt x="1610" y="492"/>
                    <a:pt x="1610" y="492"/>
                  </a:cubicBezTo>
                  <a:cubicBezTo>
                    <a:pt x="1484" y="544"/>
                    <a:pt x="1484" y="544"/>
                    <a:pt x="1484" y="544"/>
                  </a:cubicBezTo>
                  <a:cubicBezTo>
                    <a:pt x="1460" y="486"/>
                    <a:pt x="1428" y="432"/>
                    <a:pt x="1391" y="382"/>
                  </a:cubicBezTo>
                  <a:cubicBezTo>
                    <a:pt x="1402" y="374"/>
                    <a:pt x="1402" y="374"/>
                    <a:pt x="1402" y="374"/>
                  </a:cubicBezTo>
                  <a:cubicBezTo>
                    <a:pt x="1402" y="374"/>
                    <a:pt x="1402" y="374"/>
                    <a:pt x="1402" y="374"/>
                  </a:cubicBezTo>
                  <a:cubicBezTo>
                    <a:pt x="1402" y="373"/>
                    <a:pt x="1402" y="373"/>
                    <a:pt x="1402" y="373"/>
                  </a:cubicBezTo>
                  <a:cubicBezTo>
                    <a:pt x="1402" y="373"/>
                    <a:pt x="1402" y="373"/>
                    <a:pt x="1402" y="373"/>
                  </a:cubicBezTo>
                  <a:cubicBezTo>
                    <a:pt x="1383" y="349"/>
                    <a:pt x="1363" y="326"/>
                    <a:pt x="1341" y="304"/>
                  </a:cubicBezTo>
                  <a:cubicBezTo>
                    <a:pt x="1320" y="282"/>
                    <a:pt x="1297" y="262"/>
                    <a:pt x="1273" y="243"/>
                  </a:cubicBezTo>
                  <a:cubicBezTo>
                    <a:pt x="1271" y="241"/>
                    <a:pt x="1269" y="240"/>
                    <a:pt x="1268" y="239"/>
                  </a:cubicBezTo>
                  <a:cubicBezTo>
                    <a:pt x="1309" y="185"/>
                    <a:pt x="1309" y="185"/>
                    <a:pt x="1309" y="185"/>
                  </a:cubicBezTo>
                  <a:cubicBezTo>
                    <a:pt x="1308" y="184"/>
                    <a:pt x="1308" y="184"/>
                    <a:pt x="1308" y="184"/>
                  </a:cubicBezTo>
                  <a:cubicBezTo>
                    <a:pt x="1267" y="238"/>
                    <a:pt x="1267" y="238"/>
                    <a:pt x="1267" y="238"/>
                  </a:cubicBezTo>
                  <a:cubicBezTo>
                    <a:pt x="1217" y="200"/>
                    <a:pt x="1162" y="168"/>
                    <a:pt x="1103" y="143"/>
                  </a:cubicBezTo>
                  <a:cubicBezTo>
                    <a:pt x="1152" y="25"/>
                    <a:pt x="1152" y="25"/>
                    <a:pt x="1152" y="25"/>
                  </a:cubicBezTo>
                  <a:cubicBezTo>
                    <a:pt x="1150" y="25"/>
                    <a:pt x="1150" y="25"/>
                    <a:pt x="1150" y="25"/>
                  </a:cubicBezTo>
                  <a:cubicBezTo>
                    <a:pt x="1102" y="142"/>
                    <a:pt x="1102" y="142"/>
                    <a:pt x="1102" y="142"/>
                  </a:cubicBezTo>
                  <a:cubicBezTo>
                    <a:pt x="1015" y="107"/>
                    <a:pt x="921" y="87"/>
                    <a:pt x="821" y="87"/>
                  </a:cubicBezTo>
                  <a:cubicBezTo>
                    <a:pt x="821" y="87"/>
                    <a:pt x="821" y="87"/>
                    <a:pt x="821" y="87"/>
                  </a:cubicBezTo>
                  <a:cubicBezTo>
                    <a:pt x="821" y="87"/>
                    <a:pt x="821" y="87"/>
                    <a:pt x="821" y="87"/>
                  </a:cubicBezTo>
                  <a:cubicBezTo>
                    <a:pt x="805" y="87"/>
                    <a:pt x="789" y="87"/>
                    <a:pt x="773" y="88"/>
                  </a:cubicBezTo>
                  <a:cubicBezTo>
                    <a:pt x="771" y="89"/>
                    <a:pt x="768" y="89"/>
                    <a:pt x="766" y="89"/>
                  </a:cubicBezTo>
                  <a:cubicBezTo>
                    <a:pt x="752" y="90"/>
                    <a:pt x="739" y="91"/>
                    <a:pt x="726" y="93"/>
                  </a:cubicBezTo>
                  <a:cubicBezTo>
                    <a:pt x="726" y="93"/>
                    <a:pt x="725" y="93"/>
                    <a:pt x="725" y="93"/>
                  </a:cubicBezTo>
                  <a:cubicBezTo>
                    <a:pt x="681" y="99"/>
                    <a:pt x="638" y="109"/>
                    <a:pt x="596" y="122"/>
                  </a:cubicBezTo>
                  <a:cubicBezTo>
                    <a:pt x="578" y="128"/>
                    <a:pt x="560" y="135"/>
                    <a:pt x="542" y="142"/>
                  </a:cubicBezTo>
                  <a:cubicBezTo>
                    <a:pt x="494" y="25"/>
                    <a:pt x="494" y="25"/>
                    <a:pt x="494" y="25"/>
                  </a:cubicBezTo>
                  <a:cubicBezTo>
                    <a:pt x="493" y="25"/>
                    <a:pt x="493" y="25"/>
                    <a:pt x="493" y="25"/>
                  </a:cubicBezTo>
                  <a:cubicBezTo>
                    <a:pt x="541" y="143"/>
                    <a:pt x="541" y="143"/>
                    <a:pt x="541" y="143"/>
                  </a:cubicBezTo>
                  <a:cubicBezTo>
                    <a:pt x="519" y="152"/>
                    <a:pt x="497" y="162"/>
                    <a:pt x="476" y="174"/>
                  </a:cubicBezTo>
                  <a:cubicBezTo>
                    <a:pt x="441" y="192"/>
                    <a:pt x="408" y="214"/>
                    <a:pt x="377" y="237"/>
                  </a:cubicBezTo>
                  <a:cubicBezTo>
                    <a:pt x="196" y="0"/>
                    <a:pt x="196" y="0"/>
                    <a:pt x="196" y="0"/>
                  </a:cubicBezTo>
                  <a:cubicBezTo>
                    <a:pt x="195" y="1"/>
                    <a:pt x="195" y="1"/>
                    <a:pt x="195" y="1"/>
                  </a:cubicBezTo>
                  <a:cubicBezTo>
                    <a:pt x="376" y="238"/>
                    <a:pt x="376" y="238"/>
                    <a:pt x="376" y="238"/>
                  </a:cubicBezTo>
                  <a:cubicBezTo>
                    <a:pt x="275" y="316"/>
                    <a:pt x="195" y="419"/>
                    <a:pt x="146" y="538"/>
                  </a:cubicBezTo>
                  <a:cubicBezTo>
                    <a:pt x="72" y="507"/>
                    <a:pt x="72" y="507"/>
                    <a:pt x="72" y="507"/>
                  </a:cubicBezTo>
                  <a:cubicBezTo>
                    <a:pt x="72" y="509"/>
                    <a:pt x="72" y="509"/>
                    <a:pt x="72" y="509"/>
                  </a:cubicBezTo>
                  <a:cubicBezTo>
                    <a:pt x="145" y="539"/>
                    <a:pt x="145" y="539"/>
                    <a:pt x="145" y="539"/>
                  </a:cubicBezTo>
                  <a:cubicBezTo>
                    <a:pt x="125" y="588"/>
                    <a:pt x="110" y="640"/>
                    <a:pt x="100" y="695"/>
                  </a:cubicBezTo>
                  <a:cubicBezTo>
                    <a:pt x="100" y="695"/>
                    <a:pt x="100" y="696"/>
                    <a:pt x="100" y="697"/>
                  </a:cubicBezTo>
                  <a:cubicBezTo>
                    <a:pt x="98" y="709"/>
                    <a:pt x="96" y="720"/>
                    <a:pt x="95" y="732"/>
                  </a:cubicBezTo>
                  <a:cubicBezTo>
                    <a:pt x="95" y="732"/>
                    <a:pt x="95" y="732"/>
                    <a:pt x="95" y="732"/>
                  </a:cubicBezTo>
                  <a:cubicBezTo>
                    <a:pt x="92" y="760"/>
                    <a:pt x="90" y="789"/>
                    <a:pt x="90" y="818"/>
                  </a:cubicBezTo>
                  <a:cubicBezTo>
                    <a:pt x="90" y="818"/>
                    <a:pt x="90" y="818"/>
                    <a:pt x="90" y="818"/>
                  </a:cubicBezTo>
                  <a:cubicBezTo>
                    <a:pt x="90" y="818"/>
                    <a:pt x="90" y="818"/>
                    <a:pt x="90" y="818"/>
                  </a:cubicBezTo>
                  <a:cubicBezTo>
                    <a:pt x="90" y="851"/>
                    <a:pt x="92" y="882"/>
                    <a:pt x="96" y="913"/>
                  </a:cubicBezTo>
                  <a:cubicBezTo>
                    <a:pt x="0" y="926"/>
                    <a:pt x="0" y="926"/>
                    <a:pt x="0" y="926"/>
                  </a:cubicBezTo>
                  <a:cubicBezTo>
                    <a:pt x="1" y="927"/>
                    <a:pt x="1" y="927"/>
                    <a:pt x="1" y="927"/>
                  </a:cubicBezTo>
                  <a:cubicBezTo>
                    <a:pt x="96" y="915"/>
                    <a:pt x="96" y="915"/>
                    <a:pt x="96" y="915"/>
                  </a:cubicBezTo>
                  <a:cubicBezTo>
                    <a:pt x="107" y="997"/>
                    <a:pt x="132" y="1076"/>
                    <a:pt x="168" y="1147"/>
                  </a:cubicBezTo>
                  <a:cubicBezTo>
                    <a:pt x="176" y="1163"/>
                    <a:pt x="185" y="1179"/>
                    <a:pt x="194" y="1194"/>
                  </a:cubicBezTo>
                  <a:cubicBezTo>
                    <a:pt x="217" y="1233"/>
                    <a:pt x="243" y="1269"/>
                    <a:pt x="273" y="1302"/>
                  </a:cubicBezTo>
                  <a:cubicBezTo>
                    <a:pt x="304" y="1337"/>
                    <a:pt x="338" y="1369"/>
                    <a:pt x="375" y="1398"/>
                  </a:cubicBezTo>
                  <a:cubicBezTo>
                    <a:pt x="375" y="1398"/>
                    <a:pt x="375" y="1398"/>
                    <a:pt x="375" y="1398"/>
                  </a:cubicBezTo>
                  <a:cubicBezTo>
                    <a:pt x="377" y="1399"/>
                    <a:pt x="377" y="1399"/>
                    <a:pt x="377" y="1399"/>
                  </a:cubicBezTo>
                  <a:cubicBezTo>
                    <a:pt x="401" y="1369"/>
                    <a:pt x="401" y="1369"/>
                    <a:pt x="401" y="1369"/>
                  </a:cubicBezTo>
                  <a:cubicBezTo>
                    <a:pt x="449" y="1407"/>
                    <a:pt x="503" y="1438"/>
                    <a:pt x="561" y="1461"/>
                  </a:cubicBezTo>
                  <a:cubicBezTo>
                    <a:pt x="572" y="1466"/>
                    <a:pt x="584" y="1470"/>
                    <a:pt x="595" y="1474"/>
                  </a:cubicBezTo>
                  <a:cubicBezTo>
                    <a:pt x="666" y="1499"/>
                    <a:pt x="743" y="1512"/>
                    <a:pt x="822" y="1512"/>
                  </a:cubicBezTo>
                  <a:cubicBezTo>
                    <a:pt x="822" y="1512"/>
                    <a:pt x="822" y="1512"/>
                    <a:pt x="822" y="1512"/>
                  </a:cubicBezTo>
                  <a:cubicBezTo>
                    <a:pt x="822" y="1512"/>
                    <a:pt x="822" y="1512"/>
                    <a:pt x="822" y="1512"/>
                  </a:cubicBezTo>
                  <a:cubicBezTo>
                    <a:pt x="844" y="1512"/>
                    <a:pt x="866" y="1511"/>
                    <a:pt x="887" y="1509"/>
                  </a:cubicBezTo>
                  <a:cubicBezTo>
                    <a:pt x="892" y="1509"/>
                    <a:pt x="896" y="1508"/>
                    <a:pt x="900" y="1508"/>
                  </a:cubicBezTo>
                  <a:cubicBezTo>
                    <a:pt x="904" y="1507"/>
                    <a:pt x="908" y="1507"/>
                    <a:pt x="912" y="1506"/>
                  </a:cubicBezTo>
                  <a:cubicBezTo>
                    <a:pt x="912" y="1506"/>
                    <a:pt x="912" y="1506"/>
                    <a:pt x="912" y="1506"/>
                  </a:cubicBezTo>
                  <a:cubicBezTo>
                    <a:pt x="912" y="1506"/>
                    <a:pt x="912" y="1506"/>
                    <a:pt x="912" y="1506"/>
                  </a:cubicBezTo>
                  <a:cubicBezTo>
                    <a:pt x="912" y="1506"/>
                    <a:pt x="912" y="1506"/>
                    <a:pt x="912" y="1506"/>
                  </a:cubicBezTo>
                  <a:cubicBezTo>
                    <a:pt x="914" y="1506"/>
                    <a:pt x="914" y="1506"/>
                    <a:pt x="914" y="1506"/>
                  </a:cubicBezTo>
                  <a:cubicBezTo>
                    <a:pt x="910" y="1479"/>
                    <a:pt x="910" y="1479"/>
                    <a:pt x="910" y="1479"/>
                  </a:cubicBezTo>
                  <a:cubicBezTo>
                    <a:pt x="968" y="1471"/>
                    <a:pt x="1024" y="1456"/>
                    <a:pt x="1077" y="1435"/>
                  </a:cubicBezTo>
                  <a:cubicBezTo>
                    <a:pt x="1095" y="1480"/>
                    <a:pt x="1095" y="1480"/>
                    <a:pt x="1095" y="1480"/>
                  </a:cubicBezTo>
                  <a:cubicBezTo>
                    <a:pt x="1038" y="1503"/>
                    <a:pt x="978" y="1520"/>
                    <a:pt x="915" y="1528"/>
                  </a:cubicBezTo>
                  <a:cubicBezTo>
                    <a:pt x="914" y="1528"/>
                    <a:pt x="914" y="1528"/>
                    <a:pt x="914" y="1528"/>
                  </a:cubicBezTo>
                  <a:cubicBezTo>
                    <a:pt x="914" y="1529"/>
                    <a:pt x="914" y="1529"/>
                    <a:pt x="914" y="1529"/>
                  </a:cubicBezTo>
                  <a:cubicBezTo>
                    <a:pt x="916" y="1543"/>
                    <a:pt x="916" y="1543"/>
                    <a:pt x="916" y="1543"/>
                  </a:cubicBezTo>
                  <a:cubicBezTo>
                    <a:pt x="916" y="1544"/>
                    <a:pt x="916" y="1544"/>
                    <a:pt x="916" y="1544"/>
                  </a:cubicBezTo>
                  <a:cubicBezTo>
                    <a:pt x="917" y="1544"/>
                    <a:pt x="917" y="1544"/>
                    <a:pt x="917" y="1544"/>
                  </a:cubicBezTo>
                  <a:cubicBezTo>
                    <a:pt x="917" y="1544"/>
                    <a:pt x="917" y="1544"/>
                    <a:pt x="917" y="1544"/>
                  </a:cubicBezTo>
                  <a:cubicBezTo>
                    <a:pt x="944" y="1540"/>
                    <a:pt x="971" y="1535"/>
                    <a:pt x="998" y="1528"/>
                  </a:cubicBezTo>
                  <a:cubicBezTo>
                    <a:pt x="1025" y="1522"/>
                    <a:pt x="1051" y="1514"/>
                    <a:pt x="1076" y="1504"/>
                  </a:cubicBezTo>
                  <a:cubicBezTo>
                    <a:pt x="1084" y="1501"/>
                    <a:pt x="1093" y="1498"/>
                    <a:pt x="1101" y="1494"/>
                  </a:cubicBezTo>
                  <a:cubicBezTo>
                    <a:pt x="1150" y="1612"/>
                    <a:pt x="1150" y="1612"/>
                    <a:pt x="1150" y="1612"/>
                  </a:cubicBezTo>
                  <a:cubicBezTo>
                    <a:pt x="1152" y="1612"/>
                    <a:pt x="1152" y="1612"/>
                    <a:pt x="1152" y="1612"/>
                  </a:cubicBezTo>
                  <a:cubicBezTo>
                    <a:pt x="1103" y="1494"/>
                    <a:pt x="1103" y="1494"/>
                    <a:pt x="1103" y="1494"/>
                  </a:cubicBezTo>
                  <a:cubicBezTo>
                    <a:pt x="1161" y="1469"/>
                    <a:pt x="1216" y="1437"/>
                    <a:pt x="1266" y="1399"/>
                  </a:cubicBezTo>
                  <a:cubicBezTo>
                    <a:pt x="1270" y="1404"/>
                    <a:pt x="1270" y="1404"/>
                    <a:pt x="1270" y="1404"/>
                  </a:cubicBezTo>
                  <a:cubicBezTo>
                    <a:pt x="1271" y="1403"/>
                    <a:pt x="1271" y="1403"/>
                    <a:pt x="1271" y="1403"/>
                  </a:cubicBezTo>
                  <a:cubicBezTo>
                    <a:pt x="1267" y="1398"/>
                    <a:pt x="1267" y="1398"/>
                    <a:pt x="1267" y="1398"/>
                  </a:cubicBezTo>
                  <a:cubicBezTo>
                    <a:pt x="1318" y="1359"/>
                    <a:pt x="1363" y="1314"/>
                    <a:pt x="1402" y="1264"/>
                  </a:cubicBezTo>
                  <a:cubicBezTo>
                    <a:pt x="1402" y="1263"/>
                    <a:pt x="1402" y="1263"/>
                    <a:pt x="1402" y="1263"/>
                  </a:cubicBezTo>
                  <a:cubicBezTo>
                    <a:pt x="1402" y="1263"/>
                    <a:pt x="1402" y="1263"/>
                    <a:pt x="1402" y="1263"/>
                  </a:cubicBezTo>
                  <a:cubicBezTo>
                    <a:pt x="1391" y="1254"/>
                    <a:pt x="1391" y="1254"/>
                    <a:pt x="1391" y="1254"/>
                  </a:cubicBezTo>
                  <a:cubicBezTo>
                    <a:pt x="1483" y="1133"/>
                    <a:pt x="1538" y="982"/>
                    <a:pt x="1538" y="818"/>
                  </a:cubicBezTo>
                  <a:cubicBezTo>
                    <a:pt x="1538" y="818"/>
                    <a:pt x="1538" y="818"/>
                    <a:pt x="1538" y="818"/>
                  </a:cubicBezTo>
                  <a:cubicBezTo>
                    <a:pt x="1538" y="818"/>
                    <a:pt x="1538" y="818"/>
                    <a:pt x="1538" y="818"/>
                  </a:cubicBezTo>
                  <a:cubicBezTo>
                    <a:pt x="1538" y="787"/>
                    <a:pt x="1536" y="756"/>
                    <a:pt x="1532" y="726"/>
                  </a:cubicBezTo>
                  <a:cubicBezTo>
                    <a:pt x="1610" y="716"/>
                    <a:pt x="1610" y="716"/>
                    <a:pt x="1610" y="716"/>
                  </a:cubicBezTo>
                  <a:lnTo>
                    <a:pt x="1610" y="714"/>
                  </a:lnTo>
                  <a:close/>
                  <a:moveTo>
                    <a:pt x="1485" y="549"/>
                  </a:moveTo>
                  <a:cubicBezTo>
                    <a:pt x="1489" y="561"/>
                    <a:pt x="1494" y="572"/>
                    <a:pt x="1498" y="584"/>
                  </a:cubicBezTo>
                  <a:cubicBezTo>
                    <a:pt x="1514" y="629"/>
                    <a:pt x="1525" y="676"/>
                    <a:pt x="1531" y="725"/>
                  </a:cubicBezTo>
                  <a:cubicBezTo>
                    <a:pt x="1483" y="731"/>
                    <a:pt x="1483" y="731"/>
                    <a:pt x="1483" y="731"/>
                  </a:cubicBezTo>
                  <a:cubicBezTo>
                    <a:pt x="1475" y="673"/>
                    <a:pt x="1460" y="617"/>
                    <a:pt x="1438" y="564"/>
                  </a:cubicBezTo>
                  <a:cubicBezTo>
                    <a:pt x="1483" y="545"/>
                    <a:pt x="1483" y="545"/>
                    <a:pt x="1483" y="545"/>
                  </a:cubicBezTo>
                  <a:cubicBezTo>
                    <a:pt x="1484" y="547"/>
                    <a:pt x="1484" y="548"/>
                    <a:pt x="1485" y="549"/>
                  </a:cubicBezTo>
                  <a:close/>
                  <a:moveTo>
                    <a:pt x="1485" y="819"/>
                  </a:moveTo>
                  <a:cubicBezTo>
                    <a:pt x="1485" y="864"/>
                    <a:pt x="1481" y="908"/>
                    <a:pt x="1472" y="950"/>
                  </a:cubicBezTo>
                  <a:cubicBezTo>
                    <a:pt x="1471" y="957"/>
                    <a:pt x="1469" y="964"/>
                    <a:pt x="1468" y="971"/>
                  </a:cubicBezTo>
                  <a:cubicBezTo>
                    <a:pt x="1460" y="1005"/>
                    <a:pt x="1449" y="1039"/>
                    <a:pt x="1435" y="1071"/>
                  </a:cubicBezTo>
                  <a:cubicBezTo>
                    <a:pt x="1411" y="1061"/>
                    <a:pt x="1411" y="1061"/>
                    <a:pt x="1411" y="1061"/>
                  </a:cubicBezTo>
                  <a:cubicBezTo>
                    <a:pt x="1442" y="987"/>
                    <a:pt x="1459" y="905"/>
                    <a:pt x="1459" y="820"/>
                  </a:cubicBezTo>
                  <a:cubicBezTo>
                    <a:pt x="1459" y="820"/>
                    <a:pt x="1459" y="820"/>
                    <a:pt x="1459" y="820"/>
                  </a:cubicBezTo>
                  <a:cubicBezTo>
                    <a:pt x="1459" y="820"/>
                    <a:pt x="1459" y="820"/>
                    <a:pt x="1459" y="820"/>
                  </a:cubicBezTo>
                  <a:cubicBezTo>
                    <a:pt x="1459" y="820"/>
                    <a:pt x="1459" y="820"/>
                    <a:pt x="1459" y="820"/>
                  </a:cubicBezTo>
                  <a:cubicBezTo>
                    <a:pt x="1459" y="820"/>
                    <a:pt x="1459" y="820"/>
                    <a:pt x="1459" y="820"/>
                  </a:cubicBezTo>
                  <a:cubicBezTo>
                    <a:pt x="1459" y="792"/>
                    <a:pt x="1457" y="764"/>
                    <a:pt x="1453" y="736"/>
                  </a:cubicBezTo>
                  <a:cubicBezTo>
                    <a:pt x="1480" y="733"/>
                    <a:pt x="1480" y="733"/>
                    <a:pt x="1480" y="733"/>
                  </a:cubicBezTo>
                  <a:cubicBezTo>
                    <a:pt x="1483" y="761"/>
                    <a:pt x="1485" y="790"/>
                    <a:pt x="1485" y="819"/>
                  </a:cubicBezTo>
                  <a:cubicBezTo>
                    <a:pt x="1485" y="819"/>
                    <a:pt x="1485" y="819"/>
                    <a:pt x="1485" y="819"/>
                  </a:cubicBezTo>
                  <a:close/>
                  <a:moveTo>
                    <a:pt x="1369" y="1046"/>
                  </a:moveTo>
                  <a:cubicBezTo>
                    <a:pt x="1369" y="1047"/>
                    <a:pt x="1369" y="1047"/>
                    <a:pt x="1369" y="1047"/>
                  </a:cubicBezTo>
                  <a:cubicBezTo>
                    <a:pt x="1369" y="1047"/>
                    <a:pt x="1369" y="1047"/>
                    <a:pt x="1369" y="1047"/>
                  </a:cubicBezTo>
                  <a:cubicBezTo>
                    <a:pt x="1349" y="1094"/>
                    <a:pt x="1324" y="1139"/>
                    <a:pt x="1293" y="1179"/>
                  </a:cubicBezTo>
                  <a:cubicBezTo>
                    <a:pt x="1227" y="1128"/>
                    <a:pt x="1227" y="1128"/>
                    <a:pt x="1227" y="1128"/>
                  </a:cubicBezTo>
                  <a:cubicBezTo>
                    <a:pt x="1226" y="1129"/>
                    <a:pt x="1226" y="1129"/>
                    <a:pt x="1226" y="1129"/>
                  </a:cubicBezTo>
                  <a:cubicBezTo>
                    <a:pt x="1292" y="1180"/>
                    <a:pt x="1292" y="1180"/>
                    <a:pt x="1292" y="1180"/>
                  </a:cubicBezTo>
                  <a:cubicBezTo>
                    <a:pt x="1276" y="1200"/>
                    <a:pt x="1259" y="1220"/>
                    <a:pt x="1241" y="1238"/>
                  </a:cubicBezTo>
                  <a:cubicBezTo>
                    <a:pt x="1223" y="1256"/>
                    <a:pt x="1204" y="1273"/>
                    <a:pt x="1183" y="1289"/>
                  </a:cubicBezTo>
                  <a:cubicBezTo>
                    <a:pt x="1141" y="1234"/>
                    <a:pt x="1141" y="1234"/>
                    <a:pt x="1141" y="1234"/>
                  </a:cubicBezTo>
                  <a:cubicBezTo>
                    <a:pt x="1140" y="1235"/>
                    <a:pt x="1140" y="1235"/>
                    <a:pt x="1140" y="1235"/>
                  </a:cubicBezTo>
                  <a:cubicBezTo>
                    <a:pt x="1182" y="1289"/>
                    <a:pt x="1182" y="1289"/>
                    <a:pt x="1182" y="1289"/>
                  </a:cubicBezTo>
                  <a:cubicBezTo>
                    <a:pt x="1177" y="1293"/>
                    <a:pt x="1172" y="1297"/>
                    <a:pt x="1166" y="1301"/>
                  </a:cubicBezTo>
                  <a:cubicBezTo>
                    <a:pt x="1173" y="1310"/>
                    <a:pt x="1179" y="1318"/>
                    <a:pt x="1185" y="1327"/>
                  </a:cubicBezTo>
                  <a:cubicBezTo>
                    <a:pt x="1147" y="1354"/>
                    <a:pt x="1106" y="1377"/>
                    <a:pt x="1062" y="1396"/>
                  </a:cubicBezTo>
                  <a:cubicBezTo>
                    <a:pt x="1023" y="1302"/>
                    <a:pt x="1023" y="1302"/>
                    <a:pt x="1023" y="1302"/>
                  </a:cubicBezTo>
                  <a:cubicBezTo>
                    <a:pt x="1022" y="1303"/>
                    <a:pt x="1022" y="1303"/>
                    <a:pt x="1022" y="1303"/>
                  </a:cubicBezTo>
                  <a:cubicBezTo>
                    <a:pt x="1061" y="1396"/>
                    <a:pt x="1061" y="1396"/>
                    <a:pt x="1061" y="1396"/>
                  </a:cubicBezTo>
                  <a:cubicBezTo>
                    <a:pt x="1013" y="1416"/>
                    <a:pt x="962" y="1430"/>
                    <a:pt x="909" y="1437"/>
                  </a:cubicBezTo>
                  <a:cubicBezTo>
                    <a:pt x="908" y="1437"/>
                    <a:pt x="906" y="1438"/>
                    <a:pt x="904" y="1438"/>
                  </a:cubicBezTo>
                  <a:cubicBezTo>
                    <a:pt x="891" y="1338"/>
                    <a:pt x="891" y="1338"/>
                    <a:pt x="891" y="1338"/>
                  </a:cubicBezTo>
                  <a:cubicBezTo>
                    <a:pt x="890" y="1338"/>
                    <a:pt x="890" y="1338"/>
                    <a:pt x="890" y="1338"/>
                  </a:cubicBezTo>
                  <a:cubicBezTo>
                    <a:pt x="899" y="1406"/>
                    <a:pt x="899" y="1406"/>
                    <a:pt x="899" y="1406"/>
                  </a:cubicBezTo>
                  <a:cubicBezTo>
                    <a:pt x="898" y="1406"/>
                    <a:pt x="896" y="1406"/>
                    <a:pt x="896" y="1406"/>
                  </a:cubicBezTo>
                  <a:cubicBezTo>
                    <a:pt x="871" y="1409"/>
                    <a:pt x="846" y="1411"/>
                    <a:pt x="821" y="1411"/>
                  </a:cubicBezTo>
                  <a:cubicBezTo>
                    <a:pt x="796" y="1411"/>
                    <a:pt x="770" y="1409"/>
                    <a:pt x="746" y="1406"/>
                  </a:cubicBezTo>
                  <a:cubicBezTo>
                    <a:pt x="755" y="1338"/>
                    <a:pt x="755" y="1338"/>
                    <a:pt x="755" y="1338"/>
                  </a:cubicBezTo>
                  <a:cubicBezTo>
                    <a:pt x="753" y="1337"/>
                    <a:pt x="753" y="1337"/>
                    <a:pt x="753" y="1337"/>
                  </a:cubicBezTo>
                  <a:cubicBezTo>
                    <a:pt x="744" y="1405"/>
                    <a:pt x="744" y="1405"/>
                    <a:pt x="744" y="1405"/>
                  </a:cubicBezTo>
                  <a:cubicBezTo>
                    <a:pt x="693" y="1398"/>
                    <a:pt x="643" y="1385"/>
                    <a:pt x="596" y="1365"/>
                  </a:cubicBezTo>
                  <a:cubicBezTo>
                    <a:pt x="615" y="1320"/>
                    <a:pt x="615" y="1320"/>
                    <a:pt x="615" y="1320"/>
                  </a:cubicBezTo>
                  <a:cubicBezTo>
                    <a:pt x="614" y="1320"/>
                    <a:pt x="614" y="1320"/>
                    <a:pt x="614" y="1320"/>
                  </a:cubicBezTo>
                  <a:cubicBezTo>
                    <a:pt x="595" y="1365"/>
                    <a:pt x="595" y="1365"/>
                    <a:pt x="595" y="1365"/>
                  </a:cubicBezTo>
                  <a:cubicBezTo>
                    <a:pt x="547" y="1345"/>
                    <a:pt x="503" y="1319"/>
                    <a:pt x="463" y="1288"/>
                  </a:cubicBezTo>
                  <a:cubicBezTo>
                    <a:pt x="492" y="1250"/>
                    <a:pt x="492" y="1250"/>
                    <a:pt x="492" y="1250"/>
                  </a:cubicBezTo>
                  <a:cubicBezTo>
                    <a:pt x="491" y="1249"/>
                    <a:pt x="491" y="1249"/>
                    <a:pt x="491" y="1249"/>
                  </a:cubicBezTo>
                  <a:cubicBezTo>
                    <a:pt x="462" y="1287"/>
                    <a:pt x="462" y="1287"/>
                    <a:pt x="462" y="1287"/>
                  </a:cubicBezTo>
                  <a:cubicBezTo>
                    <a:pt x="442" y="1272"/>
                    <a:pt x="423" y="1255"/>
                    <a:pt x="406" y="1238"/>
                  </a:cubicBezTo>
                  <a:cubicBezTo>
                    <a:pt x="351" y="1183"/>
                    <a:pt x="307" y="1117"/>
                    <a:pt x="277" y="1045"/>
                  </a:cubicBezTo>
                  <a:cubicBezTo>
                    <a:pt x="351" y="1014"/>
                    <a:pt x="351" y="1014"/>
                    <a:pt x="351" y="1014"/>
                  </a:cubicBezTo>
                  <a:cubicBezTo>
                    <a:pt x="350" y="1013"/>
                    <a:pt x="350" y="1013"/>
                    <a:pt x="350" y="1013"/>
                  </a:cubicBezTo>
                  <a:cubicBezTo>
                    <a:pt x="277" y="1044"/>
                    <a:pt x="277" y="1044"/>
                    <a:pt x="277" y="1044"/>
                  </a:cubicBezTo>
                  <a:cubicBezTo>
                    <a:pt x="248" y="975"/>
                    <a:pt x="233" y="899"/>
                    <a:pt x="233" y="820"/>
                  </a:cubicBezTo>
                  <a:cubicBezTo>
                    <a:pt x="233" y="820"/>
                    <a:pt x="233" y="820"/>
                    <a:pt x="233" y="820"/>
                  </a:cubicBezTo>
                  <a:cubicBezTo>
                    <a:pt x="233" y="820"/>
                    <a:pt x="233" y="820"/>
                    <a:pt x="233" y="820"/>
                  </a:cubicBezTo>
                  <a:cubicBezTo>
                    <a:pt x="233" y="820"/>
                    <a:pt x="233" y="820"/>
                    <a:pt x="233" y="820"/>
                  </a:cubicBezTo>
                  <a:cubicBezTo>
                    <a:pt x="233" y="820"/>
                    <a:pt x="233" y="820"/>
                    <a:pt x="233" y="820"/>
                  </a:cubicBezTo>
                  <a:cubicBezTo>
                    <a:pt x="233" y="794"/>
                    <a:pt x="235" y="768"/>
                    <a:pt x="238" y="743"/>
                  </a:cubicBezTo>
                  <a:cubicBezTo>
                    <a:pt x="284" y="749"/>
                    <a:pt x="284" y="749"/>
                    <a:pt x="284" y="749"/>
                  </a:cubicBezTo>
                  <a:cubicBezTo>
                    <a:pt x="284" y="748"/>
                    <a:pt x="284" y="748"/>
                    <a:pt x="284" y="748"/>
                  </a:cubicBezTo>
                  <a:cubicBezTo>
                    <a:pt x="238" y="742"/>
                    <a:pt x="238" y="742"/>
                    <a:pt x="238" y="742"/>
                  </a:cubicBezTo>
                  <a:cubicBezTo>
                    <a:pt x="245" y="690"/>
                    <a:pt x="258" y="640"/>
                    <a:pt x="278" y="594"/>
                  </a:cubicBezTo>
                  <a:cubicBezTo>
                    <a:pt x="320" y="612"/>
                    <a:pt x="320" y="612"/>
                    <a:pt x="320" y="612"/>
                  </a:cubicBezTo>
                  <a:cubicBezTo>
                    <a:pt x="321" y="610"/>
                    <a:pt x="321" y="610"/>
                    <a:pt x="321" y="610"/>
                  </a:cubicBezTo>
                  <a:cubicBezTo>
                    <a:pt x="278" y="593"/>
                    <a:pt x="278" y="593"/>
                    <a:pt x="278" y="593"/>
                  </a:cubicBezTo>
                  <a:cubicBezTo>
                    <a:pt x="308" y="521"/>
                    <a:pt x="352" y="457"/>
                    <a:pt x="406" y="403"/>
                  </a:cubicBezTo>
                  <a:cubicBezTo>
                    <a:pt x="424" y="385"/>
                    <a:pt x="443" y="368"/>
                    <a:pt x="463" y="352"/>
                  </a:cubicBezTo>
                  <a:cubicBezTo>
                    <a:pt x="464" y="354"/>
                    <a:pt x="464" y="354"/>
                    <a:pt x="464" y="354"/>
                  </a:cubicBezTo>
                  <a:cubicBezTo>
                    <a:pt x="511" y="317"/>
                    <a:pt x="564" y="288"/>
                    <a:pt x="623" y="266"/>
                  </a:cubicBezTo>
                  <a:cubicBezTo>
                    <a:pt x="623" y="266"/>
                    <a:pt x="623" y="266"/>
                    <a:pt x="623" y="266"/>
                  </a:cubicBezTo>
                  <a:cubicBezTo>
                    <a:pt x="623" y="266"/>
                    <a:pt x="623" y="266"/>
                    <a:pt x="623" y="266"/>
                  </a:cubicBezTo>
                  <a:cubicBezTo>
                    <a:pt x="623" y="266"/>
                    <a:pt x="623" y="266"/>
                    <a:pt x="623" y="266"/>
                  </a:cubicBezTo>
                  <a:cubicBezTo>
                    <a:pt x="663" y="252"/>
                    <a:pt x="704" y="242"/>
                    <a:pt x="745" y="236"/>
                  </a:cubicBezTo>
                  <a:cubicBezTo>
                    <a:pt x="751" y="280"/>
                    <a:pt x="751" y="280"/>
                    <a:pt x="751" y="280"/>
                  </a:cubicBezTo>
                  <a:cubicBezTo>
                    <a:pt x="752" y="280"/>
                    <a:pt x="752" y="280"/>
                    <a:pt x="752" y="280"/>
                  </a:cubicBezTo>
                  <a:cubicBezTo>
                    <a:pt x="746" y="236"/>
                    <a:pt x="746" y="236"/>
                    <a:pt x="746" y="236"/>
                  </a:cubicBezTo>
                  <a:cubicBezTo>
                    <a:pt x="748" y="236"/>
                    <a:pt x="751" y="236"/>
                    <a:pt x="753" y="235"/>
                  </a:cubicBezTo>
                  <a:cubicBezTo>
                    <a:pt x="796" y="230"/>
                    <a:pt x="839" y="230"/>
                    <a:pt x="882" y="234"/>
                  </a:cubicBezTo>
                  <a:cubicBezTo>
                    <a:pt x="887" y="235"/>
                    <a:pt x="893" y="235"/>
                    <a:pt x="898" y="236"/>
                  </a:cubicBezTo>
                  <a:cubicBezTo>
                    <a:pt x="890" y="300"/>
                    <a:pt x="890" y="300"/>
                    <a:pt x="890" y="300"/>
                  </a:cubicBezTo>
                  <a:cubicBezTo>
                    <a:pt x="891" y="299"/>
                    <a:pt x="891" y="299"/>
                    <a:pt x="891" y="299"/>
                  </a:cubicBezTo>
                  <a:cubicBezTo>
                    <a:pt x="900" y="234"/>
                    <a:pt x="900" y="234"/>
                    <a:pt x="900" y="234"/>
                  </a:cubicBezTo>
                  <a:cubicBezTo>
                    <a:pt x="951" y="241"/>
                    <a:pt x="1001" y="254"/>
                    <a:pt x="1047" y="274"/>
                  </a:cubicBezTo>
                  <a:cubicBezTo>
                    <a:pt x="1022" y="334"/>
                    <a:pt x="1022" y="334"/>
                    <a:pt x="1022" y="334"/>
                  </a:cubicBezTo>
                  <a:cubicBezTo>
                    <a:pt x="1023" y="335"/>
                    <a:pt x="1023" y="335"/>
                    <a:pt x="1023" y="335"/>
                  </a:cubicBezTo>
                  <a:cubicBezTo>
                    <a:pt x="1048" y="274"/>
                    <a:pt x="1048" y="274"/>
                    <a:pt x="1048" y="274"/>
                  </a:cubicBezTo>
                  <a:cubicBezTo>
                    <a:pt x="1096" y="294"/>
                    <a:pt x="1140" y="319"/>
                    <a:pt x="1181" y="350"/>
                  </a:cubicBezTo>
                  <a:cubicBezTo>
                    <a:pt x="1140" y="403"/>
                    <a:pt x="1140" y="403"/>
                    <a:pt x="1140" y="403"/>
                  </a:cubicBezTo>
                  <a:cubicBezTo>
                    <a:pt x="1141" y="403"/>
                    <a:pt x="1141" y="403"/>
                    <a:pt x="1141" y="403"/>
                  </a:cubicBezTo>
                  <a:cubicBezTo>
                    <a:pt x="1182" y="351"/>
                    <a:pt x="1182" y="351"/>
                    <a:pt x="1182" y="351"/>
                  </a:cubicBezTo>
                  <a:cubicBezTo>
                    <a:pt x="1203" y="367"/>
                    <a:pt x="1222" y="384"/>
                    <a:pt x="1241" y="403"/>
                  </a:cubicBezTo>
                  <a:cubicBezTo>
                    <a:pt x="1261" y="423"/>
                    <a:pt x="1280" y="445"/>
                    <a:pt x="1298" y="468"/>
                  </a:cubicBezTo>
                  <a:cubicBezTo>
                    <a:pt x="1299" y="467"/>
                    <a:pt x="1299" y="467"/>
                    <a:pt x="1299" y="467"/>
                  </a:cubicBezTo>
                  <a:cubicBezTo>
                    <a:pt x="1282" y="444"/>
                    <a:pt x="1263" y="422"/>
                    <a:pt x="1242" y="401"/>
                  </a:cubicBezTo>
                  <a:cubicBezTo>
                    <a:pt x="1224" y="383"/>
                    <a:pt x="1204" y="365"/>
                    <a:pt x="1183" y="349"/>
                  </a:cubicBezTo>
                  <a:cubicBezTo>
                    <a:pt x="1189" y="341"/>
                    <a:pt x="1189" y="341"/>
                    <a:pt x="1189" y="341"/>
                  </a:cubicBezTo>
                  <a:cubicBezTo>
                    <a:pt x="1271" y="403"/>
                    <a:pt x="1337" y="486"/>
                    <a:pt x="1379" y="587"/>
                  </a:cubicBezTo>
                  <a:cubicBezTo>
                    <a:pt x="1323" y="610"/>
                    <a:pt x="1323" y="610"/>
                    <a:pt x="1323" y="610"/>
                  </a:cubicBezTo>
                  <a:cubicBezTo>
                    <a:pt x="1324" y="611"/>
                    <a:pt x="1324" y="611"/>
                    <a:pt x="1324" y="611"/>
                  </a:cubicBezTo>
                  <a:cubicBezTo>
                    <a:pt x="1380" y="588"/>
                    <a:pt x="1380" y="588"/>
                    <a:pt x="1380" y="588"/>
                  </a:cubicBezTo>
                  <a:cubicBezTo>
                    <a:pt x="1384" y="597"/>
                    <a:pt x="1387" y="606"/>
                    <a:pt x="1390" y="615"/>
                  </a:cubicBezTo>
                  <a:cubicBezTo>
                    <a:pt x="1390" y="615"/>
                    <a:pt x="1390" y="615"/>
                    <a:pt x="1390" y="615"/>
                  </a:cubicBezTo>
                  <a:cubicBezTo>
                    <a:pt x="1390" y="615"/>
                    <a:pt x="1390" y="615"/>
                    <a:pt x="1390" y="615"/>
                  </a:cubicBezTo>
                  <a:cubicBezTo>
                    <a:pt x="1390" y="615"/>
                    <a:pt x="1390" y="615"/>
                    <a:pt x="1390" y="615"/>
                  </a:cubicBezTo>
                  <a:cubicBezTo>
                    <a:pt x="1390" y="615"/>
                    <a:pt x="1390" y="615"/>
                    <a:pt x="1390" y="615"/>
                  </a:cubicBezTo>
                  <a:cubicBezTo>
                    <a:pt x="1405" y="656"/>
                    <a:pt x="1415" y="698"/>
                    <a:pt x="1421" y="739"/>
                  </a:cubicBezTo>
                  <a:cubicBezTo>
                    <a:pt x="1341" y="750"/>
                    <a:pt x="1341" y="750"/>
                    <a:pt x="1341" y="750"/>
                  </a:cubicBezTo>
                  <a:cubicBezTo>
                    <a:pt x="1341" y="751"/>
                    <a:pt x="1341" y="751"/>
                    <a:pt x="1341" y="751"/>
                  </a:cubicBezTo>
                  <a:cubicBezTo>
                    <a:pt x="1421" y="741"/>
                    <a:pt x="1421" y="741"/>
                    <a:pt x="1421" y="741"/>
                  </a:cubicBezTo>
                  <a:cubicBezTo>
                    <a:pt x="1435" y="847"/>
                    <a:pt x="1421" y="953"/>
                    <a:pt x="1381" y="1049"/>
                  </a:cubicBezTo>
                  <a:cubicBezTo>
                    <a:pt x="1370" y="1044"/>
                    <a:pt x="1370" y="1044"/>
                    <a:pt x="1370" y="1044"/>
                  </a:cubicBezTo>
                  <a:cubicBezTo>
                    <a:pt x="1370" y="1045"/>
                    <a:pt x="1370" y="1045"/>
                    <a:pt x="1370" y="1045"/>
                  </a:cubicBezTo>
                  <a:cubicBezTo>
                    <a:pt x="1324" y="1026"/>
                    <a:pt x="1324" y="1026"/>
                    <a:pt x="1324" y="1026"/>
                  </a:cubicBezTo>
                  <a:cubicBezTo>
                    <a:pt x="1323" y="1027"/>
                    <a:pt x="1323" y="1027"/>
                    <a:pt x="1323" y="1027"/>
                  </a:cubicBezTo>
                  <a:lnTo>
                    <a:pt x="1369" y="1046"/>
                  </a:lnTo>
                  <a:close/>
                  <a:moveTo>
                    <a:pt x="1294" y="1183"/>
                  </a:moveTo>
                  <a:cubicBezTo>
                    <a:pt x="1347" y="1224"/>
                    <a:pt x="1347" y="1224"/>
                    <a:pt x="1347" y="1224"/>
                  </a:cubicBezTo>
                  <a:cubicBezTo>
                    <a:pt x="1333" y="1242"/>
                    <a:pt x="1317" y="1260"/>
                    <a:pt x="1301" y="1277"/>
                  </a:cubicBezTo>
                  <a:cubicBezTo>
                    <a:pt x="1285" y="1294"/>
                    <a:pt x="1267" y="1311"/>
                    <a:pt x="1249" y="1326"/>
                  </a:cubicBezTo>
                  <a:cubicBezTo>
                    <a:pt x="1241" y="1332"/>
                    <a:pt x="1234" y="1338"/>
                    <a:pt x="1226" y="1344"/>
                  </a:cubicBezTo>
                  <a:cubicBezTo>
                    <a:pt x="1186" y="1292"/>
                    <a:pt x="1186" y="1292"/>
                    <a:pt x="1186" y="1292"/>
                  </a:cubicBezTo>
                  <a:cubicBezTo>
                    <a:pt x="1206" y="1276"/>
                    <a:pt x="1226" y="1259"/>
                    <a:pt x="1244" y="1241"/>
                  </a:cubicBezTo>
                  <a:cubicBezTo>
                    <a:pt x="1262" y="1222"/>
                    <a:pt x="1279" y="1203"/>
                    <a:pt x="1294" y="1183"/>
                  </a:cubicBezTo>
                  <a:close/>
                  <a:moveTo>
                    <a:pt x="592" y="1379"/>
                  </a:moveTo>
                  <a:cubicBezTo>
                    <a:pt x="592" y="1379"/>
                    <a:pt x="592" y="1379"/>
                    <a:pt x="592" y="1379"/>
                  </a:cubicBezTo>
                  <a:cubicBezTo>
                    <a:pt x="589" y="1377"/>
                    <a:pt x="589" y="1377"/>
                    <a:pt x="589" y="1377"/>
                  </a:cubicBezTo>
                  <a:cubicBezTo>
                    <a:pt x="567" y="1431"/>
                    <a:pt x="567" y="1431"/>
                    <a:pt x="567" y="1431"/>
                  </a:cubicBezTo>
                  <a:cubicBezTo>
                    <a:pt x="552" y="1424"/>
                    <a:pt x="538" y="1418"/>
                    <a:pt x="524" y="1411"/>
                  </a:cubicBezTo>
                  <a:cubicBezTo>
                    <a:pt x="509" y="1403"/>
                    <a:pt x="495" y="1396"/>
                    <a:pt x="481" y="1387"/>
                  </a:cubicBezTo>
                  <a:cubicBezTo>
                    <a:pt x="409" y="1344"/>
                    <a:pt x="347" y="1288"/>
                    <a:pt x="296" y="1222"/>
                  </a:cubicBezTo>
                  <a:cubicBezTo>
                    <a:pt x="295" y="1221"/>
                    <a:pt x="295" y="1221"/>
                    <a:pt x="295" y="1221"/>
                  </a:cubicBezTo>
                  <a:cubicBezTo>
                    <a:pt x="294" y="1222"/>
                    <a:pt x="294" y="1222"/>
                    <a:pt x="294" y="1222"/>
                  </a:cubicBezTo>
                  <a:cubicBezTo>
                    <a:pt x="273" y="1238"/>
                    <a:pt x="273" y="1238"/>
                    <a:pt x="273" y="1238"/>
                  </a:cubicBezTo>
                  <a:cubicBezTo>
                    <a:pt x="268" y="1232"/>
                    <a:pt x="263" y="1225"/>
                    <a:pt x="258" y="1219"/>
                  </a:cubicBezTo>
                  <a:cubicBezTo>
                    <a:pt x="254" y="1212"/>
                    <a:pt x="249" y="1205"/>
                    <a:pt x="244" y="1198"/>
                  </a:cubicBezTo>
                  <a:cubicBezTo>
                    <a:pt x="221" y="1162"/>
                    <a:pt x="200" y="1124"/>
                    <a:pt x="184" y="1084"/>
                  </a:cubicBezTo>
                  <a:cubicBezTo>
                    <a:pt x="208" y="1074"/>
                    <a:pt x="208" y="1074"/>
                    <a:pt x="208" y="1074"/>
                  </a:cubicBezTo>
                  <a:cubicBezTo>
                    <a:pt x="210" y="1074"/>
                    <a:pt x="210" y="1074"/>
                    <a:pt x="210" y="1074"/>
                  </a:cubicBezTo>
                  <a:cubicBezTo>
                    <a:pt x="209" y="1072"/>
                    <a:pt x="209" y="1072"/>
                    <a:pt x="209" y="1072"/>
                  </a:cubicBezTo>
                  <a:cubicBezTo>
                    <a:pt x="209" y="1072"/>
                    <a:pt x="209" y="1072"/>
                    <a:pt x="209" y="1072"/>
                  </a:cubicBezTo>
                  <a:cubicBezTo>
                    <a:pt x="205" y="1061"/>
                    <a:pt x="201" y="1050"/>
                    <a:pt x="197" y="1039"/>
                  </a:cubicBezTo>
                  <a:cubicBezTo>
                    <a:pt x="197" y="1039"/>
                    <a:pt x="197" y="1039"/>
                    <a:pt x="197" y="1039"/>
                  </a:cubicBezTo>
                  <a:cubicBezTo>
                    <a:pt x="193" y="1028"/>
                    <a:pt x="189" y="1016"/>
                    <a:pt x="186" y="1005"/>
                  </a:cubicBezTo>
                  <a:cubicBezTo>
                    <a:pt x="176" y="973"/>
                    <a:pt x="169" y="940"/>
                    <a:pt x="165" y="906"/>
                  </a:cubicBezTo>
                  <a:cubicBezTo>
                    <a:pt x="190" y="902"/>
                    <a:pt x="190" y="902"/>
                    <a:pt x="190" y="902"/>
                  </a:cubicBezTo>
                  <a:cubicBezTo>
                    <a:pt x="206" y="1026"/>
                    <a:pt x="257" y="1138"/>
                    <a:pt x="334" y="1229"/>
                  </a:cubicBezTo>
                  <a:cubicBezTo>
                    <a:pt x="349" y="1246"/>
                    <a:pt x="364" y="1263"/>
                    <a:pt x="381" y="1279"/>
                  </a:cubicBezTo>
                  <a:cubicBezTo>
                    <a:pt x="398" y="1295"/>
                    <a:pt x="415" y="1310"/>
                    <a:pt x="434" y="1324"/>
                  </a:cubicBezTo>
                  <a:cubicBezTo>
                    <a:pt x="434" y="1324"/>
                    <a:pt x="434" y="1324"/>
                    <a:pt x="434" y="1324"/>
                  </a:cubicBezTo>
                  <a:cubicBezTo>
                    <a:pt x="434" y="1325"/>
                    <a:pt x="434" y="1325"/>
                    <a:pt x="434" y="1325"/>
                  </a:cubicBezTo>
                  <a:cubicBezTo>
                    <a:pt x="435" y="1324"/>
                    <a:pt x="435" y="1324"/>
                    <a:pt x="435" y="1324"/>
                  </a:cubicBezTo>
                  <a:cubicBezTo>
                    <a:pt x="462" y="1289"/>
                    <a:pt x="462" y="1289"/>
                    <a:pt x="462" y="1289"/>
                  </a:cubicBezTo>
                  <a:cubicBezTo>
                    <a:pt x="561" y="1366"/>
                    <a:pt x="686" y="1412"/>
                    <a:pt x="821" y="1412"/>
                  </a:cubicBezTo>
                  <a:cubicBezTo>
                    <a:pt x="846" y="1413"/>
                    <a:pt x="872" y="1411"/>
                    <a:pt x="897" y="1408"/>
                  </a:cubicBezTo>
                  <a:cubicBezTo>
                    <a:pt x="897" y="1408"/>
                    <a:pt x="898" y="1408"/>
                    <a:pt x="899" y="1408"/>
                  </a:cubicBezTo>
                  <a:cubicBezTo>
                    <a:pt x="903" y="1438"/>
                    <a:pt x="903" y="1438"/>
                    <a:pt x="903" y="1438"/>
                  </a:cubicBezTo>
                  <a:cubicBezTo>
                    <a:pt x="852" y="1444"/>
                    <a:pt x="799" y="1445"/>
                    <a:pt x="748" y="1438"/>
                  </a:cubicBezTo>
                  <a:cubicBezTo>
                    <a:pt x="750" y="1420"/>
                    <a:pt x="750" y="1420"/>
                    <a:pt x="750" y="1420"/>
                  </a:cubicBezTo>
                  <a:cubicBezTo>
                    <a:pt x="696" y="1414"/>
                    <a:pt x="642" y="1400"/>
                    <a:pt x="592" y="1379"/>
                  </a:cubicBezTo>
                  <a:close/>
                  <a:moveTo>
                    <a:pt x="159" y="819"/>
                  </a:moveTo>
                  <a:cubicBezTo>
                    <a:pt x="159" y="790"/>
                    <a:pt x="161" y="761"/>
                    <a:pt x="165" y="733"/>
                  </a:cubicBezTo>
                  <a:cubicBezTo>
                    <a:pt x="190" y="737"/>
                    <a:pt x="190" y="737"/>
                    <a:pt x="190" y="737"/>
                  </a:cubicBezTo>
                  <a:cubicBezTo>
                    <a:pt x="191" y="737"/>
                    <a:pt x="191" y="737"/>
                    <a:pt x="191" y="737"/>
                  </a:cubicBezTo>
                  <a:cubicBezTo>
                    <a:pt x="191" y="736"/>
                    <a:pt x="191" y="736"/>
                    <a:pt x="191" y="736"/>
                  </a:cubicBezTo>
                  <a:cubicBezTo>
                    <a:pt x="191" y="736"/>
                    <a:pt x="191" y="736"/>
                    <a:pt x="191" y="736"/>
                  </a:cubicBezTo>
                  <a:cubicBezTo>
                    <a:pt x="191" y="736"/>
                    <a:pt x="191" y="736"/>
                    <a:pt x="191" y="736"/>
                  </a:cubicBezTo>
                  <a:cubicBezTo>
                    <a:pt x="197" y="696"/>
                    <a:pt x="205" y="657"/>
                    <a:pt x="218" y="620"/>
                  </a:cubicBezTo>
                  <a:cubicBezTo>
                    <a:pt x="223" y="605"/>
                    <a:pt x="228" y="591"/>
                    <a:pt x="234" y="576"/>
                  </a:cubicBezTo>
                  <a:cubicBezTo>
                    <a:pt x="264" y="589"/>
                    <a:pt x="264" y="589"/>
                    <a:pt x="264" y="589"/>
                  </a:cubicBezTo>
                  <a:cubicBezTo>
                    <a:pt x="209" y="723"/>
                    <a:pt x="201" y="878"/>
                    <a:pt x="254" y="1026"/>
                  </a:cubicBezTo>
                  <a:cubicBezTo>
                    <a:pt x="254" y="1026"/>
                    <a:pt x="254" y="1026"/>
                    <a:pt x="254" y="1026"/>
                  </a:cubicBezTo>
                  <a:cubicBezTo>
                    <a:pt x="254" y="1026"/>
                    <a:pt x="254" y="1026"/>
                    <a:pt x="254" y="1026"/>
                  </a:cubicBezTo>
                  <a:cubicBezTo>
                    <a:pt x="254" y="1026"/>
                    <a:pt x="254" y="1026"/>
                    <a:pt x="254" y="1026"/>
                  </a:cubicBezTo>
                  <a:cubicBezTo>
                    <a:pt x="257" y="1034"/>
                    <a:pt x="260" y="1041"/>
                    <a:pt x="263" y="1049"/>
                  </a:cubicBezTo>
                  <a:cubicBezTo>
                    <a:pt x="234" y="1061"/>
                    <a:pt x="234" y="1061"/>
                    <a:pt x="234" y="1061"/>
                  </a:cubicBezTo>
                  <a:cubicBezTo>
                    <a:pt x="213" y="1011"/>
                    <a:pt x="199" y="957"/>
                    <a:pt x="191" y="901"/>
                  </a:cubicBezTo>
                  <a:cubicBezTo>
                    <a:pt x="191" y="900"/>
                    <a:pt x="191" y="900"/>
                    <a:pt x="191" y="900"/>
                  </a:cubicBezTo>
                  <a:cubicBezTo>
                    <a:pt x="190" y="901"/>
                    <a:pt x="190" y="901"/>
                    <a:pt x="190" y="901"/>
                  </a:cubicBezTo>
                  <a:cubicBezTo>
                    <a:pt x="165" y="904"/>
                    <a:pt x="165" y="904"/>
                    <a:pt x="165" y="904"/>
                  </a:cubicBezTo>
                  <a:cubicBezTo>
                    <a:pt x="161" y="876"/>
                    <a:pt x="159" y="848"/>
                    <a:pt x="159" y="819"/>
                  </a:cubicBezTo>
                  <a:cubicBezTo>
                    <a:pt x="159" y="819"/>
                    <a:pt x="159" y="819"/>
                    <a:pt x="159" y="819"/>
                  </a:cubicBezTo>
                  <a:cubicBezTo>
                    <a:pt x="159" y="819"/>
                    <a:pt x="159" y="819"/>
                    <a:pt x="159" y="819"/>
                  </a:cubicBezTo>
                  <a:close/>
                  <a:moveTo>
                    <a:pt x="165" y="732"/>
                  </a:moveTo>
                  <a:cubicBezTo>
                    <a:pt x="167" y="717"/>
                    <a:pt x="169" y="702"/>
                    <a:pt x="172" y="687"/>
                  </a:cubicBezTo>
                  <a:cubicBezTo>
                    <a:pt x="174" y="680"/>
                    <a:pt x="175" y="673"/>
                    <a:pt x="177" y="666"/>
                  </a:cubicBezTo>
                  <a:cubicBezTo>
                    <a:pt x="185" y="632"/>
                    <a:pt x="196" y="598"/>
                    <a:pt x="209" y="566"/>
                  </a:cubicBezTo>
                  <a:cubicBezTo>
                    <a:pt x="232" y="576"/>
                    <a:pt x="232" y="576"/>
                    <a:pt x="232" y="576"/>
                  </a:cubicBezTo>
                  <a:cubicBezTo>
                    <a:pt x="226" y="590"/>
                    <a:pt x="221" y="605"/>
                    <a:pt x="216" y="620"/>
                  </a:cubicBezTo>
                  <a:cubicBezTo>
                    <a:pt x="204" y="657"/>
                    <a:pt x="195" y="695"/>
                    <a:pt x="190" y="735"/>
                  </a:cubicBezTo>
                  <a:lnTo>
                    <a:pt x="165" y="732"/>
                  </a:lnTo>
                  <a:close/>
                  <a:moveTo>
                    <a:pt x="1392" y="615"/>
                  </a:moveTo>
                  <a:cubicBezTo>
                    <a:pt x="1392" y="615"/>
                    <a:pt x="1392" y="615"/>
                    <a:pt x="1392" y="615"/>
                  </a:cubicBezTo>
                  <a:cubicBezTo>
                    <a:pt x="1389" y="605"/>
                    <a:pt x="1385" y="596"/>
                    <a:pt x="1382" y="587"/>
                  </a:cubicBezTo>
                  <a:cubicBezTo>
                    <a:pt x="1398" y="580"/>
                    <a:pt x="1398" y="580"/>
                    <a:pt x="1398" y="580"/>
                  </a:cubicBezTo>
                  <a:cubicBezTo>
                    <a:pt x="1419" y="630"/>
                    <a:pt x="1433" y="682"/>
                    <a:pt x="1441" y="737"/>
                  </a:cubicBezTo>
                  <a:cubicBezTo>
                    <a:pt x="1423" y="739"/>
                    <a:pt x="1423" y="739"/>
                    <a:pt x="1423" y="739"/>
                  </a:cubicBezTo>
                  <a:cubicBezTo>
                    <a:pt x="1417" y="697"/>
                    <a:pt x="1407" y="656"/>
                    <a:pt x="1392" y="615"/>
                  </a:cubicBezTo>
                  <a:cubicBezTo>
                    <a:pt x="1392" y="615"/>
                    <a:pt x="1392" y="615"/>
                    <a:pt x="1392" y="615"/>
                  </a:cubicBezTo>
                  <a:close/>
                  <a:moveTo>
                    <a:pt x="1410" y="576"/>
                  </a:moveTo>
                  <a:cubicBezTo>
                    <a:pt x="1435" y="565"/>
                    <a:pt x="1435" y="565"/>
                    <a:pt x="1435" y="565"/>
                  </a:cubicBezTo>
                  <a:cubicBezTo>
                    <a:pt x="1457" y="618"/>
                    <a:pt x="1472" y="673"/>
                    <a:pt x="1480" y="732"/>
                  </a:cubicBezTo>
                  <a:cubicBezTo>
                    <a:pt x="1453" y="735"/>
                    <a:pt x="1453" y="735"/>
                    <a:pt x="1453" y="735"/>
                  </a:cubicBezTo>
                  <a:cubicBezTo>
                    <a:pt x="1446" y="679"/>
                    <a:pt x="1431" y="626"/>
                    <a:pt x="1410" y="576"/>
                  </a:cubicBezTo>
                  <a:close/>
                  <a:moveTo>
                    <a:pt x="1381" y="586"/>
                  </a:moveTo>
                  <a:cubicBezTo>
                    <a:pt x="1360" y="537"/>
                    <a:pt x="1334" y="492"/>
                    <a:pt x="1303" y="451"/>
                  </a:cubicBezTo>
                  <a:cubicBezTo>
                    <a:pt x="1349" y="416"/>
                    <a:pt x="1349" y="416"/>
                    <a:pt x="1349" y="416"/>
                  </a:cubicBezTo>
                  <a:cubicBezTo>
                    <a:pt x="1383" y="461"/>
                    <a:pt x="1412" y="511"/>
                    <a:pt x="1435" y="564"/>
                  </a:cubicBezTo>
                  <a:lnTo>
                    <a:pt x="1381" y="586"/>
                  </a:lnTo>
                  <a:close/>
                  <a:moveTo>
                    <a:pt x="1302" y="450"/>
                  </a:moveTo>
                  <a:cubicBezTo>
                    <a:pt x="1269" y="408"/>
                    <a:pt x="1232" y="371"/>
                    <a:pt x="1190" y="339"/>
                  </a:cubicBezTo>
                  <a:cubicBezTo>
                    <a:pt x="1226" y="293"/>
                    <a:pt x="1226" y="293"/>
                    <a:pt x="1226" y="293"/>
                  </a:cubicBezTo>
                  <a:cubicBezTo>
                    <a:pt x="1237" y="301"/>
                    <a:pt x="1248" y="310"/>
                    <a:pt x="1259" y="320"/>
                  </a:cubicBezTo>
                  <a:cubicBezTo>
                    <a:pt x="1292" y="348"/>
                    <a:pt x="1321" y="380"/>
                    <a:pt x="1348" y="415"/>
                  </a:cubicBezTo>
                  <a:lnTo>
                    <a:pt x="1302" y="450"/>
                  </a:lnTo>
                  <a:close/>
                  <a:moveTo>
                    <a:pt x="1189" y="339"/>
                  </a:moveTo>
                  <a:cubicBezTo>
                    <a:pt x="1155" y="313"/>
                    <a:pt x="1119" y="291"/>
                    <a:pt x="1080" y="273"/>
                  </a:cubicBezTo>
                  <a:cubicBezTo>
                    <a:pt x="1072" y="269"/>
                    <a:pt x="1063" y="265"/>
                    <a:pt x="1054" y="261"/>
                  </a:cubicBezTo>
                  <a:cubicBezTo>
                    <a:pt x="1077" y="206"/>
                    <a:pt x="1077" y="206"/>
                    <a:pt x="1077" y="206"/>
                  </a:cubicBezTo>
                  <a:cubicBezTo>
                    <a:pt x="1110" y="220"/>
                    <a:pt x="1142" y="237"/>
                    <a:pt x="1172" y="256"/>
                  </a:cubicBezTo>
                  <a:cubicBezTo>
                    <a:pt x="1191" y="267"/>
                    <a:pt x="1208" y="279"/>
                    <a:pt x="1225" y="292"/>
                  </a:cubicBezTo>
                  <a:lnTo>
                    <a:pt x="1189" y="339"/>
                  </a:lnTo>
                  <a:close/>
                  <a:moveTo>
                    <a:pt x="1188" y="340"/>
                  </a:moveTo>
                  <a:cubicBezTo>
                    <a:pt x="1182" y="349"/>
                    <a:pt x="1182" y="349"/>
                    <a:pt x="1182" y="349"/>
                  </a:cubicBezTo>
                  <a:cubicBezTo>
                    <a:pt x="1141" y="318"/>
                    <a:pt x="1097" y="292"/>
                    <a:pt x="1049" y="272"/>
                  </a:cubicBezTo>
                  <a:cubicBezTo>
                    <a:pt x="1053" y="263"/>
                    <a:pt x="1053" y="263"/>
                    <a:pt x="1053" y="263"/>
                  </a:cubicBezTo>
                  <a:cubicBezTo>
                    <a:pt x="1062" y="266"/>
                    <a:pt x="1071" y="270"/>
                    <a:pt x="1079" y="274"/>
                  </a:cubicBezTo>
                  <a:cubicBezTo>
                    <a:pt x="1118" y="292"/>
                    <a:pt x="1154" y="314"/>
                    <a:pt x="1188" y="340"/>
                  </a:cubicBezTo>
                  <a:close/>
                  <a:moveTo>
                    <a:pt x="1047" y="272"/>
                  </a:moveTo>
                  <a:cubicBezTo>
                    <a:pt x="1001" y="253"/>
                    <a:pt x="951" y="239"/>
                    <a:pt x="900" y="233"/>
                  </a:cubicBezTo>
                  <a:cubicBezTo>
                    <a:pt x="913" y="133"/>
                    <a:pt x="913" y="133"/>
                    <a:pt x="913" y="133"/>
                  </a:cubicBezTo>
                  <a:cubicBezTo>
                    <a:pt x="928" y="135"/>
                    <a:pt x="944" y="138"/>
                    <a:pt x="959" y="141"/>
                  </a:cubicBezTo>
                  <a:cubicBezTo>
                    <a:pt x="966" y="142"/>
                    <a:pt x="973" y="144"/>
                    <a:pt x="981" y="146"/>
                  </a:cubicBezTo>
                  <a:cubicBezTo>
                    <a:pt x="1017" y="154"/>
                    <a:pt x="1052" y="165"/>
                    <a:pt x="1086" y="179"/>
                  </a:cubicBezTo>
                  <a:lnTo>
                    <a:pt x="1047" y="272"/>
                  </a:lnTo>
                  <a:close/>
                  <a:moveTo>
                    <a:pt x="899" y="229"/>
                  </a:moveTo>
                  <a:cubicBezTo>
                    <a:pt x="894" y="228"/>
                    <a:pt x="888" y="227"/>
                    <a:pt x="883" y="227"/>
                  </a:cubicBezTo>
                  <a:cubicBezTo>
                    <a:pt x="840" y="222"/>
                    <a:pt x="796" y="223"/>
                    <a:pt x="752" y="228"/>
                  </a:cubicBezTo>
                  <a:cubicBezTo>
                    <a:pt x="750" y="228"/>
                    <a:pt x="748" y="229"/>
                    <a:pt x="746" y="229"/>
                  </a:cubicBezTo>
                  <a:cubicBezTo>
                    <a:pt x="740" y="187"/>
                    <a:pt x="740" y="187"/>
                    <a:pt x="740" y="187"/>
                  </a:cubicBezTo>
                  <a:cubicBezTo>
                    <a:pt x="740" y="186"/>
                    <a:pt x="740" y="186"/>
                    <a:pt x="740" y="186"/>
                  </a:cubicBezTo>
                  <a:cubicBezTo>
                    <a:pt x="739" y="186"/>
                    <a:pt x="739" y="186"/>
                    <a:pt x="739" y="186"/>
                  </a:cubicBezTo>
                  <a:cubicBezTo>
                    <a:pt x="683" y="193"/>
                    <a:pt x="629" y="208"/>
                    <a:pt x="578" y="229"/>
                  </a:cubicBezTo>
                  <a:cubicBezTo>
                    <a:pt x="558" y="180"/>
                    <a:pt x="558" y="180"/>
                    <a:pt x="558" y="180"/>
                  </a:cubicBezTo>
                  <a:cubicBezTo>
                    <a:pt x="639" y="146"/>
                    <a:pt x="729" y="127"/>
                    <a:pt x="822" y="127"/>
                  </a:cubicBezTo>
                  <a:cubicBezTo>
                    <a:pt x="822" y="127"/>
                    <a:pt x="822" y="127"/>
                    <a:pt x="822" y="127"/>
                  </a:cubicBezTo>
                  <a:cubicBezTo>
                    <a:pt x="822" y="127"/>
                    <a:pt x="822" y="127"/>
                    <a:pt x="822" y="127"/>
                  </a:cubicBezTo>
                  <a:cubicBezTo>
                    <a:pt x="852" y="127"/>
                    <a:pt x="882" y="129"/>
                    <a:pt x="912" y="133"/>
                  </a:cubicBezTo>
                  <a:lnTo>
                    <a:pt x="899" y="229"/>
                  </a:lnTo>
                  <a:close/>
                  <a:moveTo>
                    <a:pt x="462" y="351"/>
                  </a:moveTo>
                  <a:cubicBezTo>
                    <a:pt x="442" y="366"/>
                    <a:pt x="422" y="383"/>
                    <a:pt x="404" y="401"/>
                  </a:cubicBezTo>
                  <a:cubicBezTo>
                    <a:pt x="386" y="419"/>
                    <a:pt x="370" y="439"/>
                    <a:pt x="354" y="459"/>
                  </a:cubicBezTo>
                  <a:cubicBezTo>
                    <a:pt x="318" y="431"/>
                    <a:pt x="318" y="431"/>
                    <a:pt x="318" y="431"/>
                  </a:cubicBezTo>
                  <a:cubicBezTo>
                    <a:pt x="385" y="344"/>
                    <a:pt x="475" y="274"/>
                    <a:pt x="578" y="231"/>
                  </a:cubicBezTo>
                  <a:cubicBezTo>
                    <a:pt x="594" y="270"/>
                    <a:pt x="594" y="270"/>
                    <a:pt x="594" y="270"/>
                  </a:cubicBezTo>
                  <a:cubicBezTo>
                    <a:pt x="545" y="290"/>
                    <a:pt x="500" y="317"/>
                    <a:pt x="459" y="348"/>
                  </a:cubicBezTo>
                  <a:lnTo>
                    <a:pt x="462" y="351"/>
                  </a:lnTo>
                  <a:close/>
                  <a:moveTo>
                    <a:pt x="579" y="231"/>
                  </a:moveTo>
                  <a:cubicBezTo>
                    <a:pt x="629" y="210"/>
                    <a:pt x="683" y="195"/>
                    <a:pt x="738" y="188"/>
                  </a:cubicBezTo>
                  <a:cubicBezTo>
                    <a:pt x="744" y="229"/>
                    <a:pt x="744" y="229"/>
                    <a:pt x="744" y="229"/>
                  </a:cubicBezTo>
                  <a:cubicBezTo>
                    <a:pt x="703" y="235"/>
                    <a:pt x="662" y="245"/>
                    <a:pt x="621" y="259"/>
                  </a:cubicBezTo>
                  <a:cubicBezTo>
                    <a:pt x="621" y="259"/>
                    <a:pt x="621" y="259"/>
                    <a:pt x="621" y="259"/>
                  </a:cubicBezTo>
                  <a:cubicBezTo>
                    <a:pt x="621" y="259"/>
                    <a:pt x="621" y="259"/>
                    <a:pt x="621" y="259"/>
                  </a:cubicBezTo>
                  <a:cubicBezTo>
                    <a:pt x="621" y="259"/>
                    <a:pt x="621" y="259"/>
                    <a:pt x="621" y="259"/>
                  </a:cubicBezTo>
                  <a:cubicBezTo>
                    <a:pt x="612" y="263"/>
                    <a:pt x="604" y="266"/>
                    <a:pt x="595" y="269"/>
                  </a:cubicBezTo>
                  <a:lnTo>
                    <a:pt x="579" y="231"/>
                  </a:lnTo>
                  <a:close/>
                  <a:moveTo>
                    <a:pt x="577" y="230"/>
                  </a:moveTo>
                  <a:cubicBezTo>
                    <a:pt x="526" y="251"/>
                    <a:pt x="478" y="279"/>
                    <a:pt x="434" y="312"/>
                  </a:cubicBezTo>
                  <a:cubicBezTo>
                    <a:pt x="402" y="270"/>
                    <a:pt x="402" y="270"/>
                    <a:pt x="402" y="270"/>
                  </a:cubicBezTo>
                  <a:cubicBezTo>
                    <a:pt x="449" y="234"/>
                    <a:pt x="501" y="203"/>
                    <a:pt x="557" y="180"/>
                  </a:cubicBezTo>
                  <a:lnTo>
                    <a:pt x="577" y="230"/>
                  </a:lnTo>
                  <a:close/>
                  <a:moveTo>
                    <a:pt x="433" y="313"/>
                  </a:moveTo>
                  <a:cubicBezTo>
                    <a:pt x="390" y="347"/>
                    <a:pt x="350" y="386"/>
                    <a:pt x="316" y="430"/>
                  </a:cubicBezTo>
                  <a:cubicBezTo>
                    <a:pt x="274" y="398"/>
                    <a:pt x="274" y="398"/>
                    <a:pt x="274" y="398"/>
                  </a:cubicBezTo>
                  <a:cubicBezTo>
                    <a:pt x="283" y="386"/>
                    <a:pt x="292" y="374"/>
                    <a:pt x="302" y="363"/>
                  </a:cubicBezTo>
                  <a:cubicBezTo>
                    <a:pt x="332" y="329"/>
                    <a:pt x="365" y="298"/>
                    <a:pt x="401" y="270"/>
                  </a:cubicBezTo>
                  <a:lnTo>
                    <a:pt x="433" y="313"/>
                  </a:lnTo>
                  <a:close/>
                  <a:moveTo>
                    <a:pt x="317" y="432"/>
                  </a:moveTo>
                  <a:cubicBezTo>
                    <a:pt x="353" y="460"/>
                    <a:pt x="353" y="460"/>
                    <a:pt x="353" y="460"/>
                  </a:cubicBezTo>
                  <a:cubicBezTo>
                    <a:pt x="322" y="500"/>
                    <a:pt x="297" y="544"/>
                    <a:pt x="277" y="591"/>
                  </a:cubicBezTo>
                  <a:cubicBezTo>
                    <a:pt x="235" y="573"/>
                    <a:pt x="235" y="573"/>
                    <a:pt x="235" y="573"/>
                  </a:cubicBezTo>
                  <a:cubicBezTo>
                    <a:pt x="244" y="553"/>
                    <a:pt x="253" y="533"/>
                    <a:pt x="264" y="513"/>
                  </a:cubicBezTo>
                  <a:cubicBezTo>
                    <a:pt x="280" y="485"/>
                    <a:pt x="297" y="458"/>
                    <a:pt x="317" y="432"/>
                  </a:cubicBezTo>
                  <a:close/>
                  <a:moveTo>
                    <a:pt x="231" y="820"/>
                  </a:moveTo>
                  <a:cubicBezTo>
                    <a:pt x="231" y="899"/>
                    <a:pt x="247" y="975"/>
                    <a:pt x="275" y="1044"/>
                  </a:cubicBezTo>
                  <a:cubicBezTo>
                    <a:pt x="265" y="1048"/>
                    <a:pt x="265" y="1048"/>
                    <a:pt x="265" y="1048"/>
                  </a:cubicBezTo>
                  <a:cubicBezTo>
                    <a:pt x="262" y="1041"/>
                    <a:pt x="259" y="1033"/>
                    <a:pt x="256" y="1025"/>
                  </a:cubicBezTo>
                  <a:cubicBezTo>
                    <a:pt x="256" y="1025"/>
                    <a:pt x="256" y="1025"/>
                    <a:pt x="256" y="1025"/>
                  </a:cubicBezTo>
                  <a:cubicBezTo>
                    <a:pt x="256" y="1025"/>
                    <a:pt x="256" y="1025"/>
                    <a:pt x="256" y="1025"/>
                  </a:cubicBezTo>
                  <a:cubicBezTo>
                    <a:pt x="256" y="1025"/>
                    <a:pt x="256" y="1025"/>
                    <a:pt x="256" y="1025"/>
                  </a:cubicBezTo>
                  <a:cubicBezTo>
                    <a:pt x="256" y="1025"/>
                    <a:pt x="256" y="1025"/>
                    <a:pt x="256" y="1025"/>
                  </a:cubicBezTo>
                  <a:cubicBezTo>
                    <a:pt x="222" y="931"/>
                    <a:pt x="213" y="834"/>
                    <a:pt x="225" y="741"/>
                  </a:cubicBezTo>
                  <a:cubicBezTo>
                    <a:pt x="236" y="743"/>
                    <a:pt x="236" y="743"/>
                    <a:pt x="236" y="743"/>
                  </a:cubicBezTo>
                  <a:cubicBezTo>
                    <a:pt x="233" y="768"/>
                    <a:pt x="231" y="794"/>
                    <a:pt x="231" y="820"/>
                  </a:cubicBezTo>
                  <a:cubicBezTo>
                    <a:pt x="231" y="820"/>
                    <a:pt x="231" y="820"/>
                    <a:pt x="231" y="820"/>
                  </a:cubicBezTo>
                  <a:cubicBezTo>
                    <a:pt x="231" y="820"/>
                    <a:pt x="231" y="820"/>
                    <a:pt x="231" y="820"/>
                  </a:cubicBezTo>
                  <a:cubicBezTo>
                    <a:pt x="231" y="820"/>
                    <a:pt x="231" y="820"/>
                    <a:pt x="231" y="820"/>
                  </a:cubicBezTo>
                  <a:close/>
                  <a:moveTo>
                    <a:pt x="317" y="1205"/>
                  </a:moveTo>
                  <a:cubicBezTo>
                    <a:pt x="284" y="1162"/>
                    <a:pt x="256" y="1114"/>
                    <a:pt x="234" y="1062"/>
                  </a:cubicBezTo>
                  <a:cubicBezTo>
                    <a:pt x="275" y="1045"/>
                    <a:pt x="275" y="1045"/>
                    <a:pt x="275" y="1045"/>
                  </a:cubicBezTo>
                  <a:cubicBezTo>
                    <a:pt x="295" y="1093"/>
                    <a:pt x="321" y="1138"/>
                    <a:pt x="352" y="1178"/>
                  </a:cubicBezTo>
                  <a:lnTo>
                    <a:pt x="317" y="1205"/>
                  </a:lnTo>
                  <a:close/>
                  <a:moveTo>
                    <a:pt x="352" y="1179"/>
                  </a:moveTo>
                  <a:cubicBezTo>
                    <a:pt x="368" y="1200"/>
                    <a:pt x="386" y="1220"/>
                    <a:pt x="404" y="1239"/>
                  </a:cubicBezTo>
                  <a:cubicBezTo>
                    <a:pt x="422" y="1256"/>
                    <a:pt x="441" y="1273"/>
                    <a:pt x="460" y="1288"/>
                  </a:cubicBezTo>
                  <a:cubicBezTo>
                    <a:pt x="434" y="1323"/>
                    <a:pt x="434" y="1323"/>
                    <a:pt x="434" y="1323"/>
                  </a:cubicBezTo>
                  <a:cubicBezTo>
                    <a:pt x="416" y="1309"/>
                    <a:pt x="399" y="1294"/>
                    <a:pt x="382" y="1278"/>
                  </a:cubicBezTo>
                  <a:cubicBezTo>
                    <a:pt x="366" y="1262"/>
                    <a:pt x="350" y="1245"/>
                    <a:pt x="335" y="1228"/>
                  </a:cubicBezTo>
                  <a:cubicBezTo>
                    <a:pt x="329" y="1221"/>
                    <a:pt x="323" y="1213"/>
                    <a:pt x="318" y="1206"/>
                  </a:cubicBezTo>
                  <a:lnTo>
                    <a:pt x="352" y="1179"/>
                  </a:lnTo>
                  <a:close/>
                  <a:moveTo>
                    <a:pt x="226" y="740"/>
                  </a:moveTo>
                  <a:cubicBezTo>
                    <a:pt x="233" y="688"/>
                    <a:pt x="246" y="638"/>
                    <a:pt x="266" y="590"/>
                  </a:cubicBezTo>
                  <a:cubicBezTo>
                    <a:pt x="276" y="594"/>
                    <a:pt x="276" y="594"/>
                    <a:pt x="276" y="594"/>
                  </a:cubicBezTo>
                  <a:cubicBezTo>
                    <a:pt x="257" y="640"/>
                    <a:pt x="243" y="690"/>
                    <a:pt x="236" y="741"/>
                  </a:cubicBezTo>
                  <a:lnTo>
                    <a:pt x="226" y="740"/>
                  </a:lnTo>
                  <a:close/>
                  <a:moveTo>
                    <a:pt x="1423" y="740"/>
                  </a:moveTo>
                  <a:cubicBezTo>
                    <a:pt x="1441" y="738"/>
                    <a:pt x="1441" y="738"/>
                    <a:pt x="1441" y="738"/>
                  </a:cubicBezTo>
                  <a:cubicBezTo>
                    <a:pt x="1441" y="738"/>
                    <a:pt x="1441" y="738"/>
                    <a:pt x="1441" y="738"/>
                  </a:cubicBezTo>
                  <a:cubicBezTo>
                    <a:pt x="1444" y="738"/>
                    <a:pt x="1444" y="738"/>
                    <a:pt x="1444" y="738"/>
                  </a:cubicBezTo>
                  <a:cubicBezTo>
                    <a:pt x="1451" y="737"/>
                    <a:pt x="1451" y="737"/>
                    <a:pt x="1451" y="737"/>
                  </a:cubicBezTo>
                  <a:cubicBezTo>
                    <a:pt x="1455" y="764"/>
                    <a:pt x="1457" y="792"/>
                    <a:pt x="1457" y="820"/>
                  </a:cubicBezTo>
                  <a:cubicBezTo>
                    <a:pt x="1457" y="820"/>
                    <a:pt x="1457" y="820"/>
                    <a:pt x="1457" y="820"/>
                  </a:cubicBezTo>
                  <a:cubicBezTo>
                    <a:pt x="1457" y="820"/>
                    <a:pt x="1457" y="820"/>
                    <a:pt x="1457" y="820"/>
                  </a:cubicBezTo>
                  <a:cubicBezTo>
                    <a:pt x="1457" y="820"/>
                    <a:pt x="1457" y="820"/>
                    <a:pt x="1457" y="820"/>
                  </a:cubicBezTo>
                  <a:cubicBezTo>
                    <a:pt x="1457" y="820"/>
                    <a:pt x="1457" y="820"/>
                    <a:pt x="1457" y="820"/>
                  </a:cubicBezTo>
                  <a:cubicBezTo>
                    <a:pt x="1457" y="905"/>
                    <a:pt x="1440" y="986"/>
                    <a:pt x="1410" y="1061"/>
                  </a:cubicBezTo>
                  <a:cubicBezTo>
                    <a:pt x="1383" y="1049"/>
                    <a:pt x="1383" y="1049"/>
                    <a:pt x="1383" y="1049"/>
                  </a:cubicBezTo>
                  <a:cubicBezTo>
                    <a:pt x="1422" y="953"/>
                    <a:pt x="1437" y="847"/>
                    <a:pt x="1423" y="740"/>
                  </a:cubicBezTo>
                  <a:close/>
                  <a:moveTo>
                    <a:pt x="1483" y="544"/>
                  </a:moveTo>
                  <a:cubicBezTo>
                    <a:pt x="1438" y="563"/>
                    <a:pt x="1438" y="563"/>
                    <a:pt x="1438" y="563"/>
                  </a:cubicBezTo>
                  <a:cubicBezTo>
                    <a:pt x="1415" y="509"/>
                    <a:pt x="1386" y="459"/>
                    <a:pt x="1351" y="414"/>
                  </a:cubicBezTo>
                  <a:cubicBezTo>
                    <a:pt x="1390" y="384"/>
                    <a:pt x="1390" y="384"/>
                    <a:pt x="1390" y="384"/>
                  </a:cubicBezTo>
                  <a:cubicBezTo>
                    <a:pt x="1428" y="433"/>
                    <a:pt x="1459" y="486"/>
                    <a:pt x="1483" y="544"/>
                  </a:cubicBezTo>
                  <a:close/>
                  <a:moveTo>
                    <a:pt x="1267" y="240"/>
                  </a:moveTo>
                  <a:cubicBezTo>
                    <a:pt x="1269" y="241"/>
                    <a:pt x="1270" y="242"/>
                    <a:pt x="1272" y="243"/>
                  </a:cubicBezTo>
                  <a:cubicBezTo>
                    <a:pt x="1296" y="262"/>
                    <a:pt x="1319" y="283"/>
                    <a:pt x="1341" y="305"/>
                  </a:cubicBezTo>
                  <a:cubicBezTo>
                    <a:pt x="1362" y="326"/>
                    <a:pt x="1382" y="349"/>
                    <a:pt x="1401" y="373"/>
                  </a:cubicBezTo>
                  <a:cubicBezTo>
                    <a:pt x="1390" y="382"/>
                    <a:pt x="1390" y="382"/>
                    <a:pt x="1390" y="382"/>
                  </a:cubicBezTo>
                  <a:cubicBezTo>
                    <a:pt x="1352" y="332"/>
                    <a:pt x="1308" y="288"/>
                    <a:pt x="1259" y="250"/>
                  </a:cubicBezTo>
                  <a:lnTo>
                    <a:pt x="1267" y="240"/>
                  </a:lnTo>
                  <a:close/>
                  <a:moveTo>
                    <a:pt x="1389" y="383"/>
                  </a:moveTo>
                  <a:cubicBezTo>
                    <a:pt x="1350" y="413"/>
                    <a:pt x="1350" y="413"/>
                    <a:pt x="1350" y="413"/>
                  </a:cubicBezTo>
                  <a:cubicBezTo>
                    <a:pt x="1324" y="378"/>
                    <a:pt x="1294" y="346"/>
                    <a:pt x="1261" y="317"/>
                  </a:cubicBezTo>
                  <a:cubicBezTo>
                    <a:pt x="1250" y="308"/>
                    <a:pt x="1239" y="299"/>
                    <a:pt x="1228" y="290"/>
                  </a:cubicBezTo>
                  <a:cubicBezTo>
                    <a:pt x="1258" y="251"/>
                    <a:pt x="1258" y="251"/>
                    <a:pt x="1258" y="251"/>
                  </a:cubicBezTo>
                  <a:cubicBezTo>
                    <a:pt x="1307" y="289"/>
                    <a:pt x="1351" y="333"/>
                    <a:pt x="1389" y="383"/>
                  </a:cubicBezTo>
                  <a:close/>
                  <a:moveTo>
                    <a:pt x="920" y="102"/>
                  </a:moveTo>
                  <a:cubicBezTo>
                    <a:pt x="982" y="110"/>
                    <a:pt x="1042" y="127"/>
                    <a:pt x="1098" y="150"/>
                  </a:cubicBezTo>
                  <a:cubicBezTo>
                    <a:pt x="1098" y="151"/>
                    <a:pt x="1098" y="151"/>
                    <a:pt x="1098" y="151"/>
                  </a:cubicBezTo>
                  <a:cubicBezTo>
                    <a:pt x="1099" y="151"/>
                    <a:pt x="1099" y="151"/>
                    <a:pt x="1099" y="151"/>
                  </a:cubicBezTo>
                  <a:cubicBezTo>
                    <a:pt x="1096" y="157"/>
                    <a:pt x="1096" y="157"/>
                    <a:pt x="1096" y="157"/>
                  </a:cubicBezTo>
                  <a:cubicBezTo>
                    <a:pt x="1112" y="164"/>
                    <a:pt x="1128" y="171"/>
                    <a:pt x="1143" y="179"/>
                  </a:cubicBezTo>
                  <a:cubicBezTo>
                    <a:pt x="1159" y="187"/>
                    <a:pt x="1174" y="195"/>
                    <a:pt x="1189" y="204"/>
                  </a:cubicBezTo>
                  <a:cubicBezTo>
                    <a:pt x="1213" y="218"/>
                    <a:pt x="1235" y="234"/>
                    <a:pt x="1257" y="250"/>
                  </a:cubicBezTo>
                  <a:cubicBezTo>
                    <a:pt x="1227" y="289"/>
                    <a:pt x="1227" y="289"/>
                    <a:pt x="1227" y="289"/>
                  </a:cubicBezTo>
                  <a:cubicBezTo>
                    <a:pt x="1210" y="276"/>
                    <a:pt x="1192" y="264"/>
                    <a:pt x="1174" y="253"/>
                  </a:cubicBezTo>
                  <a:cubicBezTo>
                    <a:pt x="1144" y="234"/>
                    <a:pt x="1112" y="217"/>
                    <a:pt x="1078" y="203"/>
                  </a:cubicBezTo>
                  <a:cubicBezTo>
                    <a:pt x="1088" y="179"/>
                    <a:pt x="1088" y="179"/>
                    <a:pt x="1088" y="179"/>
                  </a:cubicBezTo>
                  <a:cubicBezTo>
                    <a:pt x="1089" y="178"/>
                    <a:pt x="1089" y="178"/>
                    <a:pt x="1089" y="178"/>
                  </a:cubicBezTo>
                  <a:cubicBezTo>
                    <a:pt x="1088" y="178"/>
                    <a:pt x="1088" y="178"/>
                    <a:pt x="1088" y="178"/>
                  </a:cubicBezTo>
                  <a:cubicBezTo>
                    <a:pt x="1053" y="164"/>
                    <a:pt x="1018" y="152"/>
                    <a:pt x="981" y="143"/>
                  </a:cubicBezTo>
                  <a:cubicBezTo>
                    <a:pt x="974" y="142"/>
                    <a:pt x="967" y="140"/>
                    <a:pt x="960" y="139"/>
                  </a:cubicBezTo>
                  <a:cubicBezTo>
                    <a:pt x="944" y="136"/>
                    <a:pt x="929" y="133"/>
                    <a:pt x="913" y="131"/>
                  </a:cubicBezTo>
                  <a:cubicBezTo>
                    <a:pt x="917" y="102"/>
                    <a:pt x="917" y="102"/>
                    <a:pt x="917" y="102"/>
                  </a:cubicBezTo>
                  <a:cubicBezTo>
                    <a:pt x="918" y="102"/>
                    <a:pt x="919" y="102"/>
                    <a:pt x="920" y="102"/>
                  </a:cubicBezTo>
                  <a:close/>
                  <a:moveTo>
                    <a:pt x="822" y="91"/>
                  </a:moveTo>
                  <a:cubicBezTo>
                    <a:pt x="854" y="91"/>
                    <a:pt x="885" y="94"/>
                    <a:pt x="916" y="98"/>
                  </a:cubicBezTo>
                  <a:cubicBezTo>
                    <a:pt x="912" y="131"/>
                    <a:pt x="912" y="131"/>
                    <a:pt x="912" y="131"/>
                  </a:cubicBezTo>
                  <a:cubicBezTo>
                    <a:pt x="882" y="127"/>
                    <a:pt x="853" y="125"/>
                    <a:pt x="822" y="125"/>
                  </a:cubicBezTo>
                  <a:cubicBezTo>
                    <a:pt x="822" y="125"/>
                    <a:pt x="822" y="125"/>
                    <a:pt x="822" y="125"/>
                  </a:cubicBezTo>
                  <a:cubicBezTo>
                    <a:pt x="822" y="125"/>
                    <a:pt x="822" y="125"/>
                    <a:pt x="822" y="125"/>
                  </a:cubicBezTo>
                  <a:cubicBezTo>
                    <a:pt x="792" y="125"/>
                    <a:pt x="762" y="127"/>
                    <a:pt x="732" y="131"/>
                  </a:cubicBezTo>
                  <a:cubicBezTo>
                    <a:pt x="728" y="98"/>
                    <a:pt x="728" y="98"/>
                    <a:pt x="728" y="98"/>
                  </a:cubicBezTo>
                  <a:cubicBezTo>
                    <a:pt x="759" y="94"/>
                    <a:pt x="790" y="91"/>
                    <a:pt x="822" y="91"/>
                  </a:cubicBezTo>
                  <a:close/>
                  <a:moveTo>
                    <a:pt x="596" y="123"/>
                  </a:moveTo>
                  <a:cubicBezTo>
                    <a:pt x="638" y="110"/>
                    <a:pt x="681" y="100"/>
                    <a:pt x="726" y="94"/>
                  </a:cubicBezTo>
                  <a:cubicBezTo>
                    <a:pt x="726" y="94"/>
                    <a:pt x="726" y="94"/>
                    <a:pt x="726" y="94"/>
                  </a:cubicBezTo>
                  <a:cubicBezTo>
                    <a:pt x="731" y="131"/>
                    <a:pt x="731" y="131"/>
                    <a:pt x="731" y="131"/>
                  </a:cubicBezTo>
                  <a:cubicBezTo>
                    <a:pt x="670" y="139"/>
                    <a:pt x="612" y="155"/>
                    <a:pt x="557" y="178"/>
                  </a:cubicBezTo>
                  <a:cubicBezTo>
                    <a:pt x="543" y="143"/>
                    <a:pt x="543" y="143"/>
                    <a:pt x="543" y="143"/>
                  </a:cubicBezTo>
                  <a:cubicBezTo>
                    <a:pt x="560" y="136"/>
                    <a:pt x="578" y="129"/>
                    <a:pt x="596" y="123"/>
                  </a:cubicBezTo>
                  <a:close/>
                  <a:moveTo>
                    <a:pt x="476" y="175"/>
                  </a:moveTo>
                  <a:cubicBezTo>
                    <a:pt x="497" y="163"/>
                    <a:pt x="519" y="153"/>
                    <a:pt x="542" y="144"/>
                  </a:cubicBezTo>
                  <a:cubicBezTo>
                    <a:pt x="556" y="178"/>
                    <a:pt x="556" y="178"/>
                    <a:pt x="556" y="178"/>
                  </a:cubicBezTo>
                  <a:cubicBezTo>
                    <a:pt x="500" y="201"/>
                    <a:pt x="448" y="232"/>
                    <a:pt x="401" y="268"/>
                  </a:cubicBezTo>
                  <a:cubicBezTo>
                    <a:pt x="378" y="238"/>
                    <a:pt x="378" y="238"/>
                    <a:pt x="378" y="238"/>
                  </a:cubicBezTo>
                  <a:cubicBezTo>
                    <a:pt x="409" y="214"/>
                    <a:pt x="442" y="193"/>
                    <a:pt x="476" y="175"/>
                  </a:cubicBezTo>
                  <a:close/>
                  <a:moveTo>
                    <a:pt x="377" y="239"/>
                  </a:moveTo>
                  <a:cubicBezTo>
                    <a:pt x="400" y="269"/>
                    <a:pt x="400" y="269"/>
                    <a:pt x="400" y="269"/>
                  </a:cubicBezTo>
                  <a:cubicBezTo>
                    <a:pt x="364" y="297"/>
                    <a:pt x="330" y="328"/>
                    <a:pt x="300" y="362"/>
                  </a:cubicBezTo>
                  <a:cubicBezTo>
                    <a:pt x="291" y="373"/>
                    <a:pt x="281" y="385"/>
                    <a:pt x="272" y="396"/>
                  </a:cubicBezTo>
                  <a:cubicBezTo>
                    <a:pt x="242" y="373"/>
                    <a:pt x="242" y="373"/>
                    <a:pt x="242" y="373"/>
                  </a:cubicBezTo>
                  <a:cubicBezTo>
                    <a:pt x="281" y="323"/>
                    <a:pt x="326" y="278"/>
                    <a:pt x="377" y="239"/>
                  </a:cubicBezTo>
                  <a:close/>
                  <a:moveTo>
                    <a:pt x="242" y="374"/>
                  </a:moveTo>
                  <a:cubicBezTo>
                    <a:pt x="271" y="397"/>
                    <a:pt x="271" y="397"/>
                    <a:pt x="271" y="397"/>
                  </a:cubicBezTo>
                  <a:cubicBezTo>
                    <a:pt x="258" y="415"/>
                    <a:pt x="245" y="433"/>
                    <a:pt x="233" y="452"/>
                  </a:cubicBezTo>
                  <a:cubicBezTo>
                    <a:pt x="213" y="484"/>
                    <a:pt x="196" y="517"/>
                    <a:pt x="182" y="552"/>
                  </a:cubicBezTo>
                  <a:cubicBezTo>
                    <a:pt x="147" y="538"/>
                    <a:pt x="147" y="538"/>
                    <a:pt x="147" y="538"/>
                  </a:cubicBezTo>
                  <a:cubicBezTo>
                    <a:pt x="171" y="479"/>
                    <a:pt x="203" y="424"/>
                    <a:pt x="242" y="374"/>
                  </a:cubicBezTo>
                  <a:close/>
                  <a:moveTo>
                    <a:pt x="101" y="697"/>
                  </a:moveTo>
                  <a:cubicBezTo>
                    <a:pt x="101" y="696"/>
                    <a:pt x="101" y="696"/>
                    <a:pt x="101" y="695"/>
                  </a:cubicBezTo>
                  <a:cubicBezTo>
                    <a:pt x="111" y="641"/>
                    <a:pt x="126" y="589"/>
                    <a:pt x="146" y="540"/>
                  </a:cubicBezTo>
                  <a:cubicBezTo>
                    <a:pt x="182" y="555"/>
                    <a:pt x="182" y="555"/>
                    <a:pt x="182" y="555"/>
                  </a:cubicBezTo>
                  <a:cubicBezTo>
                    <a:pt x="183" y="555"/>
                    <a:pt x="183" y="555"/>
                    <a:pt x="183" y="555"/>
                  </a:cubicBezTo>
                  <a:cubicBezTo>
                    <a:pt x="183" y="554"/>
                    <a:pt x="183" y="554"/>
                    <a:pt x="183" y="554"/>
                  </a:cubicBezTo>
                  <a:cubicBezTo>
                    <a:pt x="183" y="554"/>
                    <a:pt x="183" y="554"/>
                    <a:pt x="183" y="554"/>
                  </a:cubicBezTo>
                  <a:cubicBezTo>
                    <a:pt x="183" y="554"/>
                    <a:pt x="183" y="554"/>
                    <a:pt x="183" y="554"/>
                  </a:cubicBezTo>
                  <a:cubicBezTo>
                    <a:pt x="198" y="519"/>
                    <a:pt x="215" y="485"/>
                    <a:pt x="235" y="454"/>
                  </a:cubicBezTo>
                  <a:cubicBezTo>
                    <a:pt x="247" y="435"/>
                    <a:pt x="260" y="416"/>
                    <a:pt x="273" y="399"/>
                  </a:cubicBezTo>
                  <a:cubicBezTo>
                    <a:pt x="316" y="431"/>
                    <a:pt x="316" y="431"/>
                    <a:pt x="316" y="431"/>
                  </a:cubicBezTo>
                  <a:cubicBezTo>
                    <a:pt x="296" y="457"/>
                    <a:pt x="278" y="484"/>
                    <a:pt x="262" y="513"/>
                  </a:cubicBezTo>
                  <a:cubicBezTo>
                    <a:pt x="252" y="532"/>
                    <a:pt x="242" y="552"/>
                    <a:pt x="234" y="573"/>
                  </a:cubicBezTo>
                  <a:cubicBezTo>
                    <a:pt x="209" y="562"/>
                    <a:pt x="209" y="562"/>
                    <a:pt x="209" y="562"/>
                  </a:cubicBezTo>
                  <a:cubicBezTo>
                    <a:pt x="207" y="562"/>
                    <a:pt x="207" y="562"/>
                    <a:pt x="207" y="562"/>
                  </a:cubicBezTo>
                  <a:cubicBezTo>
                    <a:pt x="207" y="563"/>
                    <a:pt x="207" y="563"/>
                    <a:pt x="207" y="563"/>
                  </a:cubicBezTo>
                  <a:cubicBezTo>
                    <a:pt x="193" y="596"/>
                    <a:pt x="182" y="630"/>
                    <a:pt x="173" y="666"/>
                  </a:cubicBezTo>
                  <a:cubicBezTo>
                    <a:pt x="172" y="672"/>
                    <a:pt x="170" y="679"/>
                    <a:pt x="169" y="686"/>
                  </a:cubicBezTo>
                  <a:cubicBezTo>
                    <a:pt x="166" y="701"/>
                    <a:pt x="164" y="716"/>
                    <a:pt x="162" y="731"/>
                  </a:cubicBezTo>
                  <a:cubicBezTo>
                    <a:pt x="97" y="723"/>
                    <a:pt x="97" y="723"/>
                    <a:pt x="97" y="723"/>
                  </a:cubicBezTo>
                  <a:cubicBezTo>
                    <a:pt x="98" y="714"/>
                    <a:pt x="100" y="706"/>
                    <a:pt x="101" y="697"/>
                  </a:cubicBezTo>
                  <a:close/>
                  <a:moveTo>
                    <a:pt x="99" y="819"/>
                  </a:moveTo>
                  <a:cubicBezTo>
                    <a:pt x="99" y="787"/>
                    <a:pt x="101" y="756"/>
                    <a:pt x="105" y="725"/>
                  </a:cubicBezTo>
                  <a:cubicBezTo>
                    <a:pt x="161" y="733"/>
                    <a:pt x="161" y="733"/>
                    <a:pt x="161" y="733"/>
                  </a:cubicBezTo>
                  <a:cubicBezTo>
                    <a:pt x="158" y="761"/>
                    <a:pt x="156" y="790"/>
                    <a:pt x="156" y="819"/>
                  </a:cubicBezTo>
                  <a:cubicBezTo>
                    <a:pt x="156" y="819"/>
                    <a:pt x="156" y="819"/>
                    <a:pt x="156" y="819"/>
                  </a:cubicBezTo>
                  <a:cubicBezTo>
                    <a:pt x="156" y="819"/>
                    <a:pt x="156" y="819"/>
                    <a:pt x="156" y="819"/>
                  </a:cubicBezTo>
                  <a:cubicBezTo>
                    <a:pt x="156" y="819"/>
                    <a:pt x="156" y="819"/>
                    <a:pt x="156" y="819"/>
                  </a:cubicBezTo>
                  <a:cubicBezTo>
                    <a:pt x="156" y="848"/>
                    <a:pt x="158" y="877"/>
                    <a:pt x="161" y="905"/>
                  </a:cubicBezTo>
                  <a:cubicBezTo>
                    <a:pt x="105" y="912"/>
                    <a:pt x="105" y="912"/>
                    <a:pt x="105" y="912"/>
                  </a:cubicBezTo>
                  <a:cubicBezTo>
                    <a:pt x="101" y="882"/>
                    <a:pt x="99" y="850"/>
                    <a:pt x="99" y="819"/>
                  </a:cubicBezTo>
                  <a:close/>
                  <a:moveTo>
                    <a:pt x="376" y="1397"/>
                  </a:moveTo>
                  <a:cubicBezTo>
                    <a:pt x="339" y="1369"/>
                    <a:pt x="305" y="1337"/>
                    <a:pt x="274" y="1301"/>
                  </a:cubicBezTo>
                  <a:cubicBezTo>
                    <a:pt x="263" y="1289"/>
                    <a:pt x="253" y="1276"/>
                    <a:pt x="242" y="1263"/>
                  </a:cubicBezTo>
                  <a:cubicBezTo>
                    <a:pt x="253" y="1255"/>
                    <a:pt x="253" y="1255"/>
                    <a:pt x="253" y="1255"/>
                  </a:cubicBezTo>
                  <a:cubicBezTo>
                    <a:pt x="263" y="1267"/>
                    <a:pt x="273" y="1280"/>
                    <a:pt x="284" y="1292"/>
                  </a:cubicBezTo>
                  <a:cubicBezTo>
                    <a:pt x="294" y="1304"/>
                    <a:pt x="306" y="1316"/>
                    <a:pt x="317" y="1328"/>
                  </a:cubicBezTo>
                  <a:cubicBezTo>
                    <a:pt x="338" y="1349"/>
                    <a:pt x="361" y="1368"/>
                    <a:pt x="384" y="1386"/>
                  </a:cubicBezTo>
                  <a:lnTo>
                    <a:pt x="376" y="1397"/>
                  </a:lnTo>
                  <a:close/>
                  <a:moveTo>
                    <a:pt x="908" y="1476"/>
                  </a:moveTo>
                  <a:cubicBezTo>
                    <a:pt x="907" y="1476"/>
                    <a:pt x="907" y="1476"/>
                    <a:pt x="907" y="1476"/>
                  </a:cubicBezTo>
                  <a:cubicBezTo>
                    <a:pt x="907" y="1478"/>
                    <a:pt x="907" y="1478"/>
                    <a:pt x="907" y="1478"/>
                  </a:cubicBezTo>
                  <a:cubicBezTo>
                    <a:pt x="910" y="1504"/>
                    <a:pt x="910" y="1504"/>
                    <a:pt x="910" y="1504"/>
                  </a:cubicBezTo>
                  <a:cubicBezTo>
                    <a:pt x="907" y="1505"/>
                    <a:pt x="903" y="1505"/>
                    <a:pt x="900" y="1506"/>
                  </a:cubicBezTo>
                  <a:cubicBezTo>
                    <a:pt x="895" y="1506"/>
                    <a:pt x="891" y="1507"/>
                    <a:pt x="887" y="1507"/>
                  </a:cubicBezTo>
                  <a:cubicBezTo>
                    <a:pt x="866" y="1509"/>
                    <a:pt x="844" y="1510"/>
                    <a:pt x="822" y="1510"/>
                  </a:cubicBezTo>
                  <a:cubicBezTo>
                    <a:pt x="822" y="1510"/>
                    <a:pt x="822" y="1510"/>
                    <a:pt x="822" y="1510"/>
                  </a:cubicBezTo>
                  <a:cubicBezTo>
                    <a:pt x="822" y="1510"/>
                    <a:pt x="822" y="1510"/>
                    <a:pt x="822" y="1510"/>
                  </a:cubicBezTo>
                  <a:cubicBezTo>
                    <a:pt x="743" y="1510"/>
                    <a:pt x="667" y="1497"/>
                    <a:pt x="596" y="1472"/>
                  </a:cubicBezTo>
                  <a:cubicBezTo>
                    <a:pt x="584" y="1468"/>
                    <a:pt x="573" y="1464"/>
                    <a:pt x="562" y="1459"/>
                  </a:cubicBezTo>
                  <a:cubicBezTo>
                    <a:pt x="504" y="1436"/>
                    <a:pt x="450" y="1404"/>
                    <a:pt x="401" y="1367"/>
                  </a:cubicBezTo>
                  <a:cubicBezTo>
                    <a:pt x="400" y="1366"/>
                    <a:pt x="400" y="1366"/>
                    <a:pt x="400" y="1366"/>
                  </a:cubicBezTo>
                  <a:cubicBezTo>
                    <a:pt x="399" y="1367"/>
                    <a:pt x="399" y="1367"/>
                    <a:pt x="399" y="1367"/>
                  </a:cubicBezTo>
                  <a:cubicBezTo>
                    <a:pt x="385" y="1386"/>
                    <a:pt x="385" y="1386"/>
                    <a:pt x="385" y="1386"/>
                  </a:cubicBezTo>
                  <a:cubicBezTo>
                    <a:pt x="362" y="1367"/>
                    <a:pt x="339" y="1348"/>
                    <a:pt x="318" y="1327"/>
                  </a:cubicBezTo>
                  <a:cubicBezTo>
                    <a:pt x="306" y="1315"/>
                    <a:pt x="295" y="1303"/>
                    <a:pt x="284" y="1291"/>
                  </a:cubicBezTo>
                  <a:cubicBezTo>
                    <a:pt x="275" y="1281"/>
                    <a:pt x="267" y="1270"/>
                    <a:pt x="258" y="1260"/>
                  </a:cubicBezTo>
                  <a:cubicBezTo>
                    <a:pt x="218" y="1209"/>
                    <a:pt x="185" y="1153"/>
                    <a:pt x="160" y="1092"/>
                  </a:cubicBezTo>
                  <a:cubicBezTo>
                    <a:pt x="154" y="1095"/>
                    <a:pt x="154" y="1095"/>
                    <a:pt x="154" y="1095"/>
                  </a:cubicBezTo>
                  <a:cubicBezTo>
                    <a:pt x="130" y="1038"/>
                    <a:pt x="113" y="977"/>
                    <a:pt x="105" y="914"/>
                  </a:cubicBezTo>
                  <a:cubicBezTo>
                    <a:pt x="162" y="906"/>
                    <a:pt x="162" y="906"/>
                    <a:pt x="162" y="906"/>
                  </a:cubicBezTo>
                  <a:cubicBezTo>
                    <a:pt x="166" y="940"/>
                    <a:pt x="173" y="973"/>
                    <a:pt x="182" y="1006"/>
                  </a:cubicBezTo>
                  <a:cubicBezTo>
                    <a:pt x="186" y="1017"/>
                    <a:pt x="190" y="1029"/>
                    <a:pt x="193" y="1040"/>
                  </a:cubicBezTo>
                  <a:cubicBezTo>
                    <a:pt x="193" y="1040"/>
                    <a:pt x="193" y="1040"/>
                    <a:pt x="193" y="1040"/>
                  </a:cubicBezTo>
                  <a:cubicBezTo>
                    <a:pt x="197" y="1051"/>
                    <a:pt x="201" y="1061"/>
                    <a:pt x="206" y="1072"/>
                  </a:cubicBezTo>
                  <a:cubicBezTo>
                    <a:pt x="181" y="1082"/>
                    <a:pt x="181" y="1082"/>
                    <a:pt x="181" y="1082"/>
                  </a:cubicBezTo>
                  <a:cubicBezTo>
                    <a:pt x="181" y="1084"/>
                    <a:pt x="181" y="1084"/>
                    <a:pt x="181" y="1084"/>
                  </a:cubicBezTo>
                  <a:cubicBezTo>
                    <a:pt x="181" y="1084"/>
                    <a:pt x="181" y="1084"/>
                    <a:pt x="181" y="1084"/>
                  </a:cubicBezTo>
                  <a:cubicBezTo>
                    <a:pt x="198" y="1124"/>
                    <a:pt x="219" y="1163"/>
                    <a:pt x="242" y="1199"/>
                  </a:cubicBezTo>
                  <a:cubicBezTo>
                    <a:pt x="247" y="1206"/>
                    <a:pt x="252" y="1213"/>
                    <a:pt x="257" y="1220"/>
                  </a:cubicBezTo>
                  <a:cubicBezTo>
                    <a:pt x="261" y="1227"/>
                    <a:pt x="266" y="1233"/>
                    <a:pt x="271" y="1239"/>
                  </a:cubicBezTo>
                  <a:cubicBezTo>
                    <a:pt x="271" y="1239"/>
                    <a:pt x="271" y="1239"/>
                    <a:pt x="271" y="1239"/>
                  </a:cubicBezTo>
                  <a:cubicBezTo>
                    <a:pt x="273" y="1242"/>
                    <a:pt x="273" y="1242"/>
                    <a:pt x="273" y="1242"/>
                  </a:cubicBezTo>
                  <a:cubicBezTo>
                    <a:pt x="294" y="1225"/>
                    <a:pt x="294" y="1225"/>
                    <a:pt x="294" y="1225"/>
                  </a:cubicBezTo>
                  <a:cubicBezTo>
                    <a:pt x="345" y="1291"/>
                    <a:pt x="408" y="1347"/>
                    <a:pt x="479" y="1390"/>
                  </a:cubicBezTo>
                  <a:cubicBezTo>
                    <a:pt x="493" y="1398"/>
                    <a:pt x="507" y="1406"/>
                    <a:pt x="522" y="1414"/>
                  </a:cubicBezTo>
                  <a:cubicBezTo>
                    <a:pt x="537" y="1421"/>
                    <a:pt x="552" y="1428"/>
                    <a:pt x="567" y="1434"/>
                  </a:cubicBezTo>
                  <a:cubicBezTo>
                    <a:pt x="568" y="1435"/>
                    <a:pt x="568" y="1435"/>
                    <a:pt x="568" y="1435"/>
                  </a:cubicBezTo>
                  <a:cubicBezTo>
                    <a:pt x="569" y="1433"/>
                    <a:pt x="569" y="1433"/>
                    <a:pt x="569" y="1433"/>
                  </a:cubicBezTo>
                  <a:cubicBezTo>
                    <a:pt x="589" y="1386"/>
                    <a:pt x="589" y="1386"/>
                    <a:pt x="589" y="1386"/>
                  </a:cubicBezTo>
                  <a:cubicBezTo>
                    <a:pt x="636" y="1406"/>
                    <a:pt x="686" y="1419"/>
                    <a:pt x="738" y="1427"/>
                  </a:cubicBezTo>
                  <a:cubicBezTo>
                    <a:pt x="734" y="1449"/>
                    <a:pt x="734" y="1449"/>
                    <a:pt x="734" y="1449"/>
                  </a:cubicBezTo>
                  <a:cubicBezTo>
                    <a:pt x="794" y="1456"/>
                    <a:pt x="852" y="1457"/>
                    <a:pt x="912" y="1449"/>
                  </a:cubicBezTo>
                  <a:cubicBezTo>
                    <a:pt x="965" y="1442"/>
                    <a:pt x="1017" y="1427"/>
                    <a:pt x="1065" y="1407"/>
                  </a:cubicBezTo>
                  <a:cubicBezTo>
                    <a:pt x="1075" y="1432"/>
                    <a:pt x="1075" y="1432"/>
                    <a:pt x="1075" y="1432"/>
                  </a:cubicBezTo>
                  <a:cubicBezTo>
                    <a:pt x="1023" y="1453"/>
                    <a:pt x="967" y="1469"/>
                    <a:pt x="908" y="1476"/>
                  </a:cubicBezTo>
                  <a:close/>
                  <a:moveTo>
                    <a:pt x="1077" y="1431"/>
                  </a:moveTo>
                  <a:cubicBezTo>
                    <a:pt x="1067" y="1407"/>
                    <a:pt x="1067" y="1407"/>
                    <a:pt x="1067" y="1407"/>
                  </a:cubicBezTo>
                  <a:cubicBezTo>
                    <a:pt x="1117" y="1386"/>
                    <a:pt x="1164" y="1359"/>
                    <a:pt x="1207" y="1326"/>
                  </a:cubicBezTo>
                  <a:cubicBezTo>
                    <a:pt x="1207" y="1326"/>
                    <a:pt x="1209" y="1325"/>
                    <a:pt x="1209" y="1325"/>
                  </a:cubicBezTo>
                  <a:cubicBezTo>
                    <a:pt x="1225" y="1345"/>
                    <a:pt x="1225" y="1345"/>
                    <a:pt x="1225" y="1345"/>
                  </a:cubicBezTo>
                  <a:cubicBezTo>
                    <a:pt x="1180" y="1380"/>
                    <a:pt x="1130" y="1409"/>
                    <a:pt x="1077" y="1431"/>
                  </a:cubicBezTo>
                  <a:close/>
                  <a:moveTo>
                    <a:pt x="1075" y="1503"/>
                  </a:moveTo>
                  <a:cubicBezTo>
                    <a:pt x="1050" y="1513"/>
                    <a:pt x="1024" y="1521"/>
                    <a:pt x="998" y="1527"/>
                  </a:cubicBezTo>
                  <a:cubicBezTo>
                    <a:pt x="971" y="1534"/>
                    <a:pt x="945" y="1539"/>
                    <a:pt x="917" y="1543"/>
                  </a:cubicBezTo>
                  <a:cubicBezTo>
                    <a:pt x="915" y="1529"/>
                    <a:pt x="915" y="1529"/>
                    <a:pt x="915" y="1529"/>
                  </a:cubicBezTo>
                  <a:cubicBezTo>
                    <a:pt x="978" y="1521"/>
                    <a:pt x="1039" y="1504"/>
                    <a:pt x="1096" y="1481"/>
                  </a:cubicBezTo>
                  <a:cubicBezTo>
                    <a:pt x="1101" y="1493"/>
                    <a:pt x="1101" y="1493"/>
                    <a:pt x="1101" y="1493"/>
                  </a:cubicBezTo>
                  <a:cubicBezTo>
                    <a:pt x="1093" y="1497"/>
                    <a:pt x="1084" y="1500"/>
                    <a:pt x="1075" y="1503"/>
                  </a:cubicBezTo>
                  <a:close/>
                  <a:moveTo>
                    <a:pt x="1097" y="1479"/>
                  </a:moveTo>
                  <a:cubicBezTo>
                    <a:pt x="1078" y="1434"/>
                    <a:pt x="1078" y="1434"/>
                    <a:pt x="1078" y="1434"/>
                  </a:cubicBezTo>
                  <a:cubicBezTo>
                    <a:pt x="1132" y="1412"/>
                    <a:pt x="1182" y="1383"/>
                    <a:pt x="1227" y="1348"/>
                  </a:cubicBezTo>
                  <a:cubicBezTo>
                    <a:pt x="1257" y="1386"/>
                    <a:pt x="1257" y="1386"/>
                    <a:pt x="1257" y="1386"/>
                  </a:cubicBezTo>
                  <a:cubicBezTo>
                    <a:pt x="1208" y="1424"/>
                    <a:pt x="1154" y="1455"/>
                    <a:pt x="1097" y="1479"/>
                  </a:cubicBezTo>
                  <a:close/>
                  <a:moveTo>
                    <a:pt x="1401" y="1263"/>
                  </a:moveTo>
                  <a:cubicBezTo>
                    <a:pt x="1362" y="1314"/>
                    <a:pt x="1317" y="1359"/>
                    <a:pt x="1267" y="1397"/>
                  </a:cubicBezTo>
                  <a:cubicBezTo>
                    <a:pt x="1258" y="1387"/>
                    <a:pt x="1258" y="1387"/>
                    <a:pt x="1258" y="1387"/>
                  </a:cubicBezTo>
                  <a:cubicBezTo>
                    <a:pt x="1282" y="1368"/>
                    <a:pt x="1304" y="1349"/>
                    <a:pt x="1325" y="1328"/>
                  </a:cubicBezTo>
                  <a:cubicBezTo>
                    <a:pt x="1347" y="1307"/>
                    <a:pt x="1367" y="1284"/>
                    <a:pt x="1385" y="1261"/>
                  </a:cubicBezTo>
                  <a:cubicBezTo>
                    <a:pt x="1387" y="1259"/>
                    <a:pt x="1388" y="1257"/>
                    <a:pt x="1390" y="1255"/>
                  </a:cubicBezTo>
                  <a:lnTo>
                    <a:pt x="1401" y="1263"/>
                  </a:lnTo>
                  <a:close/>
                  <a:moveTo>
                    <a:pt x="1537" y="818"/>
                  </a:moveTo>
                  <a:cubicBezTo>
                    <a:pt x="1537" y="818"/>
                    <a:pt x="1537" y="818"/>
                    <a:pt x="1537" y="818"/>
                  </a:cubicBezTo>
                  <a:cubicBezTo>
                    <a:pt x="1537" y="818"/>
                    <a:pt x="1537" y="818"/>
                    <a:pt x="1537" y="818"/>
                  </a:cubicBezTo>
                  <a:cubicBezTo>
                    <a:pt x="1537" y="982"/>
                    <a:pt x="1482" y="1133"/>
                    <a:pt x="1390" y="1254"/>
                  </a:cubicBezTo>
                  <a:cubicBezTo>
                    <a:pt x="1390" y="1254"/>
                    <a:pt x="1390" y="1254"/>
                    <a:pt x="1390" y="1254"/>
                  </a:cubicBezTo>
                  <a:cubicBezTo>
                    <a:pt x="1389" y="1254"/>
                    <a:pt x="1389" y="1254"/>
                    <a:pt x="1389" y="1254"/>
                  </a:cubicBezTo>
                  <a:cubicBezTo>
                    <a:pt x="1389" y="1254"/>
                    <a:pt x="1389" y="1254"/>
                    <a:pt x="1389" y="1254"/>
                  </a:cubicBezTo>
                  <a:cubicBezTo>
                    <a:pt x="1389" y="1254"/>
                    <a:pt x="1389" y="1254"/>
                    <a:pt x="1389" y="1254"/>
                  </a:cubicBezTo>
                  <a:cubicBezTo>
                    <a:pt x="1373" y="1275"/>
                    <a:pt x="1357" y="1294"/>
                    <a:pt x="1339" y="1313"/>
                  </a:cubicBezTo>
                  <a:cubicBezTo>
                    <a:pt x="1321" y="1332"/>
                    <a:pt x="1302" y="1349"/>
                    <a:pt x="1282" y="1366"/>
                  </a:cubicBezTo>
                  <a:cubicBezTo>
                    <a:pt x="1274" y="1373"/>
                    <a:pt x="1266" y="1379"/>
                    <a:pt x="1258" y="1386"/>
                  </a:cubicBezTo>
                  <a:cubicBezTo>
                    <a:pt x="1228" y="1347"/>
                    <a:pt x="1228" y="1347"/>
                    <a:pt x="1228" y="1347"/>
                  </a:cubicBezTo>
                  <a:cubicBezTo>
                    <a:pt x="1236" y="1341"/>
                    <a:pt x="1243" y="1335"/>
                    <a:pt x="1251" y="1329"/>
                  </a:cubicBezTo>
                  <a:cubicBezTo>
                    <a:pt x="1269" y="1313"/>
                    <a:pt x="1287" y="1297"/>
                    <a:pt x="1304" y="1279"/>
                  </a:cubicBezTo>
                  <a:cubicBezTo>
                    <a:pt x="1320" y="1262"/>
                    <a:pt x="1336" y="1243"/>
                    <a:pt x="1351" y="1224"/>
                  </a:cubicBezTo>
                  <a:cubicBezTo>
                    <a:pt x="1351" y="1224"/>
                    <a:pt x="1351" y="1224"/>
                    <a:pt x="1351" y="1224"/>
                  </a:cubicBezTo>
                  <a:cubicBezTo>
                    <a:pt x="1352" y="1223"/>
                    <a:pt x="1352" y="1223"/>
                    <a:pt x="1352" y="1223"/>
                  </a:cubicBezTo>
                  <a:cubicBezTo>
                    <a:pt x="1351" y="1222"/>
                    <a:pt x="1351" y="1222"/>
                    <a:pt x="1351" y="1222"/>
                  </a:cubicBezTo>
                  <a:cubicBezTo>
                    <a:pt x="1294" y="1179"/>
                    <a:pt x="1294" y="1179"/>
                    <a:pt x="1294" y="1179"/>
                  </a:cubicBezTo>
                  <a:cubicBezTo>
                    <a:pt x="1325" y="1139"/>
                    <a:pt x="1350" y="1095"/>
                    <a:pt x="1370" y="1048"/>
                  </a:cubicBezTo>
                  <a:cubicBezTo>
                    <a:pt x="1380" y="1052"/>
                    <a:pt x="1380" y="1052"/>
                    <a:pt x="1380" y="1052"/>
                  </a:cubicBezTo>
                  <a:cubicBezTo>
                    <a:pt x="1377" y="1060"/>
                    <a:pt x="1373" y="1068"/>
                    <a:pt x="1369" y="1076"/>
                  </a:cubicBezTo>
                  <a:cubicBezTo>
                    <a:pt x="1357" y="1103"/>
                    <a:pt x="1342" y="1129"/>
                    <a:pt x="1326" y="1153"/>
                  </a:cubicBezTo>
                  <a:cubicBezTo>
                    <a:pt x="1327" y="1154"/>
                    <a:pt x="1327" y="1154"/>
                    <a:pt x="1327" y="1154"/>
                  </a:cubicBezTo>
                  <a:cubicBezTo>
                    <a:pt x="1344" y="1130"/>
                    <a:pt x="1358" y="1104"/>
                    <a:pt x="1371" y="1077"/>
                  </a:cubicBezTo>
                  <a:cubicBezTo>
                    <a:pt x="1375" y="1069"/>
                    <a:pt x="1378" y="1061"/>
                    <a:pt x="1382" y="1052"/>
                  </a:cubicBezTo>
                  <a:cubicBezTo>
                    <a:pt x="1408" y="1064"/>
                    <a:pt x="1408" y="1064"/>
                    <a:pt x="1408" y="1064"/>
                  </a:cubicBezTo>
                  <a:cubicBezTo>
                    <a:pt x="1408" y="1064"/>
                    <a:pt x="1408" y="1064"/>
                    <a:pt x="1408" y="1064"/>
                  </a:cubicBezTo>
                  <a:cubicBezTo>
                    <a:pt x="1410" y="1065"/>
                    <a:pt x="1410" y="1065"/>
                    <a:pt x="1410" y="1065"/>
                  </a:cubicBezTo>
                  <a:cubicBezTo>
                    <a:pt x="1410" y="1065"/>
                    <a:pt x="1410" y="1064"/>
                    <a:pt x="1410" y="1064"/>
                  </a:cubicBezTo>
                  <a:cubicBezTo>
                    <a:pt x="1436" y="1075"/>
                    <a:pt x="1436" y="1075"/>
                    <a:pt x="1436" y="1075"/>
                  </a:cubicBezTo>
                  <a:cubicBezTo>
                    <a:pt x="1437" y="1076"/>
                    <a:pt x="1437" y="1076"/>
                    <a:pt x="1437" y="1076"/>
                  </a:cubicBezTo>
                  <a:cubicBezTo>
                    <a:pt x="1438" y="1074"/>
                    <a:pt x="1438" y="1074"/>
                    <a:pt x="1438" y="1074"/>
                  </a:cubicBezTo>
                  <a:cubicBezTo>
                    <a:pt x="1451" y="1041"/>
                    <a:pt x="1463" y="1007"/>
                    <a:pt x="1471" y="971"/>
                  </a:cubicBezTo>
                  <a:cubicBezTo>
                    <a:pt x="1472" y="965"/>
                    <a:pt x="1474" y="958"/>
                    <a:pt x="1475" y="951"/>
                  </a:cubicBezTo>
                  <a:cubicBezTo>
                    <a:pt x="1484" y="908"/>
                    <a:pt x="1489" y="864"/>
                    <a:pt x="1489" y="819"/>
                  </a:cubicBezTo>
                  <a:cubicBezTo>
                    <a:pt x="1489" y="819"/>
                    <a:pt x="1489" y="819"/>
                    <a:pt x="1489" y="819"/>
                  </a:cubicBezTo>
                  <a:cubicBezTo>
                    <a:pt x="1489" y="819"/>
                    <a:pt x="1489" y="819"/>
                    <a:pt x="1489" y="819"/>
                  </a:cubicBezTo>
                  <a:cubicBezTo>
                    <a:pt x="1489" y="789"/>
                    <a:pt x="1487" y="761"/>
                    <a:pt x="1483" y="732"/>
                  </a:cubicBezTo>
                  <a:cubicBezTo>
                    <a:pt x="1531" y="726"/>
                    <a:pt x="1531" y="726"/>
                    <a:pt x="1531" y="726"/>
                  </a:cubicBezTo>
                  <a:cubicBezTo>
                    <a:pt x="1535" y="756"/>
                    <a:pt x="1537" y="787"/>
                    <a:pt x="1537" y="8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2" name="Oval 331">
              <a:extLst>
                <a:ext uri="{FF2B5EF4-FFF2-40B4-BE49-F238E27FC236}">
                  <a16:creationId xmlns:a16="http://schemas.microsoft.com/office/drawing/2014/main" id="{A5BEF29F-061B-38B9-3736-ED8E8AA22C23}"/>
                </a:ext>
              </a:extLst>
            </p:cNvPr>
            <p:cNvSpPr>
              <a:spLocks noChangeArrowheads="1"/>
            </p:cNvSpPr>
            <p:nvPr/>
          </p:nvSpPr>
          <p:spPr bwMode="gray">
            <a:xfrm>
              <a:off x="5566483" y="2133410"/>
              <a:ext cx="22164" cy="2216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3" name="Freeform 332">
              <a:extLst>
                <a:ext uri="{FF2B5EF4-FFF2-40B4-BE49-F238E27FC236}">
                  <a16:creationId xmlns:a16="http://schemas.microsoft.com/office/drawing/2014/main" id="{B27BFCFD-2417-4779-5285-7B375A3880E3}"/>
                </a:ext>
              </a:extLst>
            </p:cNvPr>
            <p:cNvSpPr>
              <a:spLocks noEditPoints="1"/>
            </p:cNvSpPr>
            <p:nvPr/>
          </p:nvSpPr>
          <p:spPr bwMode="gray">
            <a:xfrm>
              <a:off x="6934798" y="2120579"/>
              <a:ext cx="31495" cy="3149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7 w 15"/>
                <a:gd name="T11" fmla="*/ 3 h 15"/>
                <a:gd name="T12" fmla="*/ 2 w 15"/>
                <a:gd name="T13" fmla="*/ 8 h 15"/>
                <a:gd name="T14" fmla="*/ 7 w 15"/>
                <a:gd name="T15" fmla="*/ 13 h 15"/>
                <a:gd name="T16" fmla="*/ 12 w 15"/>
                <a:gd name="T17" fmla="*/ 8 h 15"/>
                <a:gd name="T18" fmla="*/ 7 w 15"/>
                <a:gd name="T1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7" y="0"/>
                  </a:moveTo>
                  <a:cubicBezTo>
                    <a:pt x="12" y="0"/>
                    <a:pt x="15" y="3"/>
                    <a:pt x="15" y="8"/>
                  </a:cubicBezTo>
                  <a:cubicBezTo>
                    <a:pt x="15" y="12"/>
                    <a:pt x="12" y="15"/>
                    <a:pt x="7" y="15"/>
                  </a:cubicBezTo>
                  <a:cubicBezTo>
                    <a:pt x="3" y="15"/>
                    <a:pt x="0" y="12"/>
                    <a:pt x="0" y="8"/>
                  </a:cubicBezTo>
                  <a:cubicBezTo>
                    <a:pt x="0" y="3"/>
                    <a:pt x="3" y="0"/>
                    <a:pt x="7" y="0"/>
                  </a:cubicBezTo>
                  <a:close/>
                  <a:moveTo>
                    <a:pt x="7" y="3"/>
                  </a:moveTo>
                  <a:cubicBezTo>
                    <a:pt x="5" y="3"/>
                    <a:pt x="2" y="5"/>
                    <a:pt x="2" y="8"/>
                  </a:cubicBezTo>
                  <a:cubicBezTo>
                    <a:pt x="2" y="10"/>
                    <a:pt x="5" y="13"/>
                    <a:pt x="7" y="13"/>
                  </a:cubicBezTo>
                  <a:cubicBezTo>
                    <a:pt x="10" y="13"/>
                    <a:pt x="12" y="10"/>
                    <a:pt x="12" y="8"/>
                  </a:cubicBezTo>
                  <a:cubicBezTo>
                    <a:pt x="12" y="5"/>
                    <a:pt x="10" y="3"/>
                    <a:pt x="7"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4" name="Oval 333">
              <a:extLst>
                <a:ext uri="{FF2B5EF4-FFF2-40B4-BE49-F238E27FC236}">
                  <a16:creationId xmlns:a16="http://schemas.microsoft.com/office/drawing/2014/main" id="{6417E007-A5DF-D554-DAE7-5430AA6E246B}"/>
                </a:ext>
              </a:extLst>
            </p:cNvPr>
            <p:cNvSpPr>
              <a:spLocks noChangeArrowheads="1"/>
            </p:cNvSpPr>
            <p:nvPr/>
          </p:nvSpPr>
          <p:spPr bwMode="gray">
            <a:xfrm>
              <a:off x="7267252" y="2461199"/>
              <a:ext cx="20997" cy="1866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5" name="Freeform 334">
              <a:extLst>
                <a:ext uri="{FF2B5EF4-FFF2-40B4-BE49-F238E27FC236}">
                  <a16:creationId xmlns:a16="http://schemas.microsoft.com/office/drawing/2014/main" id="{7EBD69A5-5B57-6B3B-DC5B-BEF98969B035}"/>
                </a:ext>
              </a:extLst>
            </p:cNvPr>
            <p:cNvSpPr>
              <a:spLocks noEditPoints="1"/>
            </p:cNvSpPr>
            <p:nvPr/>
          </p:nvSpPr>
          <p:spPr bwMode="gray">
            <a:xfrm>
              <a:off x="7894834" y="3100447"/>
              <a:ext cx="25664" cy="25664"/>
            </a:xfrm>
            <a:custGeom>
              <a:avLst/>
              <a:gdLst>
                <a:gd name="T0" fmla="*/ 6 w 12"/>
                <a:gd name="T1" fmla="*/ 0 h 12"/>
                <a:gd name="T2" fmla="*/ 12 w 12"/>
                <a:gd name="T3" fmla="*/ 6 h 12"/>
                <a:gd name="T4" fmla="*/ 6 w 12"/>
                <a:gd name="T5" fmla="*/ 12 h 12"/>
                <a:gd name="T6" fmla="*/ 0 w 12"/>
                <a:gd name="T7" fmla="*/ 6 h 12"/>
                <a:gd name="T8" fmla="*/ 6 w 12"/>
                <a:gd name="T9" fmla="*/ 0 h 12"/>
                <a:gd name="T10" fmla="*/ 6 w 12"/>
                <a:gd name="T11" fmla="*/ 2 h 12"/>
                <a:gd name="T12" fmla="*/ 2 w 12"/>
                <a:gd name="T13" fmla="*/ 6 h 12"/>
                <a:gd name="T14" fmla="*/ 6 w 12"/>
                <a:gd name="T15" fmla="*/ 10 h 12"/>
                <a:gd name="T16" fmla="*/ 10 w 12"/>
                <a:gd name="T17" fmla="*/ 6 h 12"/>
                <a:gd name="T18" fmla="*/ 6 w 12"/>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9" y="0"/>
                    <a:pt x="12" y="3"/>
                    <a:pt x="12" y="6"/>
                  </a:cubicBezTo>
                  <a:cubicBezTo>
                    <a:pt x="12" y="9"/>
                    <a:pt x="9" y="12"/>
                    <a:pt x="6" y="12"/>
                  </a:cubicBezTo>
                  <a:cubicBezTo>
                    <a:pt x="3" y="12"/>
                    <a:pt x="0" y="9"/>
                    <a:pt x="0" y="6"/>
                  </a:cubicBezTo>
                  <a:cubicBezTo>
                    <a:pt x="0" y="3"/>
                    <a:pt x="3" y="0"/>
                    <a:pt x="6" y="0"/>
                  </a:cubicBezTo>
                  <a:close/>
                  <a:moveTo>
                    <a:pt x="6" y="2"/>
                  </a:moveTo>
                  <a:cubicBezTo>
                    <a:pt x="4" y="2"/>
                    <a:pt x="2" y="4"/>
                    <a:pt x="2" y="6"/>
                  </a:cubicBezTo>
                  <a:cubicBezTo>
                    <a:pt x="2" y="8"/>
                    <a:pt x="4" y="10"/>
                    <a:pt x="6" y="10"/>
                  </a:cubicBezTo>
                  <a:cubicBezTo>
                    <a:pt x="8" y="10"/>
                    <a:pt x="10" y="8"/>
                    <a:pt x="10" y="6"/>
                  </a:cubicBezTo>
                  <a:cubicBezTo>
                    <a:pt x="10" y="4"/>
                    <a:pt x="8" y="2"/>
                    <a:pt x="6"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6" name="Oval 335">
              <a:extLst>
                <a:ext uri="{FF2B5EF4-FFF2-40B4-BE49-F238E27FC236}">
                  <a16:creationId xmlns:a16="http://schemas.microsoft.com/office/drawing/2014/main" id="{ECB5E5DD-6F3E-93D7-75C5-D562B90910D1}"/>
                </a:ext>
              </a:extLst>
            </p:cNvPr>
            <p:cNvSpPr>
              <a:spLocks noChangeArrowheads="1"/>
            </p:cNvSpPr>
            <p:nvPr/>
          </p:nvSpPr>
          <p:spPr bwMode="gray">
            <a:xfrm>
              <a:off x="7884337" y="3565886"/>
              <a:ext cx="29163" cy="291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7" name="Oval 336">
              <a:extLst>
                <a:ext uri="{FF2B5EF4-FFF2-40B4-BE49-F238E27FC236}">
                  <a16:creationId xmlns:a16="http://schemas.microsoft.com/office/drawing/2014/main" id="{420A7061-C2C9-4A54-B2AC-BAED6D50D36D}"/>
                </a:ext>
              </a:extLst>
            </p:cNvPr>
            <p:cNvSpPr>
              <a:spLocks noChangeArrowheads="1"/>
            </p:cNvSpPr>
            <p:nvPr/>
          </p:nvSpPr>
          <p:spPr bwMode="gray">
            <a:xfrm>
              <a:off x="4537620" y="4004493"/>
              <a:ext cx="33829" cy="338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8" name="Oval 337">
              <a:extLst>
                <a:ext uri="{FF2B5EF4-FFF2-40B4-BE49-F238E27FC236}">
                  <a16:creationId xmlns:a16="http://schemas.microsoft.com/office/drawing/2014/main" id="{1FE9FFA8-19E5-8960-9D53-CA0C498BDD06}"/>
                </a:ext>
              </a:extLst>
            </p:cNvPr>
            <p:cNvSpPr>
              <a:spLocks noChangeArrowheads="1"/>
            </p:cNvSpPr>
            <p:nvPr/>
          </p:nvSpPr>
          <p:spPr bwMode="gray">
            <a:xfrm>
              <a:off x="4693933" y="3140108"/>
              <a:ext cx="20997" cy="1866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19" name="Freeform 338">
              <a:extLst>
                <a:ext uri="{FF2B5EF4-FFF2-40B4-BE49-F238E27FC236}">
                  <a16:creationId xmlns:a16="http://schemas.microsoft.com/office/drawing/2014/main" id="{69078912-296F-2725-E160-80FE47F10A27}"/>
                </a:ext>
              </a:extLst>
            </p:cNvPr>
            <p:cNvSpPr>
              <a:spLocks/>
            </p:cNvSpPr>
            <p:nvPr/>
          </p:nvSpPr>
          <p:spPr bwMode="gray">
            <a:xfrm>
              <a:off x="5381006" y="2959299"/>
              <a:ext cx="52493" cy="52493"/>
            </a:xfrm>
            <a:custGeom>
              <a:avLst/>
              <a:gdLst>
                <a:gd name="T0" fmla="*/ 25 w 25"/>
                <a:gd name="T1" fmla="*/ 13 h 25"/>
                <a:gd name="T2" fmla="*/ 14 w 25"/>
                <a:gd name="T3" fmla="*/ 25 h 25"/>
                <a:gd name="T4" fmla="*/ 0 w 25"/>
                <a:gd name="T5" fmla="*/ 12 h 25"/>
                <a:gd name="T6" fmla="*/ 12 w 25"/>
                <a:gd name="T7" fmla="*/ 0 h 25"/>
                <a:gd name="T8" fmla="*/ 25 w 25"/>
                <a:gd name="T9" fmla="*/ 13 h 25"/>
              </a:gdLst>
              <a:ahLst/>
              <a:cxnLst>
                <a:cxn ang="0">
                  <a:pos x="T0" y="T1"/>
                </a:cxn>
                <a:cxn ang="0">
                  <a:pos x="T2" y="T3"/>
                </a:cxn>
                <a:cxn ang="0">
                  <a:pos x="T4" y="T5"/>
                </a:cxn>
                <a:cxn ang="0">
                  <a:pos x="T6" y="T7"/>
                </a:cxn>
                <a:cxn ang="0">
                  <a:pos x="T8" y="T9"/>
                </a:cxn>
              </a:cxnLst>
              <a:rect l="0" t="0" r="r" b="b"/>
              <a:pathLst>
                <a:path w="25" h="25">
                  <a:moveTo>
                    <a:pt x="25" y="13"/>
                  </a:moveTo>
                  <a:cubicBezTo>
                    <a:pt x="22" y="17"/>
                    <a:pt x="18" y="21"/>
                    <a:pt x="14" y="25"/>
                  </a:cubicBezTo>
                  <a:cubicBezTo>
                    <a:pt x="0" y="12"/>
                    <a:pt x="0" y="12"/>
                    <a:pt x="0" y="12"/>
                  </a:cubicBezTo>
                  <a:cubicBezTo>
                    <a:pt x="4" y="8"/>
                    <a:pt x="8" y="4"/>
                    <a:pt x="12" y="0"/>
                  </a:cubicBezTo>
                  <a:lnTo>
                    <a:pt x="25" y="1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0" name="Freeform 339">
              <a:extLst>
                <a:ext uri="{FF2B5EF4-FFF2-40B4-BE49-F238E27FC236}">
                  <a16:creationId xmlns:a16="http://schemas.microsoft.com/office/drawing/2014/main" id="{52E6FB15-2534-E2DC-A8F2-EEDA44ABE1C8}"/>
                </a:ext>
              </a:extLst>
            </p:cNvPr>
            <p:cNvSpPr>
              <a:spLocks noEditPoints="1"/>
            </p:cNvSpPr>
            <p:nvPr/>
          </p:nvSpPr>
          <p:spPr bwMode="gray">
            <a:xfrm>
              <a:off x="6540517" y="2886975"/>
              <a:ext cx="81655" cy="79323"/>
            </a:xfrm>
            <a:custGeom>
              <a:avLst/>
              <a:gdLst>
                <a:gd name="T0" fmla="*/ 0 w 39"/>
                <a:gd name="T1" fmla="*/ 19 h 38"/>
                <a:gd name="T2" fmla="*/ 19 w 39"/>
                <a:gd name="T3" fmla="*/ 0 h 38"/>
                <a:gd name="T4" fmla="*/ 39 w 39"/>
                <a:gd name="T5" fmla="*/ 19 h 38"/>
                <a:gd name="T6" fmla="*/ 19 w 39"/>
                <a:gd name="T7" fmla="*/ 38 h 38"/>
                <a:gd name="T8" fmla="*/ 0 w 39"/>
                <a:gd name="T9" fmla="*/ 19 h 38"/>
                <a:gd name="T10" fmla="*/ 12 w 39"/>
                <a:gd name="T11" fmla="*/ 19 h 38"/>
                <a:gd name="T12" fmla="*/ 12 w 39"/>
                <a:gd name="T13" fmla="*/ 19 h 38"/>
                <a:gd name="T14" fmla="*/ 19 w 39"/>
                <a:gd name="T15" fmla="*/ 26 h 38"/>
                <a:gd name="T16" fmla="*/ 26 w 39"/>
                <a:gd name="T17" fmla="*/ 19 h 38"/>
                <a:gd name="T18" fmla="*/ 19 w 39"/>
                <a:gd name="T19" fmla="*/ 12 h 38"/>
                <a:gd name="T20" fmla="*/ 12 w 39"/>
                <a:gd name="T21" fmla="*/ 19 h 38"/>
                <a:gd name="T22" fmla="*/ 5 w 39"/>
                <a:gd name="T23" fmla="*/ 19 h 38"/>
                <a:gd name="T24" fmla="*/ 5 w 39"/>
                <a:gd name="T25" fmla="*/ 19 h 38"/>
                <a:gd name="T26" fmla="*/ 19 w 39"/>
                <a:gd name="T27" fmla="*/ 33 h 38"/>
                <a:gd name="T28" fmla="*/ 33 w 39"/>
                <a:gd name="T29" fmla="*/ 19 h 38"/>
                <a:gd name="T30" fmla="*/ 19 w 39"/>
                <a:gd name="T31" fmla="*/ 5 h 38"/>
                <a:gd name="T32" fmla="*/ 5 w 39"/>
                <a:gd name="T33"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0" y="19"/>
                  </a:moveTo>
                  <a:cubicBezTo>
                    <a:pt x="0" y="8"/>
                    <a:pt x="9" y="0"/>
                    <a:pt x="19" y="0"/>
                  </a:cubicBezTo>
                  <a:cubicBezTo>
                    <a:pt x="30" y="0"/>
                    <a:pt x="39" y="8"/>
                    <a:pt x="39" y="19"/>
                  </a:cubicBezTo>
                  <a:cubicBezTo>
                    <a:pt x="39" y="30"/>
                    <a:pt x="30" y="38"/>
                    <a:pt x="19" y="38"/>
                  </a:cubicBezTo>
                  <a:cubicBezTo>
                    <a:pt x="9" y="38"/>
                    <a:pt x="0" y="30"/>
                    <a:pt x="0" y="19"/>
                  </a:cubicBezTo>
                  <a:close/>
                  <a:moveTo>
                    <a:pt x="12" y="19"/>
                  </a:moveTo>
                  <a:cubicBezTo>
                    <a:pt x="12" y="19"/>
                    <a:pt x="12" y="19"/>
                    <a:pt x="12" y="19"/>
                  </a:cubicBezTo>
                  <a:cubicBezTo>
                    <a:pt x="12" y="23"/>
                    <a:pt x="15" y="26"/>
                    <a:pt x="19" y="26"/>
                  </a:cubicBezTo>
                  <a:cubicBezTo>
                    <a:pt x="23" y="26"/>
                    <a:pt x="26" y="23"/>
                    <a:pt x="26" y="19"/>
                  </a:cubicBezTo>
                  <a:cubicBezTo>
                    <a:pt x="26" y="15"/>
                    <a:pt x="23" y="12"/>
                    <a:pt x="19" y="12"/>
                  </a:cubicBezTo>
                  <a:cubicBezTo>
                    <a:pt x="15" y="12"/>
                    <a:pt x="12" y="15"/>
                    <a:pt x="12" y="19"/>
                  </a:cubicBezTo>
                  <a:close/>
                  <a:moveTo>
                    <a:pt x="5" y="19"/>
                  </a:moveTo>
                  <a:cubicBezTo>
                    <a:pt x="5" y="19"/>
                    <a:pt x="5" y="19"/>
                    <a:pt x="5" y="19"/>
                  </a:cubicBezTo>
                  <a:cubicBezTo>
                    <a:pt x="5" y="27"/>
                    <a:pt x="11" y="33"/>
                    <a:pt x="19" y="33"/>
                  </a:cubicBezTo>
                  <a:cubicBezTo>
                    <a:pt x="27" y="33"/>
                    <a:pt x="33" y="27"/>
                    <a:pt x="33" y="19"/>
                  </a:cubicBezTo>
                  <a:cubicBezTo>
                    <a:pt x="33" y="11"/>
                    <a:pt x="27" y="5"/>
                    <a:pt x="19" y="5"/>
                  </a:cubicBezTo>
                  <a:cubicBezTo>
                    <a:pt x="11" y="5"/>
                    <a:pt x="5" y="11"/>
                    <a:pt x="5"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1" name="Freeform 340">
              <a:extLst>
                <a:ext uri="{FF2B5EF4-FFF2-40B4-BE49-F238E27FC236}">
                  <a16:creationId xmlns:a16="http://schemas.microsoft.com/office/drawing/2014/main" id="{C0AFB404-92F2-3ECC-984B-6DCA308B1CCE}"/>
                </a:ext>
              </a:extLst>
            </p:cNvPr>
            <p:cNvSpPr>
              <a:spLocks/>
            </p:cNvSpPr>
            <p:nvPr/>
          </p:nvSpPr>
          <p:spPr bwMode="gray">
            <a:xfrm>
              <a:off x="6902136" y="3317418"/>
              <a:ext cx="24496" cy="26830"/>
            </a:xfrm>
            <a:custGeom>
              <a:avLst/>
              <a:gdLst>
                <a:gd name="T0" fmla="*/ 0 w 21"/>
                <a:gd name="T1" fmla="*/ 16 h 23"/>
                <a:gd name="T2" fmla="*/ 21 w 21"/>
                <a:gd name="T3" fmla="*/ 23 h 23"/>
                <a:gd name="T4" fmla="*/ 21 w 21"/>
                <a:gd name="T5" fmla="*/ 0 h 23"/>
                <a:gd name="T6" fmla="*/ 0 w 21"/>
                <a:gd name="T7" fmla="*/ 16 h 23"/>
              </a:gdLst>
              <a:ahLst/>
              <a:cxnLst>
                <a:cxn ang="0">
                  <a:pos x="T0" y="T1"/>
                </a:cxn>
                <a:cxn ang="0">
                  <a:pos x="T2" y="T3"/>
                </a:cxn>
                <a:cxn ang="0">
                  <a:pos x="T4" y="T5"/>
                </a:cxn>
                <a:cxn ang="0">
                  <a:pos x="T6" y="T7"/>
                </a:cxn>
              </a:cxnLst>
              <a:rect l="0" t="0" r="r" b="b"/>
              <a:pathLst>
                <a:path w="21" h="23">
                  <a:moveTo>
                    <a:pt x="0" y="16"/>
                  </a:moveTo>
                  <a:lnTo>
                    <a:pt x="21" y="23"/>
                  </a:lnTo>
                  <a:lnTo>
                    <a:pt x="21" y="0"/>
                  </a:lnTo>
                  <a:lnTo>
                    <a:pt x="0"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2" name="Freeform 341">
              <a:extLst>
                <a:ext uri="{FF2B5EF4-FFF2-40B4-BE49-F238E27FC236}">
                  <a16:creationId xmlns:a16="http://schemas.microsoft.com/office/drawing/2014/main" id="{FD0A3FA1-58CC-5F7A-E7C0-7FD460D48AE6}"/>
                </a:ext>
              </a:extLst>
            </p:cNvPr>
            <p:cNvSpPr>
              <a:spLocks/>
            </p:cNvSpPr>
            <p:nvPr/>
          </p:nvSpPr>
          <p:spPr bwMode="gray">
            <a:xfrm>
              <a:off x="6858974" y="3261425"/>
              <a:ext cx="26830" cy="26830"/>
            </a:xfrm>
            <a:custGeom>
              <a:avLst/>
              <a:gdLst>
                <a:gd name="T0" fmla="*/ 0 w 23"/>
                <a:gd name="T1" fmla="*/ 17 h 23"/>
                <a:gd name="T2" fmla="*/ 23 w 23"/>
                <a:gd name="T3" fmla="*/ 23 h 23"/>
                <a:gd name="T4" fmla="*/ 21 w 23"/>
                <a:gd name="T5" fmla="*/ 0 h 23"/>
                <a:gd name="T6" fmla="*/ 0 w 23"/>
                <a:gd name="T7" fmla="*/ 17 h 23"/>
              </a:gdLst>
              <a:ahLst/>
              <a:cxnLst>
                <a:cxn ang="0">
                  <a:pos x="T0" y="T1"/>
                </a:cxn>
                <a:cxn ang="0">
                  <a:pos x="T2" y="T3"/>
                </a:cxn>
                <a:cxn ang="0">
                  <a:pos x="T4" y="T5"/>
                </a:cxn>
                <a:cxn ang="0">
                  <a:pos x="T6" y="T7"/>
                </a:cxn>
              </a:cxnLst>
              <a:rect l="0" t="0" r="r" b="b"/>
              <a:pathLst>
                <a:path w="23" h="23">
                  <a:moveTo>
                    <a:pt x="0" y="17"/>
                  </a:moveTo>
                  <a:lnTo>
                    <a:pt x="23" y="23"/>
                  </a:lnTo>
                  <a:lnTo>
                    <a:pt x="21" y="0"/>
                  </a:lnTo>
                  <a:lnTo>
                    <a:pt x="0"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3" name="Freeform 342">
              <a:extLst>
                <a:ext uri="{FF2B5EF4-FFF2-40B4-BE49-F238E27FC236}">
                  <a16:creationId xmlns:a16="http://schemas.microsoft.com/office/drawing/2014/main" id="{17693724-4E71-5886-910E-D6499607E28B}"/>
                </a:ext>
              </a:extLst>
            </p:cNvPr>
            <p:cNvSpPr>
              <a:spLocks/>
            </p:cNvSpPr>
            <p:nvPr/>
          </p:nvSpPr>
          <p:spPr bwMode="gray">
            <a:xfrm>
              <a:off x="6812314" y="3208932"/>
              <a:ext cx="25664" cy="26830"/>
            </a:xfrm>
            <a:custGeom>
              <a:avLst/>
              <a:gdLst>
                <a:gd name="T0" fmla="*/ 0 w 22"/>
                <a:gd name="T1" fmla="*/ 18 h 23"/>
                <a:gd name="T2" fmla="*/ 22 w 22"/>
                <a:gd name="T3" fmla="*/ 23 h 23"/>
                <a:gd name="T4" fmla="*/ 18 w 22"/>
                <a:gd name="T5" fmla="*/ 0 h 23"/>
                <a:gd name="T6" fmla="*/ 0 w 22"/>
                <a:gd name="T7" fmla="*/ 18 h 23"/>
              </a:gdLst>
              <a:ahLst/>
              <a:cxnLst>
                <a:cxn ang="0">
                  <a:pos x="T0" y="T1"/>
                </a:cxn>
                <a:cxn ang="0">
                  <a:pos x="T2" y="T3"/>
                </a:cxn>
                <a:cxn ang="0">
                  <a:pos x="T4" y="T5"/>
                </a:cxn>
                <a:cxn ang="0">
                  <a:pos x="T6" y="T7"/>
                </a:cxn>
              </a:cxnLst>
              <a:rect l="0" t="0" r="r" b="b"/>
              <a:pathLst>
                <a:path w="22" h="23">
                  <a:moveTo>
                    <a:pt x="0" y="18"/>
                  </a:moveTo>
                  <a:lnTo>
                    <a:pt x="22" y="23"/>
                  </a:lnTo>
                  <a:lnTo>
                    <a:pt x="18" y="0"/>
                  </a:lnTo>
                  <a:lnTo>
                    <a:pt x="0" y="1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4" name="Freeform 343">
              <a:extLst>
                <a:ext uri="{FF2B5EF4-FFF2-40B4-BE49-F238E27FC236}">
                  <a16:creationId xmlns:a16="http://schemas.microsoft.com/office/drawing/2014/main" id="{276FFCF8-3C38-750E-7CAD-95F41E1AD623}"/>
                </a:ext>
              </a:extLst>
            </p:cNvPr>
            <p:cNvSpPr>
              <a:spLocks/>
            </p:cNvSpPr>
            <p:nvPr/>
          </p:nvSpPr>
          <p:spPr bwMode="gray">
            <a:xfrm>
              <a:off x="6760987" y="3161105"/>
              <a:ext cx="26830" cy="26830"/>
            </a:xfrm>
            <a:custGeom>
              <a:avLst/>
              <a:gdLst>
                <a:gd name="T0" fmla="*/ 0 w 23"/>
                <a:gd name="T1" fmla="*/ 20 h 23"/>
                <a:gd name="T2" fmla="*/ 23 w 23"/>
                <a:gd name="T3" fmla="*/ 23 h 23"/>
                <a:gd name="T4" fmla="*/ 16 w 23"/>
                <a:gd name="T5" fmla="*/ 0 h 23"/>
                <a:gd name="T6" fmla="*/ 0 w 23"/>
                <a:gd name="T7" fmla="*/ 20 h 23"/>
              </a:gdLst>
              <a:ahLst/>
              <a:cxnLst>
                <a:cxn ang="0">
                  <a:pos x="T0" y="T1"/>
                </a:cxn>
                <a:cxn ang="0">
                  <a:pos x="T2" y="T3"/>
                </a:cxn>
                <a:cxn ang="0">
                  <a:pos x="T4" y="T5"/>
                </a:cxn>
                <a:cxn ang="0">
                  <a:pos x="T6" y="T7"/>
                </a:cxn>
              </a:cxnLst>
              <a:rect l="0" t="0" r="r" b="b"/>
              <a:pathLst>
                <a:path w="23" h="23">
                  <a:moveTo>
                    <a:pt x="0" y="20"/>
                  </a:moveTo>
                  <a:lnTo>
                    <a:pt x="23" y="23"/>
                  </a:lnTo>
                  <a:lnTo>
                    <a:pt x="16" y="0"/>
                  </a:lnTo>
                  <a:lnTo>
                    <a:pt x="0" y="2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5" name="Freeform 344">
              <a:extLst>
                <a:ext uri="{FF2B5EF4-FFF2-40B4-BE49-F238E27FC236}">
                  <a16:creationId xmlns:a16="http://schemas.microsoft.com/office/drawing/2014/main" id="{DCA3D36C-E9C6-1418-CC11-C67B5F5C1003}"/>
                </a:ext>
              </a:extLst>
            </p:cNvPr>
            <p:cNvSpPr>
              <a:spLocks/>
            </p:cNvSpPr>
            <p:nvPr/>
          </p:nvSpPr>
          <p:spPr bwMode="gray">
            <a:xfrm>
              <a:off x="6939464" y="3376910"/>
              <a:ext cx="26830" cy="26830"/>
            </a:xfrm>
            <a:custGeom>
              <a:avLst/>
              <a:gdLst>
                <a:gd name="T0" fmla="*/ 21 w 23"/>
                <a:gd name="T1" fmla="*/ 23 h 23"/>
                <a:gd name="T2" fmla="*/ 23 w 23"/>
                <a:gd name="T3" fmla="*/ 0 h 23"/>
                <a:gd name="T4" fmla="*/ 0 w 23"/>
                <a:gd name="T5" fmla="*/ 13 h 23"/>
                <a:gd name="T6" fmla="*/ 21 w 23"/>
                <a:gd name="T7" fmla="*/ 23 h 23"/>
              </a:gdLst>
              <a:ahLst/>
              <a:cxnLst>
                <a:cxn ang="0">
                  <a:pos x="T0" y="T1"/>
                </a:cxn>
                <a:cxn ang="0">
                  <a:pos x="T2" y="T3"/>
                </a:cxn>
                <a:cxn ang="0">
                  <a:pos x="T4" y="T5"/>
                </a:cxn>
                <a:cxn ang="0">
                  <a:pos x="T6" y="T7"/>
                </a:cxn>
              </a:cxnLst>
              <a:rect l="0" t="0" r="r" b="b"/>
              <a:pathLst>
                <a:path w="23" h="23">
                  <a:moveTo>
                    <a:pt x="21" y="23"/>
                  </a:moveTo>
                  <a:lnTo>
                    <a:pt x="23" y="0"/>
                  </a:lnTo>
                  <a:lnTo>
                    <a:pt x="0" y="13"/>
                  </a:lnTo>
                  <a:lnTo>
                    <a:pt x="21"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6" name="Freeform 345">
              <a:extLst>
                <a:ext uri="{FF2B5EF4-FFF2-40B4-BE49-F238E27FC236}">
                  <a16:creationId xmlns:a16="http://schemas.microsoft.com/office/drawing/2014/main" id="{CE687C8E-3A03-BBD3-FF55-981B4F8F60D7}"/>
                </a:ext>
              </a:extLst>
            </p:cNvPr>
            <p:cNvSpPr>
              <a:spLocks/>
            </p:cNvSpPr>
            <p:nvPr/>
          </p:nvSpPr>
          <p:spPr bwMode="gray">
            <a:xfrm>
              <a:off x="7021119" y="3572884"/>
              <a:ext cx="27996" cy="26830"/>
            </a:xfrm>
            <a:custGeom>
              <a:avLst/>
              <a:gdLst>
                <a:gd name="T0" fmla="*/ 24 w 24"/>
                <a:gd name="T1" fmla="*/ 0 h 23"/>
                <a:gd name="T2" fmla="*/ 0 w 24"/>
                <a:gd name="T3" fmla="*/ 7 h 23"/>
                <a:gd name="T4" fmla="*/ 17 w 24"/>
                <a:gd name="T5" fmla="*/ 23 h 23"/>
                <a:gd name="T6" fmla="*/ 24 w 24"/>
                <a:gd name="T7" fmla="*/ 0 h 23"/>
              </a:gdLst>
              <a:ahLst/>
              <a:cxnLst>
                <a:cxn ang="0">
                  <a:pos x="T0" y="T1"/>
                </a:cxn>
                <a:cxn ang="0">
                  <a:pos x="T2" y="T3"/>
                </a:cxn>
                <a:cxn ang="0">
                  <a:pos x="T4" y="T5"/>
                </a:cxn>
                <a:cxn ang="0">
                  <a:pos x="T6" y="T7"/>
                </a:cxn>
              </a:cxnLst>
              <a:rect l="0" t="0" r="r" b="b"/>
              <a:pathLst>
                <a:path w="24" h="23">
                  <a:moveTo>
                    <a:pt x="24" y="0"/>
                  </a:moveTo>
                  <a:lnTo>
                    <a:pt x="0" y="7"/>
                  </a:lnTo>
                  <a:lnTo>
                    <a:pt x="17" y="23"/>
                  </a:lnTo>
                  <a:lnTo>
                    <a:pt x="2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7" name="Freeform 346">
              <a:extLst>
                <a:ext uri="{FF2B5EF4-FFF2-40B4-BE49-F238E27FC236}">
                  <a16:creationId xmlns:a16="http://schemas.microsoft.com/office/drawing/2014/main" id="{BA237E04-0A93-26EA-2304-6C00CB899F08}"/>
                </a:ext>
              </a:extLst>
            </p:cNvPr>
            <p:cNvSpPr>
              <a:spLocks/>
            </p:cNvSpPr>
            <p:nvPr/>
          </p:nvSpPr>
          <p:spPr bwMode="gray">
            <a:xfrm>
              <a:off x="7000123" y="3506393"/>
              <a:ext cx="29163" cy="24496"/>
            </a:xfrm>
            <a:custGeom>
              <a:avLst/>
              <a:gdLst>
                <a:gd name="T0" fmla="*/ 25 w 25"/>
                <a:gd name="T1" fmla="*/ 0 h 21"/>
                <a:gd name="T2" fmla="*/ 0 w 25"/>
                <a:gd name="T3" fmla="*/ 9 h 21"/>
                <a:gd name="T4" fmla="*/ 18 w 25"/>
                <a:gd name="T5" fmla="*/ 21 h 21"/>
                <a:gd name="T6" fmla="*/ 25 w 25"/>
                <a:gd name="T7" fmla="*/ 0 h 21"/>
              </a:gdLst>
              <a:ahLst/>
              <a:cxnLst>
                <a:cxn ang="0">
                  <a:pos x="T0" y="T1"/>
                </a:cxn>
                <a:cxn ang="0">
                  <a:pos x="T2" y="T3"/>
                </a:cxn>
                <a:cxn ang="0">
                  <a:pos x="T4" y="T5"/>
                </a:cxn>
                <a:cxn ang="0">
                  <a:pos x="T6" y="T7"/>
                </a:cxn>
              </a:cxnLst>
              <a:rect l="0" t="0" r="r" b="b"/>
              <a:pathLst>
                <a:path w="25" h="21">
                  <a:moveTo>
                    <a:pt x="25" y="0"/>
                  </a:moveTo>
                  <a:lnTo>
                    <a:pt x="0" y="9"/>
                  </a:lnTo>
                  <a:lnTo>
                    <a:pt x="18" y="21"/>
                  </a:lnTo>
                  <a:lnTo>
                    <a:pt x="2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8" name="Freeform 347">
              <a:extLst>
                <a:ext uri="{FF2B5EF4-FFF2-40B4-BE49-F238E27FC236}">
                  <a16:creationId xmlns:a16="http://schemas.microsoft.com/office/drawing/2014/main" id="{5D78497A-CD25-270E-B0B1-689AC2D658A0}"/>
                </a:ext>
              </a:extLst>
            </p:cNvPr>
            <p:cNvSpPr>
              <a:spLocks/>
            </p:cNvSpPr>
            <p:nvPr/>
          </p:nvSpPr>
          <p:spPr bwMode="gray">
            <a:xfrm>
              <a:off x="7037451" y="3642874"/>
              <a:ext cx="29163" cy="25664"/>
            </a:xfrm>
            <a:custGeom>
              <a:avLst/>
              <a:gdLst>
                <a:gd name="T0" fmla="*/ 0 w 25"/>
                <a:gd name="T1" fmla="*/ 4 h 22"/>
                <a:gd name="T2" fmla="*/ 16 w 25"/>
                <a:gd name="T3" fmla="*/ 22 h 22"/>
                <a:gd name="T4" fmla="*/ 25 w 25"/>
                <a:gd name="T5" fmla="*/ 0 h 22"/>
                <a:gd name="T6" fmla="*/ 0 w 25"/>
                <a:gd name="T7" fmla="*/ 4 h 22"/>
              </a:gdLst>
              <a:ahLst/>
              <a:cxnLst>
                <a:cxn ang="0">
                  <a:pos x="T0" y="T1"/>
                </a:cxn>
                <a:cxn ang="0">
                  <a:pos x="T2" y="T3"/>
                </a:cxn>
                <a:cxn ang="0">
                  <a:pos x="T4" y="T5"/>
                </a:cxn>
                <a:cxn ang="0">
                  <a:pos x="T6" y="T7"/>
                </a:cxn>
              </a:cxnLst>
              <a:rect l="0" t="0" r="r" b="b"/>
              <a:pathLst>
                <a:path w="25" h="22">
                  <a:moveTo>
                    <a:pt x="0" y="4"/>
                  </a:moveTo>
                  <a:lnTo>
                    <a:pt x="16" y="22"/>
                  </a:lnTo>
                  <a:lnTo>
                    <a:pt x="25" y="0"/>
                  </a:lnTo>
                  <a:lnTo>
                    <a:pt x="0" y="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29" name="Freeform 348">
              <a:extLst>
                <a:ext uri="{FF2B5EF4-FFF2-40B4-BE49-F238E27FC236}">
                  <a16:creationId xmlns:a16="http://schemas.microsoft.com/office/drawing/2014/main" id="{7B4114A1-3F15-79A7-8254-861C7A8E2EE0}"/>
                </a:ext>
              </a:extLst>
            </p:cNvPr>
            <p:cNvSpPr>
              <a:spLocks/>
            </p:cNvSpPr>
            <p:nvPr/>
          </p:nvSpPr>
          <p:spPr bwMode="gray">
            <a:xfrm>
              <a:off x="6973292" y="3439901"/>
              <a:ext cx="26830" cy="26830"/>
            </a:xfrm>
            <a:custGeom>
              <a:avLst/>
              <a:gdLst>
                <a:gd name="T0" fmla="*/ 0 w 23"/>
                <a:gd name="T1" fmla="*/ 10 h 23"/>
                <a:gd name="T2" fmla="*/ 19 w 23"/>
                <a:gd name="T3" fmla="*/ 23 h 23"/>
                <a:gd name="T4" fmla="*/ 23 w 23"/>
                <a:gd name="T5" fmla="*/ 0 h 23"/>
                <a:gd name="T6" fmla="*/ 0 w 23"/>
                <a:gd name="T7" fmla="*/ 10 h 23"/>
              </a:gdLst>
              <a:ahLst/>
              <a:cxnLst>
                <a:cxn ang="0">
                  <a:pos x="T0" y="T1"/>
                </a:cxn>
                <a:cxn ang="0">
                  <a:pos x="T2" y="T3"/>
                </a:cxn>
                <a:cxn ang="0">
                  <a:pos x="T4" y="T5"/>
                </a:cxn>
                <a:cxn ang="0">
                  <a:pos x="T6" y="T7"/>
                </a:cxn>
              </a:cxnLst>
              <a:rect l="0" t="0" r="r" b="b"/>
              <a:pathLst>
                <a:path w="23" h="23">
                  <a:moveTo>
                    <a:pt x="0" y="10"/>
                  </a:moveTo>
                  <a:lnTo>
                    <a:pt x="19" y="23"/>
                  </a:lnTo>
                  <a:lnTo>
                    <a:pt x="23" y="0"/>
                  </a:lnTo>
                  <a:lnTo>
                    <a:pt x="0" y="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0" name="Freeform 349">
              <a:extLst>
                <a:ext uri="{FF2B5EF4-FFF2-40B4-BE49-F238E27FC236}">
                  <a16:creationId xmlns:a16="http://schemas.microsoft.com/office/drawing/2014/main" id="{CD6B57EA-A1BC-0BA0-3CDD-80386798B4EB}"/>
                </a:ext>
              </a:extLst>
            </p:cNvPr>
            <p:cNvSpPr>
              <a:spLocks/>
            </p:cNvSpPr>
            <p:nvPr/>
          </p:nvSpPr>
          <p:spPr bwMode="gray">
            <a:xfrm>
              <a:off x="5383340" y="4017324"/>
              <a:ext cx="31495" cy="26830"/>
            </a:xfrm>
            <a:custGeom>
              <a:avLst/>
              <a:gdLst>
                <a:gd name="T0" fmla="*/ 7 w 27"/>
                <a:gd name="T1" fmla="*/ 0 h 23"/>
                <a:gd name="T2" fmla="*/ 0 w 27"/>
                <a:gd name="T3" fmla="*/ 23 h 23"/>
                <a:gd name="T4" fmla="*/ 27 w 27"/>
                <a:gd name="T5" fmla="*/ 16 h 23"/>
                <a:gd name="T6" fmla="*/ 7 w 27"/>
                <a:gd name="T7" fmla="*/ 0 h 23"/>
              </a:gdLst>
              <a:ahLst/>
              <a:cxnLst>
                <a:cxn ang="0">
                  <a:pos x="T0" y="T1"/>
                </a:cxn>
                <a:cxn ang="0">
                  <a:pos x="T2" y="T3"/>
                </a:cxn>
                <a:cxn ang="0">
                  <a:pos x="T4" y="T5"/>
                </a:cxn>
                <a:cxn ang="0">
                  <a:pos x="T6" y="T7"/>
                </a:cxn>
              </a:cxnLst>
              <a:rect l="0" t="0" r="r" b="b"/>
              <a:pathLst>
                <a:path w="27" h="23">
                  <a:moveTo>
                    <a:pt x="7" y="0"/>
                  </a:moveTo>
                  <a:lnTo>
                    <a:pt x="0" y="23"/>
                  </a:lnTo>
                  <a:lnTo>
                    <a:pt x="27" y="16"/>
                  </a:lnTo>
                  <a:lnTo>
                    <a:pt x="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1" name="Freeform 350">
              <a:extLst>
                <a:ext uri="{FF2B5EF4-FFF2-40B4-BE49-F238E27FC236}">
                  <a16:creationId xmlns:a16="http://schemas.microsoft.com/office/drawing/2014/main" id="{4BD1D114-7397-552E-ADA8-1AC1A47F47EB}"/>
                </a:ext>
              </a:extLst>
            </p:cNvPr>
            <p:cNvSpPr>
              <a:spLocks/>
            </p:cNvSpPr>
            <p:nvPr/>
          </p:nvSpPr>
          <p:spPr bwMode="gray">
            <a:xfrm>
              <a:off x="5407837" y="4091982"/>
              <a:ext cx="31495" cy="29163"/>
            </a:xfrm>
            <a:custGeom>
              <a:avLst/>
              <a:gdLst>
                <a:gd name="T0" fmla="*/ 6 w 27"/>
                <a:gd name="T1" fmla="*/ 0 h 25"/>
                <a:gd name="T2" fmla="*/ 0 w 27"/>
                <a:gd name="T3" fmla="*/ 25 h 25"/>
                <a:gd name="T4" fmla="*/ 27 w 27"/>
                <a:gd name="T5" fmla="*/ 14 h 25"/>
                <a:gd name="T6" fmla="*/ 6 w 27"/>
                <a:gd name="T7" fmla="*/ 0 h 25"/>
              </a:gdLst>
              <a:ahLst/>
              <a:cxnLst>
                <a:cxn ang="0">
                  <a:pos x="T0" y="T1"/>
                </a:cxn>
                <a:cxn ang="0">
                  <a:pos x="T2" y="T3"/>
                </a:cxn>
                <a:cxn ang="0">
                  <a:pos x="T4" y="T5"/>
                </a:cxn>
                <a:cxn ang="0">
                  <a:pos x="T6" y="T7"/>
                </a:cxn>
              </a:cxnLst>
              <a:rect l="0" t="0" r="r" b="b"/>
              <a:pathLst>
                <a:path w="27" h="25">
                  <a:moveTo>
                    <a:pt x="6" y="0"/>
                  </a:moveTo>
                  <a:lnTo>
                    <a:pt x="0" y="25"/>
                  </a:lnTo>
                  <a:lnTo>
                    <a:pt x="27" y="14"/>
                  </a:lnTo>
                  <a:lnTo>
                    <a:pt x="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2" name="Freeform 351">
              <a:extLst>
                <a:ext uri="{FF2B5EF4-FFF2-40B4-BE49-F238E27FC236}">
                  <a16:creationId xmlns:a16="http://schemas.microsoft.com/office/drawing/2014/main" id="{6B4584F7-7D86-1042-0498-DF2D1B207D27}"/>
                </a:ext>
              </a:extLst>
            </p:cNvPr>
            <p:cNvSpPr>
              <a:spLocks/>
            </p:cNvSpPr>
            <p:nvPr/>
          </p:nvSpPr>
          <p:spPr bwMode="gray">
            <a:xfrm>
              <a:off x="5520988" y="4301954"/>
              <a:ext cx="26830" cy="29163"/>
            </a:xfrm>
            <a:custGeom>
              <a:avLst/>
              <a:gdLst>
                <a:gd name="T0" fmla="*/ 0 w 23"/>
                <a:gd name="T1" fmla="*/ 25 h 25"/>
                <a:gd name="T2" fmla="*/ 23 w 23"/>
                <a:gd name="T3" fmla="*/ 9 h 25"/>
                <a:gd name="T4" fmla="*/ 0 w 23"/>
                <a:gd name="T5" fmla="*/ 0 h 25"/>
                <a:gd name="T6" fmla="*/ 0 w 23"/>
                <a:gd name="T7" fmla="*/ 25 h 25"/>
              </a:gdLst>
              <a:ahLst/>
              <a:cxnLst>
                <a:cxn ang="0">
                  <a:pos x="T0" y="T1"/>
                </a:cxn>
                <a:cxn ang="0">
                  <a:pos x="T2" y="T3"/>
                </a:cxn>
                <a:cxn ang="0">
                  <a:pos x="T4" y="T5"/>
                </a:cxn>
                <a:cxn ang="0">
                  <a:pos x="T6" y="T7"/>
                </a:cxn>
              </a:cxnLst>
              <a:rect l="0" t="0" r="r" b="b"/>
              <a:pathLst>
                <a:path w="23" h="25">
                  <a:moveTo>
                    <a:pt x="0" y="25"/>
                  </a:moveTo>
                  <a:lnTo>
                    <a:pt x="23" y="9"/>
                  </a:lnTo>
                  <a:lnTo>
                    <a:pt x="0" y="0"/>
                  </a:lnTo>
                  <a:lnTo>
                    <a:pt x="0" y="2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3" name="Freeform 352">
              <a:extLst>
                <a:ext uri="{FF2B5EF4-FFF2-40B4-BE49-F238E27FC236}">
                  <a16:creationId xmlns:a16="http://schemas.microsoft.com/office/drawing/2014/main" id="{CFD6A996-34E7-8603-EBE9-2B3ADCC87C56}"/>
                </a:ext>
              </a:extLst>
            </p:cNvPr>
            <p:cNvSpPr>
              <a:spLocks/>
            </p:cNvSpPr>
            <p:nvPr/>
          </p:nvSpPr>
          <p:spPr bwMode="gray">
            <a:xfrm>
              <a:off x="5439333" y="4164306"/>
              <a:ext cx="31495" cy="29163"/>
            </a:xfrm>
            <a:custGeom>
              <a:avLst/>
              <a:gdLst>
                <a:gd name="T0" fmla="*/ 0 w 27"/>
                <a:gd name="T1" fmla="*/ 25 h 25"/>
                <a:gd name="T2" fmla="*/ 27 w 27"/>
                <a:gd name="T3" fmla="*/ 13 h 25"/>
                <a:gd name="T4" fmla="*/ 4 w 27"/>
                <a:gd name="T5" fmla="*/ 0 h 25"/>
                <a:gd name="T6" fmla="*/ 0 w 27"/>
                <a:gd name="T7" fmla="*/ 25 h 25"/>
              </a:gdLst>
              <a:ahLst/>
              <a:cxnLst>
                <a:cxn ang="0">
                  <a:pos x="T0" y="T1"/>
                </a:cxn>
                <a:cxn ang="0">
                  <a:pos x="T2" y="T3"/>
                </a:cxn>
                <a:cxn ang="0">
                  <a:pos x="T4" y="T5"/>
                </a:cxn>
                <a:cxn ang="0">
                  <a:pos x="T6" y="T7"/>
                </a:cxn>
              </a:cxnLst>
              <a:rect l="0" t="0" r="r" b="b"/>
              <a:pathLst>
                <a:path w="27" h="25">
                  <a:moveTo>
                    <a:pt x="0" y="25"/>
                  </a:moveTo>
                  <a:lnTo>
                    <a:pt x="27" y="13"/>
                  </a:lnTo>
                  <a:lnTo>
                    <a:pt x="4" y="0"/>
                  </a:lnTo>
                  <a:lnTo>
                    <a:pt x="0" y="2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4" name="Freeform 353">
              <a:extLst>
                <a:ext uri="{FF2B5EF4-FFF2-40B4-BE49-F238E27FC236}">
                  <a16:creationId xmlns:a16="http://schemas.microsoft.com/office/drawing/2014/main" id="{2EC686B8-7BC4-CD51-4ACD-5DB377700BE6}"/>
                </a:ext>
              </a:extLst>
            </p:cNvPr>
            <p:cNvSpPr>
              <a:spLocks/>
            </p:cNvSpPr>
            <p:nvPr/>
          </p:nvSpPr>
          <p:spPr bwMode="gray">
            <a:xfrm>
              <a:off x="5476661" y="4233129"/>
              <a:ext cx="29163" cy="31495"/>
            </a:xfrm>
            <a:custGeom>
              <a:avLst/>
              <a:gdLst>
                <a:gd name="T0" fmla="*/ 0 w 25"/>
                <a:gd name="T1" fmla="*/ 27 h 27"/>
                <a:gd name="T2" fmla="*/ 25 w 25"/>
                <a:gd name="T3" fmla="*/ 12 h 27"/>
                <a:gd name="T4" fmla="*/ 2 w 25"/>
                <a:gd name="T5" fmla="*/ 0 h 27"/>
                <a:gd name="T6" fmla="*/ 0 w 25"/>
                <a:gd name="T7" fmla="*/ 27 h 27"/>
              </a:gdLst>
              <a:ahLst/>
              <a:cxnLst>
                <a:cxn ang="0">
                  <a:pos x="T0" y="T1"/>
                </a:cxn>
                <a:cxn ang="0">
                  <a:pos x="T2" y="T3"/>
                </a:cxn>
                <a:cxn ang="0">
                  <a:pos x="T4" y="T5"/>
                </a:cxn>
                <a:cxn ang="0">
                  <a:pos x="T6" y="T7"/>
                </a:cxn>
              </a:cxnLst>
              <a:rect l="0" t="0" r="r" b="b"/>
              <a:pathLst>
                <a:path w="25" h="27">
                  <a:moveTo>
                    <a:pt x="0" y="27"/>
                  </a:moveTo>
                  <a:lnTo>
                    <a:pt x="25" y="12"/>
                  </a:lnTo>
                  <a:lnTo>
                    <a:pt x="2" y="0"/>
                  </a:lnTo>
                  <a:lnTo>
                    <a:pt x="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5" name="Freeform 354">
              <a:extLst>
                <a:ext uri="{FF2B5EF4-FFF2-40B4-BE49-F238E27FC236}">
                  <a16:creationId xmlns:a16="http://schemas.microsoft.com/office/drawing/2014/main" id="{63D35C41-793D-CC16-5404-54A0BB622FB3}"/>
                </a:ext>
              </a:extLst>
            </p:cNvPr>
            <p:cNvSpPr>
              <a:spLocks noEditPoints="1"/>
            </p:cNvSpPr>
            <p:nvPr/>
          </p:nvSpPr>
          <p:spPr bwMode="gray">
            <a:xfrm>
              <a:off x="5292352" y="4380109"/>
              <a:ext cx="59492" cy="60658"/>
            </a:xfrm>
            <a:custGeom>
              <a:avLst/>
              <a:gdLst>
                <a:gd name="T0" fmla="*/ 0 w 29"/>
                <a:gd name="T1" fmla="*/ 15 h 29"/>
                <a:gd name="T2" fmla="*/ 14 w 29"/>
                <a:gd name="T3" fmla="*/ 0 h 29"/>
                <a:gd name="T4" fmla="*/ 29 w 29"/>
                <a:gd name="T5" fmla="*/ 15 h 29"/>
                <a:gd name="T6" fmla="*/ 14 w 29"/>
                <a:gd name="T7" fmla="*/ 29 h 29"/>
                <a:gd name="T8" fmla="*/ 0 w 29"/>
                <a:gd name="T9" fmla="*/ 15 h 29"/>
                <a:gd name="T10" fmla="*/ 11 w 29"/>
                <a:gd name="T11" fmla="*/ 15 h 29"/>
                <a:gd name="T12" fmla="*/ 11 w 29"/>
                <a:gd name="T13" fmla="*/ 15 h 29"/>
                <a:gd name="T14" fmla="*/ 14 w 29"/>
                <a:gd name="T15" fmla="*/ 19 h 29"/>
                <a:gd name="T16" fmla="*/ 18 w 29"/>
                <a:gd name="T17" fmla="*/ 15 h 29"/>
                <a:gd name="T18" fmla="*/ 14 w 29"/>
                <a:gd name="T19" fmla="*/ 11 h 29"/>
                <a:gd name="T20" fmla="*/ 11 w 29"/>
                <a:gd name="T21" fmla="*/ 15 h 29"/>
                <a:gd name="T22" fmla="*/ 5 w 29"/>
                <a:gd name="T23" fmla="*/ 15 h 29"/>
                <a:gd name="T24" fmla="*/ 5 w 29"/>
                <a:gd name="T25" fmla="*/ 15 h 29"/>
                <a:gd name="T26" fmla="*/ 14 w 29"/>
                <a:gd name="T27" fmla="*/ 24 h 29"/>
                <a:gd name="T28" fmla="*/ 23 w 29"/>
                <a:gd name="T29" fmla="*/ 15 h 29"/>
                <a:gd name="T30" fmla="*/ 14 w 29"/>
                <a:gd name="T31" fmla="*/ 6 h 29"/>
                <a:gd name="T32" fmla="*/ 5 w 29"/>
                <a:gd name="T33"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9">
                  <a:moveTo>
                    <a:pt x="0" y="15"/>
                  </a:moveTo>
                  <a:cubicBezTo>
                    <a:pt x="0" y="7"/>
                    <a:pt x="6" y="0"/>
                    <a:pt x="14" y="0"/>
                  </a:cubicBezTo>
                  <a:cubicBezTo>
                    <a:pt x="22" y="0"/>
                    <a:pt x="29" y="7"/>
                    <a:pt x="29" y="15"/>
                  </a:cubicBezTo>
                  <a:cubicBezTo>
                    <a:pt x="29" y="23"/>
                    <a:pt x="22" y="29"/>
                    <a:pt x="14" y="29"/>
                  </a:cubicBezTo>
                  <a:cubicBezTo>
                    <a:pt x="6" y="29"/>
                    <a:pt x="0" y="23"/>
                    <a:pt x="0" y="15"/>
                  </a:cubicBezTo>
                  <a:close/>
                  <a:moveTo>
                    <a:pt x="11" y="15"/>
                  </a:moveTo>
                  <a:cubicBezTo>
                    <a:pt x="11" y="15"/>
                    <a:pt x="11" y="15"/>
                    <a:pt x="11" y="15"/>
                  </a:cubicBezTo>
                  <a:cubicBezTo>
                    <a:pt x="11" y="17"/>
                    <a:pt x="12" y="19"/>
                    <a:pt x="14" y="19"/>
                  </a:cubicBezTo>
                  <a:cubicBezTo>
                    <a:pt x="16" y="19"/>
                    <a:pt x="18" y="17"/>
                    <a:pt x="18" y="15"/>
                  </a:cubicBezTo>
                  <a:cubicBezTo>
                    <a:pt x="18" y="13"/>
                    <a:pt x="16" y="11"/>
                    <a:pt x="14" y="11"/>
                  </a:cubicBezTo>
                  <a:cubicBezTo>
                    <a:pt x="12" y="11"/>
                    <a:pt x="11" y="13"/>
                    <a:pt x="11" y="15"/>
                  </a:cubicBezTo>
                  <a:close/>
                  <a:moveTo>
                    <a:pt x="5" y="15"/>
                  </a:moveTo>
                  <a:cubicBezTo>
                    <a:pt x="5" y="15"/>
                    <a:pt x="5" y="15"/>
                    <a:pt x="5" y="15"/>
                  </a:cubicBezTo>
                  <a:cubicBezTo>
                    <a:pt x="5" y="20"/>
                    <a:pt x="9" y="24"/>
                    <a:pt x="14" y="24"/>
                  </a:cubicBezTo>
                  <a:cubicBezTo>
                    <a:pt x="19" y="24"/>
                    <a:pt x="23" y="20"/>
                    <a:pt x="23" y="15"/>
                  </a:cubicBezTo>
                  <a:cubicBezTo>
                    <a:pt x="23" y="10"/>
                    <a:pt x="19" y="6"/>
                    <a:pt x="14" y="6"/>
                  </a:cubicBezTo>
                  <a:cubicBezTo>
                    <a:pt x="9" y="6"/>
                    <a:pt x="5" y="10"/>
                    <a:pt x="5" y="1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6" name="Freeform 355">
              <a:extLst>
                <a:ext uri="{FF2B5EF4-FFF2-40B4-BE49-F238E27FC236}">
                  <a16:creationId xmlns:a16="http://schemas.microsoft.com/office/drawing/2014/main" id="{1131035D-A627-CCFF-4D55-F50F874F86D2}"/>
                </a:ext>
              </a:extLst>
            </p:cNvPr>
            <p:cNvSpPr>
              <a:spLocks noEditPoints="1"/>
            </p:cNvSpPr>
            <p:nvPr/>
          </p:nvSpPr>
          <p:spPr bwMode="gray">
            <a:xfrm>
              <a:off x="6234892" y="4762725"/>
              <a:ext cx="66491" cy="66491"/>
            </a:xfrm>
            <a:custGeom>
              <a:avLst/>
              <a:gdLst>
                <a:gd name="T0" fmla="*/ 18 w 32"/>
                <a:gd name="T1" fmla="*/ 0 h 32"/>
                <a:gd name="T2" fmla="*/ 32 w 32"/>
                <a:gd name="T3" fmla="*/ 15 h 32"/>
                <a:gd name="T4" fmla="*/ 29 w 32"/>
                <a:gd name="T5" fmla="*/ 15 h 32"/>
                <a:gd name="T6" fmla="*/ 18 w 32"/>
                <a:gd name="T7" fmla="*/ 4 h 32"/>
                <a:gd name="T8" fmla="*/ 18 w 32"/>
                <a:gd name="T9" fmla="*/ 0 h 32"/>
                <a:gd name="T10" fmla="*/ 32 w 32"/>
                <a:gd name="T11" fmla="*/ 17 h 32"/>
                <a:gd name="T12" fmla="*/ 18 w 32"/>
                <a:gd name="T13" fmla="*/ 32 h 32"/>
                <a:gd name="T14" fmla="*/ 18 w 32"/>
                <a:gd name="T15" fmla="*/ 28 h 32"/>
                <a:gd name="T16" fmla="*/ 29 w 32"/>
                <a:gd name="T17" fmla="*/ 17 h 32"/>
                <a:gd name="T18" fmla="*/ 32 w 32"/>
                <a:gd name="T19" fmla="*/ 17 h 32"/>
                <a:gd name="T20" fmla="*/ 15 w 32"/>
                <a:gd name="T21" fmla="*/ 32 h 32"/>
                <a:gd name="T22" fmla="*/ 0 w 32"/>
                <a:gd name="T23" fmla="*/ 17 h 32"/>
                <a:gd name="T24" fmla="*/ 4 w 32"/>
                <a:gd name="T25" fmla="*/ 17 h 32"/>
                <a:gd name="T26" fmla="*/ 15 w 32"/>
                <a:gd name="T27" fmla="*/ 28 h 32"/>
                <a:gd name="T28" fmla="*/ 15 w 32"/>
                <a:gd name="T29" fmla="*/ 32 h 32"/>
                <a:gd name="T30" fmla="*/ 0 w 32"/>
                <a:gd name="T31" fmla="*/ 15 h 32"/>
                <a:gd name="T32" fmla="*/ 15 w 32"/>
                <a:gd name="T33" fmla="*/ 0 h 32"/>
                <a:gd name="T34" fmla="*/ 15 w 32"/>
                <a:gd name="T35" fmla="*/ 4 h 32"/>
                <a:gd name="T36" fmla="*/ 4 w 32"/>
                <a:gd name="T37" fmla="*/ 15 h 32"/>
                <a:gd name="T38" fmla="*/ 0 w 32"/>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18" y="0"/>
                  </a:moveTo>
                  <a:cubicBezTo>
                    <a:pt x="25" y="1"/>
                    <a:pt x="32" y="7"/>
                    <a:pt x="32" y="15"/>
                  </a:cubicBezTo>
                  <a:cubicBezTo>
                    <a:pt x="29" y="15"/>
                    <a:pt x="29" y="15"/>
                    <a:pt x="29" y="15"/>
                  </a:cubicBezTo>
                  <a:cubicBezTo>
                    <a:pt x="28" y="9"/>
                    <a:pt x="23" y="4"/>
                    <a:pt x="18" y="4"/>
                  </a:cubicBezTo>
                  <a:cubicBezTo>
                    <a:pt x="18" y="0"/>
                    <a:pt x="18" y="0"/>
                    <a:pt x="18" y="0"/>
                  </a:cubicBezTo>
                  <a:close/>
                  <a:moveTo>
                    <a:pt x="32" y="17"/>
                  </a:moveTo>
                  <a:cubicBezTo>
                    <a:pt x="32" y="25"/>
                    <a:pt x="25" y="31"/>
                    <a:pt x="18" y="32"/>
                  </a:cubicBezTo>
                  <a:cubicBezTo>
                    <a:pt x="18" y="28"/>
                    <a:pt x="18" y="28"/>
                    <a:pt x="18" y="28"/>
                  </a:cubicBezTo>
                  <a:cubicBezTo>
                    <a:pt x="23" y="28"/>
                    <a:pt x="28" y="23"/>
                    <a:pt x="29" y="17"/>
                  </a:cubicBezTo>
                  <a:cubicBezTo>
                    <a:pt x="32" y="17"/>
                    <a:pt x="32" y="17"/>
                    <a:pt x="32" y="17"/>
                  </a:cubicBezTo>
                  <a:close/>
                  <a:moveTo>
                    <a:pt x="15" y="32"/>
                  </a:moveTo>
                  <a:cubicBezTo>
                    <a:pt x="7" y="31"/>
                    <a:pt x="1" y="25"/>
                    <a:pt x="0" y="17"/>
                  </a:cubicBezTo>
                  <a:cubicBezTo>
                    <a:pt x="4" y="17"/>
                    <a:pt x="4" y="17"/>
                    <a:pt x="4" y="17"/>
                  </a:cubicBezTo>
                  <a:cubicBezTo>
                    <a:pt x="5" y="23"/>
                    <a:pt x="9" y="28"/>
                    <a:pt x="15" y="28"/>
                  </a:cubicBezTo>
                  <a:cubicBezTo>
                    <a:pt x="15" y="32"/>
                    <a:pt x="15" y="32"/>
                    <a:pt x="15" y="32"/>
                  </a:cubicBezTo>
                  <a:close/>
                  <a:moveTo>
                    <a:pt x="0" y="15"/>
                  </a:moveTo>
                  <a:cubicBezTo>
                    <a:pt x="1" y="7"/>
                    <a:pt x="7" y="1"/>
                    <a:pt x="15" y="0"/>
                  </a:cubicBezTo>
                  <a:cubicBezTo>
                    <a:pt x="15" y="4"/>
                    <a:pt x="15" y="4"/>
                    <a:pt x="15" y="4"/>
                  </a:cubicBezTo>
                  <a:cubicBezTo>
                    <a:pt x="9" y="4"/>
                    <a:pt x="5" y="9"/>
                    <a:pt x="4" y="15"/>
                  </a:cubicBez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7" name="Freeform 356">
              <a:extLst>
                <a:ext uri="{FF2B5EF4-FFF2-40B4-BE49-F238E27FC236}">
                  <a16:creationId xmlns:a16="http://schemas.microsoft.com/office/drawing/2014/main" id="{4A3F4309-B3CB-99A8-F805-9A856910A579}"/>
                </a:ext>
              </a:extLst>
            </p:cNvPr>
            <p:cNvSpPr>
              <a:spLocks noEditPoints="1"/>
            </p:cNvSpPr>
            <p:nvPr/>
          </p:nvSpPr>
          <p:spPr bwMode="gray">
            <a:xfrm>
              <a:off x="6252389" y="4779056"/>
              <a:ext cx="34995" cy="33829"/>
            </a:xfrm>
            <a:custGeom>
              <a:avLst/>
              <a:gdLst>
                <a:gd name="T0" fmla="*/ 10 w 17"/>
                <a:gd name="T1" fmla="*/ 0 h 16"/>
                <a:gd name="T2" fmla="*/ 17 w 17"/>
                <a:gd name="T3" fmla="*/ 7 h 16"/>
                <a:gd name="T4" fmla="*/ 15 w 17"/>
                <a:gd name="T5" fmla="*/ 7 h 16"/>
                <a:gd name="T6" fmla="*/ 10 w 17"/>
                <a:gd name="T7" fmla="*/ 2 h 16"/>
                <a:gd name="T8" fmla="*/ 10 w 17"/>
                <a:gd name="T9" fmla="*/ 0 h 16"/>
                <a:gd name="T10" fmla="*/ 17 w 17"/>
                <a:gd name="T11" fmla="*/ 9 h 16"/>
                <a:gd name="T12" fmla="*/ 10 w 17"/>
                <a:gd name="T13" fmla="*/ 16 h 16"/>
                <a:gd name="T14" fmla="*/ 10 w 17"/>
                <a:gd name="T15" fmla="*/ 14 h 16"/>
                <a:gd name="T16" fmla="*/ 15 w 17"/>
                <a:gd name="T17" fmla="*/ 9 h 16"/>
                <a:gd name="T18" fmla="*/ 17 w 17"/>
                <a:gd name="T19" fmla="*/ 9 h 16"/>
                <a:gd name="T20" fmla="*/ 7 w 17"/>
                <a:gd name="T21" fmla="*/ 16 h 16"/>
                <a:gd name="T22" fmla="*/ 0 w 17"/>
                <a:gd name="T23" fmla="*/ 9 h 16"/>
                <a:gd name="T24" fmla="*/ 2 w 17"/>
                <a:gd name="T25" fmla="*/ 9 h 16"/>
                <a:gd name="T26" fmla="*/ 7 w 17"/>
                <a:gd name="T27" fmla="*/ 14 h 16"/>
                <a:gd name="T28" fmla="*/ 7 w 17"/>
                <a:gd name="T29" fmla="*/ 16 h 16"/>
                <a:gd name="T30" fmla="*/ 0 w 17"/>
                <a:gd name="T31" fmla="*/ 7 h 16"/>
                <a:gd name="T32" fmla="*/ 7 w 17"/>
                <a:gd name="T33" fmla="*/ 0 h 16"/>
                <a:gd name="T34" fmla="*/ 7 w 17"/>
                <a:gd name="T35" fmla="*/ 2 h 16"/>
                <a:gd name="T36" fmla="*/ 2 w 17"/>
                <a:gd name="T37" fmla="*/ 7 h 16"/>
                <a:gd name="T38" fmla="*/ 0 w 17"/>
                <a:gd name="T39"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16">
                  <a:moveTo>
                    <a:pt x="10" y="0"/>
                  </a:moveTo>
                  <a:cubicBezTo>
                    <a:pt x="13" y="0"/>
                    <a:pt x="16" y="3"/>
                    <a:pt x="17" y="7"/>
                  </a:cubicBezTo>
                  <a:cubicBezTo>
                    <a:pt x="15" y="7"/>
                    <a:pt x="15" y="7"/>
                    <a:pt x="15" y="7"/>
                  </a:cubicBezTo>
                  <a:cubicBezTo>
                    <a:pt x="14" y="4"/>
                    <a:pt x="12" y="2"/>
                    <a:pt x="10" y="2"/>
                  </a:cubicBezTo>
                  <a:cubicBezTo>
                    <a:pt x="10" y="0"/>
                    <a:pt x="10" y="0"/>
                    <a:pt x="10" y="0"/>
                  </a:cubicBezTo>
                  <a:close/>
                  <a:moveTo>
                    <a:pt x="17" y="9"/>
                  </a:moveTo>
                  <a:cubicBezTo>
                    <a:pt x="16" y="13"/>
                    <a:pt x="13" y="16"/>
                    <a:pt x="10" y="16"/>
                  </a:cubicBezTo>
                  <a:cubicBezTo>
                    <a:pt x="10" y="14"/>
                    <a:pt x="10" y="14"/>
                    <a:pt x="10" y="14"/>
                  </a:cubicBezTo>
                  <a:cubicBezTo>
                    <a:pt x="12" y="14"/>
                    <a:pt x="14" y="12"/>
                    <a:pt x="15" y="9"/>
                  </a:cubicBezTo>
                  <a:cubicBezTo>
                    <a:pt x="17" y="9"/>
                    <a:pt x="17" y="9"/>
                    <a:pt x="17" y="9"/>
                  </a:cubicBezTo>
                  <a:close/>
                  <a:moveTo>
                    <a:pt x="7" y="16"/>
                  </a:moveTo>
                  <a:cubicBezTo>
                    <a:pt x="4" y="16"/>
                    <a:pt x="1" y="13"/>
                    <a:pt x="0" y="9"/>
                  </a:cubicBezTo>
                  <a:cubicBezTo>
                    <a:pt x="2" y="9"/>
                    <a:pt x="2" y="9"/>
                    <a:pt x="2" y="9"/>
                  </a:cubicBezTo>
                  <a:cubicBezTo>
                    <a:pt x="3" y="12"/>
                    <a:pt x="5" y="14"/>
                    <a:pt x="7" y="14"/>
                  </a:cubicBezTo>
                  <a:cubicBezTo>
                    <a:pt x="7" y="16"/>
                    <a:pt x="7" y="16"/>
                    <a:pt x="7" y="16"/>
                  </a:cubicBezTo>
                  <a:close/>
                  <a:moveTo>
                    <a:pt x="0" y="7"/>
                  </a:moveTo>
                  <a:cubicBezTo>
                    <a:pt x="1" y="3"/>
                    <a:pt x="4" y="0"/>
                    <a:pt x="7" y="0"/>
                  </a:cubicBezTo>
                  <a:cubicBezTo>
                    <a:pt x="7" y="2"/>
                    <a:pt x="7" y="2"/>
                    <a:pt x="7" y="2"/>
                  </a:cubicBezTo>
                  <a:cubicBezTo>
                    <a:pt x="5" y="2"/>
                    <a:pt x="3" y="4"/>
                    <a:pt x="2" y="7"/>
                  </a:cubicBezTo>
                  <a:lnTo>
                    <a:pt x="0" y="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8" name="Freeform 357">
              <a:extLst>
                <a:ext uri="{FF2B5EF4-FFF2-40B4-BE49-F238E27FC236}">
                  <a16:creationId xmlns:a16="http://schemas.microsoft.com/office/drawing/2014/main" id="{2601A46A-AE1C-A428-A29F-E8A062054DFB}"/>
                </a:ext>
              </a:extLst>
            </p:cNvPr>
            <p:cNvSpPr>
              <a:spLocks noEditPoints="1"/>
            </p:cNvSpPr>
            <p:nvPr/>
          </p:nvSpPr>
          <p:spPr bwMode="gray">
            <a:xfrm>
              <a:off x="7290583" y="4490928"/>
              <a:ext cx="29163" cy="29163"/>
            </a:xfrm>
            <a:custGeom>
              <a:avLst/>
              <a:gdLst>
                <a:gd name="T0" fmla="*/ 0 w 14"/>
                <a:gd name="T1" fmla="*/ 7 h 14"/>
                <a:gd name="T2" fmla="*/ 7 w 14"/>
                <a:gd name="T3" fmla="*/ 0 h 14"/>
                <a:gd name="T4" fmla="*/ 14 w 14"/>
                <a:gd name="T5" fmla="*/ 7 h 14"/>
                <a:gd name="T6" fmla="*/ 7 w 14"/>
                <a:gd name="T7" fmla="*/ 14 h 14"/>
                <a:gd name="T8" fmla="*/ 0 w 14"/>
                <a:gd name="T9" fmla="*/ 7 h 14"/>
                <a:gd name="T10" fmla="*/ 4 w 14"/>
                <a:gd name="T11" fmla="*/ 7 h 14"/>
                <a:gd name="T12" fmla="*/ 4 w 14"/>
                <a:gd name="T13" fmla="*/ 7 h 14"/>
                <a:gd name="T14" fmla="*/ 7 w 14"/>
                <a:gd name="T15" fmla="*/ 10 h 14"/>
                <a:gd name="T16" fmla="*/ 10 w 14"/>
                <a:gd name="T17" fmla="*/ 7 h 14"/>
                <a:gd name="T18" fmla="*/ 7 w 14"/>
                <a:gd name="T19" fmla="*/ 4 h 14"/>
                <a:gd name="T20" fmla="*/ 4 w 14"/>
                <a:gd name="T2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0" y="7"/>
                  </a:moveTo>
                  <a:cubicBezTo>
                    <a:pt x="0" y="3"/>
                    <a:pt x="3" y="0"/>
                    <a:pt x="7" y="0"/>
                  </a:cubicBezTo>
                  <a:cubicBezTo>
                    <a:pt x="11" y="0"/>
                    <a:pt x="14" y="3"/>
                    <a:pt x="14" y="7"/>
                  </a:cubicBezTo>
                  <a:cubicBezTo>
                    <a:pt x="14" y="11"/>
                    <a:pt x="11" y="14"/>
                    <a:pt x="7" y="14"/>
                  </a:cubicBezTo>
                  <a:cubicBezTo>
                    <a:pt x="3" y="14"/>
                    <a:pt x="0" y="11"/>
                    <a:pt x="0" y="7"/>
                  </a:cubicBezTo>
                  <a:close/>
                  <a:moveTo>
                    <a:pt x="4" y="7"/>
                  </a:moveTo>
                  <a:cubicBezTo>
                    <a:pt x="4" y="7"/>
                    <a:pt x="4" y="7"/>
                    <a:pt x="4" y="7"/>
                  </a:cubicBezTo>
                  <a:cubicBezTo>
                    <a:pt x="4" y="9"/>
                    <a:pt x="5" y="10"/>
                    <a:pt x="7" y="10"/>
                  </a:cubicBezTo>
                  <a:cubicBezTo>
                    <a:pt x="9" y="10"/>
                    <a:pt x="10" y="9"/>
                    <a:pt x="10" y="7"/>
                  </a:cubicBezTo>
                  <a:cubicBezTo>
                    <a:pt x="10" y="5"/>
                    <a:pt x="9" y="4"/>
                    <a:pt x="7" y="4"/>
                  </a:cubicBezTo>
                  <a:cubicBezTo>
                    <a:pt x="5" y="4"/>
                    <a:pt x="4" y="5"/>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en-US" sz="1799" noProof="0">
                <a:solidFill>
                  <a:srgbClr val="ADBECB"/>
                </a:solidFill>
                <a:ea typeface="Arial Unicode MS"/>
              </a:endParaRPr>
            </a:p>
          </p:txBody>
        </p:sp>
        <p:sp>
          <p:nvSpPr>
            <p:cNvPr id="39" name="Ellipse 68">
              <a:extLst>
                <a:ext uri="{FF2B5EF4-FFF2-40B4-BE49-F238E27FC236}">
                  <a16:creationId xmlns:a16="http://schemas.microsoft.com/office/drawing/2014/main" id="{DE49CD83-A6D1-F96F-7775-80BD65E42C84}"/>
                </a:ext>
              </a:extLst>
            </p:cNvPr>
            <p:cNvSpPr/>
            <p:nvPr/>
          </p:nvSpPr>
          <p:spPr>
            <a:xfrm>
              <a:off x="5065468" y="2583597"/>
              <a:ext cx="2412000" cy="2412000"/>
            </a:xfrm>
            <a:prstGeom prst="ellipse">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noProof="0"/>
            </a:p>
          </p:txBody>
        </p:sp>
        <p:sp>
          <p:nvSpPr>
            <p:cNvPr id="40" name="Ellipse 60">
              <a:extLst>
                <a:ext uri="{FF2B5EF4-FFF2-40B4-BE49-F238E27FC236}">
                  <a16:creationId xmlns:a16="http://schemas.microsoft.com/office/drawing/2014/main" id="{B306B899-250C-F684-AEAD-978570C262E9}"/>
                </a:ext>
              </a:extLst>
            </p:cNvPr>
            <p:cNvSpPr>
              <a:spLocks/>
            </p:cNvSpPr>
            <p:nvPr>
              <p:custDataLst>
                <p:tags r:id="rId16"/>
              </p:custDataLst>
            </p:nvPr>
          </p:nvSpPr>
          <p:spPr bwMode="gray">
            <a:xfrm>
              <a:off x="5040500" y="2548893"/>
              <a:ext cx="2469373" cy="2469364"/>
            </a:xfrm>
            <a:prstGeom prst="ellipse">
              <a:avLst/>
            </a:prstGeom>
            <a:noFill/>
            <a:ln w="76200">
              <a:solidFill>
                <a:srgbClr val="00FFB9"/>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none" anchor="ctr"/>
            <a:lstStyle/>
            <a:p>
              <a:pPr algn="ctr" fontAlgn="auto">
                <a:spcBef>
                  <a:spcPts val="0"/>
                </a:spcBef>
                <a:spcAft>
                  <a:spcPts val="0"/>
                </a:spcAft>
                <a:defRPr/>
              </a:pPr>
              <a:endParaRPr lang="en-US" sz="1799" b="1" noProof="0">
                <a:solidFill>
                  <a:srgbClr val="FFFFFF"/>
                </a:solidFill>
                <a:latin typeface="Arial"/>
              </a:endParaRPr>
            </a:p>
          </p:txBody>
        </p:sp>
      </p:grpSp>
      <p:sp>
        <p:nvSpPr>
          <p:cNvPr id="41" name="Textfeld 4">
            <a:extLst>
              <a:ext uri="{FF2B5EF4-FFF2-40B4-BE49-F238E27FC236}">
                <a16:creationId xmlns:a16="http://schemas.microsoft.com/office/drawing/2014/main" id="{D1575E90-F439-EB67-C1B1-2E70C7B64599}"/>
              </a:ext>
            </a:extLst>
          </p:cNvPr>
          <p:cNvSpPr txBox="1">
            <a:spLocks/>
          </p:cNvSpPr>
          <p:nvPr>
            <p:custDataLst>
              <p:tags r:id="rId4"/>
            </p:custDataLst>
          </p:nvPr>
        </p:nvSpPr>
        <p:spPr>
          <a:xfrm>
            <a:off x="409889" y="3334374"/>
            <a:ext cx="3146110" cy="492186"/>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600"/>
              </a:spcAft>
              <a:buClr>
                <a:srgbClr val="009999"/>
              </a:buClr>
              <a:buSzTx/>
              <a:buFontTx/>
              <a:buNone/>
              <a:tabLst/>
              <a:defRPr/>
            </a:pPr>
            <a:r>
              <a:rPr kumimoji="0" lang="en-US" sz="1599" b="1" i="0" u="none" strike="noStrike" kern="0" cap="none" spc="0" normalizeH="0" baseline="0" noProof="0">
                <a:ln>
                  <a:noFill/>
                </a:ln>
                <a:solidFill>
                  <a:srgbClr val="00C1B6"/>
                </a:solidFill>
                <a:effectLst/>
                <a:uLnTx/>
                <a:uFillTx/>
                <a:latin typeface="+mj-lt"/>
                <a:cs typeface="Arial" panose="020B0604020202020204" pitchFamily="34" charset="0"/>
              </a:rPr>
              <a:t>Enhanced alarming, e.g. alarm suppression</a:t>
            </a:r>
          </a:p>
        </p:txBody>
      </p:sp>
      <p:sp>
        <p:nvSpPr>
          <p:cNvPr id="42" name="Textfeld 4">
            <a:extLst>
              <a:ext uri="{FF2B5EF4-FFF2-40B4-BE49-F238E27FC236}">
                <a16:creationId xmlns:a16="http://schemas.microsoft.com/office/drawing/2014/main" id="{4A536D90-D5D9-6301-90AC-BDB217584126}"/>
              </a:ext>
            </a:extLst>
          </p:cNvPr>
          <p:cNvSpPr txBox="1">
            <a:spLocks/>
          </p:cNvSpPr>
          <p:nvPr>
            <p:custDataLst>
              <p:tags r:id="rId5"/>
            </p:custDataLst>
          </p:nvPr>
        </p:nvSpPr>
        <p:spPr>
          <a:xfrm>
            <a:off x="451071" y="4765644"/>
            <a:ext cx="3146110" cy="999889"/>
          </a:xfrm>
          <a:prstGeom prst="rect">
            <a:avLst/>
          </a:prstGeom>
          <a:noFill/>
        </p:spPr>
        <p:txBody>
          <a:bodyPr wrap="square" lIns="0" tIns="0" rIns="0" bIns="0">
            <a:spAutoFit/>
          </a:bodyPr>
          <a:lstStyle/>
          <a:p>
            <a:pPr lvl="0">
              <a:spcAft>
                <a:spcPts val="600"/>
              </a:spcAft>
            </a:pPr>
            <a:r>
              <a:rPr lang="en-US" sz="1599" b="1">
                <a:solidFill>
                  <a:srgbClr val="00C1B6"/>
                </a:solidFill>
                <a:latin typeface="+mj-lt"/>
                <a:cs typeface="Arial" panose="020B0604020202020204" pitchFamily="34" charset="0"/>
              </a:rPr>
              <a:t>Enhanced field device diagnostics &amp; system transparency</a:t>
            </a:r>
            <a:endParaRPr lang="en-US" sz="1599" b="1" noProof="0">
              <a:solidFill>
                <a:srgbClr val="00C1B6"/>
              </a:solidFill>
              <a:latin typeface="+mj-lt"/>
              <a:cs typeface="Arial" panose="020B0604020202020204" pitchFamily="34" charset="0"/>
            </a:endParaRPr>
          </a:p>
          <a:p>
            <a:pPr>
              <a:spcAft>
                <a:spcPts val="600"/>
              </a:spcAft>
              <a:buClr>
                <a:schemeClr val="tx1"/>
              </a:buClr>
            </a:pPr>
            <a:endParaRPr kumimoji="0" lang="en-US" sz="1200" b="0" i="0" u="none" strike="noStrike" kern="0" cap="none" spc="0" normalizeH="0" baseline="0" noProof="0">
              <a:ln>
                <a:noFill/>
              </a:ln>
              <a:solidFill>
                <a:prstClr val="white"/>
              </a:solidFill>
              <a:effectLst/>
              <a:uLnTx/>
              <a:uFillTx/>
              <a:latin typeface="+mj-lt"/>
            </a:endParaRPr>
          </a:p>
        </p:txBody>
      </p:sp>
      <p:sp>
        <p:nvSpPr>
          <p:cNvPr id="43" name="Textfeld 4">
            <a:extLst>
              <a:ext uri="{FF2B5EF4-FFF2-40B4-BE49-F238E27FC236}">
                <a16:creationId xmlns:a16="http://schemas.microsoft.com/office/drawing/2014/main" id="{19E88C79-C86D-C758-8388-6ECF0702CC44}"/>
              </a:ext>
            </a:extLst>
          </p:cNvPr>
          <p:cNvSpPr txBox="1"/>
          <p:nvPr>
            <p:custDataLst>
              <p:tags r:id="rId6"/>
            </p:custDataLst>
          </p:nvPr>
        </p:nvSpPr>
        <p:spPr>
          <a:xfrm>
            <a:off x="8641208" y="1898399"/>
            <a:ext cx="3145980" cy="246093"/>
          </a:xfrm>
          <a:prstGeom prst="rect">
            <a:avLst/>
          </a:prstGeom>
          <a:noFill/>
        </p:spPr>
        <p:txBody>
          <a:bodyPr wrap="square" lIns="0" tIns="0" rIns="0" bIns="0">
            <a:spAutoFit/>
          </a:bodyPr>
          <a:lstStyle/>
          <a:p>
            <a:pPr lvl="0">
              <a:spcAft>
                <a:spcPts val="600"/>
              </a:spcAft>
            </a:pPr>
            <a:r>
              <a:rPr lang="en-US" sz="1599" b="1" noProof="0">
                <a:solidFill>
                  <a:srgbClr val="00C1B6"/>
                </a:solidFill>
                <a:latin typeface="+mj-lt"/>
                <a:cs typeface="Arial" panose="020B0604020202020204" pitchFamily="34" charset="0"/>
              </a:rPr>
              <a:t>Telecontrol</a:t>
            </a:r>
            <a:endParaRPr lang="en-US" sz="1200" noProof="0">
              <a:solidFill>
                <a:schemeClr val="tx1"/>
              </a:solidFill>
              <a:latin typeface="+mj-lt"/>
            </a:endParaRPr>
          </a:p>
        </p:txBody>
      </p:sp>
      <p:sp>
        <p:nvSpPr>
          <p:cNvPr id="44" name="Textfeld 4">
            <a:extLst>
              <a:ext uri="{FF2B5EF4-FFF2-40B4-BE49-F238E27FC236}">
                <a16:creationId xmlns:a16="http://schemas.microsoft.com/office/drawing/2014/main" id="{4E93C417-EE18-0E0E-CE7E-F45503F0BB6B}"/>
              </a:ext>
            </a:extLst>
          </p:cNvPr>
          <p:cNvSpPr txBox="1"/>
          <p:nvPr>
            <p:custDataLst>
              <p:tags r:id="rId7"/>
            </p:custDataLst>
          </p:nvPr>
        </p:nvSpPr>
        <p:spPr>
          <a:xfrm>
            <a:off x="8641208" y="3376910"/>
            <a:ext cx="3145980" cy="492443"/>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600"/>
              </a:spcAft>
              <a:buClr>
                <a:srgbClr val="009999"/>
              </a:buClr>
              <a:buSzTx/>
              <a:buFontTx/>
              <a:buNone/>
              <a:tabLst/>
              <a:defRPr/>
            </a:pPr>
            <a:r>
              <a:rPr kumimoji="0" lang="en-US" sz="1600" b="1" i="0" u="none" strike="noStrike" kern="0" cap="none" spc="0" normalizeH="0" baseline="0" noProof="0">
                <a:ln>
                  <a:noFill/>
                </a:ln>
                <a:solidFill>
                  <a:srgbClr val="00C1B6"/>
                </a:solidFill>
                <a:effectLst/>
                <a:uLnTx/>
                <a:uFillTx/>
                <a:latin typeface="+mj-lt"/>
                <a:cs typeface="Arial" panose="020B0604020202020204" pitchFamily="34" charset="0"/>
              </a:rPr>
              <a:t>Object type editor including UI simulation</a:t>
            </a:r>
          </a:p>
        </p:txBody>
      </p:sp>
      <p:sp>
        <p:nvSpPr>
          <p:cNvPr id="46" name="Textfeld 4">
            <a:extLst>
              <a:ext uri="{FF2B5EF4-FFF2-40B4-BE49-F238E27FC236}">
                <a16:creationId xmlns:a16="http://schemas.microsoft.com/office/drawing/2014/main" id="{EF5592AB-4FF1-EDD9-0A0F-6A2F43A9E506}"/>
              </a:ext>
            </a:extLst>
          </p:cNvPr>
          <p:cNvSpPr txBox="1">
            <a:spLocks/>
          </p:cNvSpPr>
          <p:nvPr>
            <p:custDataLst>
              <p:tags r:id="rId8"/>
            </p:custDataLst>
          </p:nvPr>
        </p:nvSpPr>
        <p:spPr>
          <a:xfrm>
            <a:off x="409890" y="1869744"/>
            <a:ext cx="3146110" cy="553998"/>
          </a:xfrm>
          <a:prstGeom prst="rect">
            <a:avLst/>
          </a:prstGeom>
          <a:noFill/>
        </p:spPr>
        <p:txBody>
          <a:bodyPr wrap="square" lIns="0" tIns="0" rIns="0" bIns="0" anchor="t">
            <a:spAutoFit/>
          </a:bodyPr>
          <a:lstStyle/>
          <a:p>
            <a:pPr>
              <a:spcAft>
                <a:spcPts val="600"/>
              </a:spcAft>
            </a:pPr>
            <a:r>
              <a:rPr lang="en-US" sz="1550" b="1" noProof="0">
                <a:solidFill>
                  <a:srgbClr val="00C1B6"/>
                </a:solidFill>
                <a:latin typeface="+mj-lt"/>
                <a:cs typeface="Arial"/>
              </a:rPr>
              <a:t>Process Safety according to </a:t>
            </a:r>
            <a:endParaRPr lang="de-DE" sz="1550">
              <a:cs typeface="Arial"/>
            </a:endParaRPr>
          </a:p>
          <a:p>
            <a:pPr lvl="0">
              <a:spcAft>
                <a:spcPts val="600"/>
              </a:spcAft>
            </a:pPr>
            <a:r>
              <a:rPr lang="en-US" sz="1550" b="1" noProof="0">
                <a:solidFill>
                  <a:srgbClr val="00C1B6"/>
                </a:solidFill>
                <a:latin typeface="+mj-lt"/>
                <a:cs typeface="Arial"/>
              </a:rPr>
              <a:t>IEC 61508 &amp; IEC 61511</a:t>
            </a:r>
            <a:endParaRPr lang="en-US" sz="1550">
              <a:cs typeface="Arial"/>
            </a:endParaRPr>
          </a:p>
        </p:txBody>
      </p:sp>
      <p:cxnSp>
        <p:nvCxnSpPr>
          <p:cNvPr id="47" name="Verbinder: gewinkelt 19">
            <a:extLst>
              <a:ext uri="{FF2B5EF4-FFF2-40B4-BE49-F238E27FC236}">
                <a16:creationId xmlns:a16="http://schemas.microsoft.com/office/drawing/2014/main" id="{962ABFD0-B6AD-F288-26FE-BD2162A4846F}"/>
              </a:ext>
            </a:extLst>
          </p:cNvPr>
          <p:cNvCxnSpPr>
            <a:cxnSpLocks/>
            <a:stCxn id="5" idx="3"/>
          </p:cNvCxnSpPr>
          <p:nvPr/>
        </p:nvCxnSpPr>
        <p:spPr>
          <a:xfrm>
            <a:off x="3768801" y="2034473"/>
            <a:ext cx="1411949" cy="876050"/>
          </a:xfrm>
          <a:prstGeom prst="bentConnector2">
            <a:avLst/>
          </a:prstGeom>
          <a:ln w="19050" cap="rnd">
            <a:solidFill>
              <a:schemeClr val="tx1"/>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48" name="Rechteck 17">
            <a:extLst>
              <a:ext uri="{FF2B5EF4-FFF2-40B4-BE49-F238E27FC236}">
                <a16:creationId xmlns:a16="http://schemas.microsoft.com/office/drawing/2014/main" id="{CA445D1A-656D-D3DB-6887-E4C858B9BBC8}"/>
              </a:ext>
            </a:extLst>
          </p:cNvPr>
          <p:cNvSpPr>
            <a:spLocks/>
          </p:cNvSpPr>
          <p:nvPr>
            <p:custDataLst>
              <p:tags r:id="rId9"/>
            </p:custDataLst>
          </p:nvPr>
        </p:nvSpPr>
        <p:spPr>
          <a:xfrm>
            <a:off x="8372865" y="1404473"/>
            <a:ext cx="45719" cy="12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spcAft>
                <a:spcPts val="300"/>
              </a:spcAft>
            </a:pPr>
            <a:endParaRPr lang="en-US" sz="1200" noProof="0"/>
          </a:p>
        </p:txBody>
      </p:sp>
      <p:sp>
        <p:nvSpPr>
          <p:cNvPr id="49" name="Rechteck 25">
            <a:extLst>
              <a:ext uri="{FF2B5EF4-FFF2-40B4-BE49-F238E27FC236}">
                <a16:creationId xmlns:a16="http://schemas.microsoft.com/office/drawing/2014/main" id="{33C92D19-01E4-9BF3-98E8-2375B08D0C04}"/>
              </a:ext>
            </a:extLst>
          </p:cNvPr>
          <p:cNvSpPr>
            <a:spLocks/>
          </p:cNvSpPr>
          <p:nvPr>
            <p:custDataLst>
              <p:tags r:id="rId10"/>
            </p:custDataLst>
          </p:nvPr>
        </p:nvSpPr>
        <p:spPr>
          <a:xfrm>
            <a:off x="8373220" y="4513617"/>
            <a:ext cx="46800" cy="12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spcAft>
                <a:spcPts val="300"/>
              </a:spcAft>
            </a:pPr>
            <a:endParaRPr lang="en-US" sz="1200" noProof="0"/>
          </a:p>
        </p:txBody>
      </p:sp>
      <p:sp>
        <p:nvSpPr>
          <p:cNvPr id="50" name="Rechteck 49">
            <a:extLst>
              <a:ext uri="{FF2B5EF4-FFF2-40B4-BE49-F238E27FC236}">
                <a16:creationId xmlns:a16="http://schemas.microsoft.com/office/drawing/2014/main" id="{1841EDE8-71FB-02BD-21D8-67B00E5A5C5B}"/>
              </a:ext>
            </a:extLst>
          </p:cNvPr>
          <p:cNvSpPr>
            <a:spLocks/>
          </p:cNvSpPr>
          <p:nvPr>
            <p:custDataLst>
              <p:tags r:id="rId11"/>
            </p:custDataLst>
          </p:nvPr>
        </p:nvSpPr>
        <p:spPr>
          <a:xfrm>
            <a:off x="8372865" y="2959045"/>
            <a:ext cx="45719" cy="12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spcAft>
                <a:spcPts val="300"/>
              </a:spcAft>
            </a:pPr>
            <a:endParaRPr lang="en-US" sz="1200" noProof="0"/>
          </a:p>
        </p:txBody>
      </p:sp>
      <p:cxnSp>
        <p:nvCxnSpPr>
          <p:cNvPr id="51" name="Verbinder: gewinkelt 19">
            <a:extLst>
              <a:ext uri="{FF2B5EF4-FFF2-40B4-BE49-F238E27FC236}">
                <a16:creationId xmlns:a16="http://schemas.microsoft.com/office/drawing/2014/main" id="{9DFE98A9-E1B4-EAC9-F329-8C224C562C35}"/>
              </a:ext>
            </a:extLst>
          </p:cNvPr>
          <p:cNvCxnSpPr>
            <a:cxnSpLocks/>
          </p:cNvCxnSpPr>
          <p:nvPr/>
        </p:nvCxnSpPr>
        <p:spPr>
          <a:xfrm flipV="1">
            <a:off x="3814936" y="3783575"/>
            <a:ext cx="1004183" cy="112431"/>
          </a:xfrm>
          <a:prstGeom prst="bentConnector3">
            <a:avLst>
              <a:gd name="adj1" fmla="val 50000"/>
            </a:avLst>
          </a:prstGeom>
          <a:ln w="19050" cap="rnd">
            <a:solidFill>
              <a:schemeClr val="tx1"/>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52" name="Verbinder: gewinkelt 19">
            <a:extLst>
              <a:ext uri="{FF2B5EF4-FFF2-40B4-BE49-F238E27FC236}">
                <a16:creationId xmlns:a16="http://schemas.microsoft.com/office/drawing/2014/main" id="{87A47717-4137-6247-70E3-E4405EFEDF8D}"/>
              </a:ext>
            </a:extLst>
          </p:cNvPr>
          <p:cNvCxnSpPr>
            <a:cxnSpLocks/>
            <a:stCxn id="6" idx="3"/>
          </p:cNvCxnSpPr>
          <p:nvPr>
            <p:custDataLst>
              <p:tags r:id="rId12"/>
            </p:custDataLst>
          </p:nvPr>
        </p:nvCxnSpPr>
        <p:spPr>
          <a:xfrm flipV="1">
            <a:off x="3770237" y="4656627"/>
            <a:ext cx="1410513" cy="486990"/>
          </a:xfrm>
          <a:prstGeom prst="bentConnector2">
            <a:avLst/>
          </a:prstGeom>
          <a:ln w="19050" cap="rnd">
            <a:solidFill>
              <a:schemeClr val="tx1"/>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53" name="Verbinder: gewinkelt 19">
            <a:extLst>
              <a:ext uri="{FF2B5EF4-FFF2-40B4-BE49-F238E27FC236}">
                <a16:creationId xmlns:a16="http://schemas.microsoft.com/office/drawing/2014/main" id="{3583DDBF-00DF-6A67-9E9A-C036CCD99EBF}"/>
              </a:ext>
            </a:extLst>
          </p:cNvPr>
          <p:cNvCxnSpPr>
            <a:cxnSpLocks/>
            <a:stCxn id="48" idx="1"/>
          </p:cNvCxnSpPr>
          <p:nvPr/>
        </p:nvCxnSpPr>
        <p:spPr>
          <a:xfrm rot="10800000" flipV="1">
            <a:off x="6926861" y="2034473"/>
            <a:ext cx="1446004" cy="876050"/>
          </a:xfrm>
          <a:prstGeom prst="bentConnector2">
            <a:avLst/>
          </a:prstGeom>
          <a:ln w="19050" cap="rnd">
            <a:solidFill>
              <a:schemeClr val="tx1"/>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54" name="Verbinder: gewinkelt 19">
            <a:extLst>
              <a:ext uri="{FF2B5EF4-FFF2-40B4-BE49-F238E27FC236}">
                <a16:creationId xmlns:a16="http://schemas.microsoft.com/office/drawing/2014/main" id="{4CB7B00A-F7EE-A88F-0DF7-A93D5B8300C0}"/>
              </a:ext>
            </a:extLst>
          </p:cNvPr>
          <p:cNvCxnSpPr>
            <a:cxnSpLocks/>
            <a:stCxn id="49" idx="1"/>
          </p:cNvCxnSpPr>
          <p:nvPr>
            <p:custDataLst>
              <p:tags r:id="rId13"/>
            </p:custDataLst>
          </p:nvPr>
        </p:nvCxnSpPr>
        <p:spPr>
          <a:xfrm rot="10800000">
            <a:off x="6926862" y="4656627"/>
            <a:ext cx="1446359" cy="486990"/>
          </a:xfrm>
          <a:prstGeom prst="bentConnector2">
            <a:avLst/>
          </a:prstGeom>
          <a:ln w="19050" cap="rnd">
            <a:solidFill>
              <a:schemeClr val="tx1"/>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55" name="Verbinder: gewinkelt 19">
            <a:extLst>
              <a:ext uri="{FF2B5EF4-FFF2-40B4-BE49-F238E27FC236}">
                <a16:creationId xmlns:a16="http://schemas.microsoft.com/office/drawing/2014/main" id="{8018DA26-D7D7-ACF2-DB0A-287F5E7CC5F3}"/>
              </a:ext>
            </a:extLst>
          </p:cNvPr>
          <p:cNvCxnSpPr>
            <a:cxnSpLocks/>
            <a:stCxn id="50" idx="1"/>
          </p:cNvCxnSpPr>
          <p:nvPr/>
        </p:nvCxnSpPr>
        <p:spPr>
          <a:xfrm rot="10800000" flipV="1">
            <a:off x="7288493" y="3589045"/>
            <a:ext cx="1084373" cy="194530"/>
          </a:xfrm>
          <a:prstGeom prst="bentConnector3">
            <a:avLst>
              <a:gd name="adj1" fmla="val 50000"/>
            </a:avLst>
          </a:prstGeom>
          <a:ln w="19050" cap="rnd">
            <a:solidFill>
              <a:schemeClr val="tx1"/>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430090CF-F958-5E3E-2F02-099330F5CC3D}"/>
              </a:ext>
            </a:extLst>
          </p:cNvPr>
          <p:cNvPicPr>
            <a:picLocks noChangeAspect="1"/>
          </p:cNvPicPr>
          <p:nvPr>
            <p:custDataLst>
              <p:tags r:id="rId14"/>
            </p:custDataLst>
          </p:nvPr>
        </p:nvPicPr>
        <p:blipFill>
          <a:blip r:embed="rId20">
            <a:extLst>
              <a:ext uri="{BEBA8EAE-BF5A-486C-A8C5-ECC9F3942E4B}">
                <a14:imgProps xmlns:a14="http://schemas.microsoft.com/office/drawing/2010/main">
                  <a14:imgLayer r:embed="rId21">
                    <a14:imgEffect>
                      <a14:brightnessContrast bright="-30000"/>
                    </a14:imgEffect>
                  </a14:imgLayer>
                </a14:imgProps>
              </a:ext>
            </a:extLst>
          </a:blip>
          <a:stretch>
            <a:fillRect/>
          </a:stretch>
        </p:blipFill>
        <p:spPr>
          <a:xfrm>
            <a:off x="4918185" y="2651609"/>
            <a:ext cx="2281048" cy="2254979"/>
          </a:xfrm>
          <a:prstGeom prst="rect">
            <a:avLst/>
          </a:prstGeom>
        </p:spPr>
      </p:pic>
      <p:sp>
        <p:nvSpPr>
          <p:cNvPr id="57" name="TextBox 56">
            <a:extLst>
              <a:ext uri="{FF2B5EF4-FFF2-40B4-BE49-F238E27FC236}">
                <a16:creationId xmlns:a16="http://schemas.microsoft.com/office/drawing/2014/main" id="{F424CC3B-00D4-C9BC-1996-51B21C546744}"/>
              </a:ext>
            </a:extLst>
          </p:cNvPr>
          <p:cNvSpPr txBox="1">
            <a:spLocks/>
          </p:cNvSpPr>
          <p:nvPr/>
        </p:nvSpPr>
        <p:spPr>
          <a:xfrm>
            <a:off x="5528837" y="3406164"/>
            <a:ext cx="1059744"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a:defRPr sz="4800" b="1">
                <a:solidFill>
                  <a:schemeClr val="tx1"/>
                </a:solidFill>
              </a:defRPr>
            </a:lvl1pPr>
          </a:lstStyle>
          <a:p>
            <a:r>
              <a:rPr lang="en-US" noProof="0"/>
              <a:t>V6</a:t>
            </a:r>
          </a:p>
        </p:txBody>
      </p:sp>
      <p:sp>
        <p:nvSpPr>
          <p:cNvPr id="58" name="Textfeld 4">
            <a:extLst>
              <a:ext uri="{FF2B5EF4-FFF2-40B4-BE49-F238E27FC236}">
                <a16:creationId xmlns:a16="http://schemas.microsoft.com/office/drawing/2014/main" id="{FB3388EB-C4B5-4909-30D6-7D7B2D5764B9}"/>
              </a:ext>
            </a:extLst>
          </p:cNvPr>
          <p:cNvSpPr txBox="1"/>
          <p:nvPr>
            <p:custDataLst>
              <p:tags r:id="rId15"/>
            </p:custDataLst>
          </p:nvPr>
        </p:nvSpPr>
        <p:spPr>
          <a:xfrm>
            <a:off x="8636130" y="4988400"/>
            <a:ext cx="3145980" cy="246093"/>
          </a:xfrm>
          <a:prstGeom prst="rect">
            <a:avLst/>
          </a:prstGeom>
          <a:noFill/>
        </p:spPr>
        <p:txBody>
          <a:bodyPr wrap="square" lIns="0" tIns="0" rIns="0" bIns="0">
            <a:spAutoFit/>
          </a:bodyPr>
          <a:lstStyle/>
          <a:p>
            <a:pPr lvl="0">
              <a:spcAft>
                <a:spcPts val="600"/>
              </a:spcAft>
            </a:pPr>
            <a:r>
              <a:rPr lang="en-US" sz="1599" b="1" noProof="0">
                <a:solidFill>
                  <a:srgbClr val="00C1B6"/>
                </a:solidFill>
                <a:latin typeface="+mj-lt"/>
                <a:cs typeface="Arial" panose="020B0604020202020204" pitchFamily="34" charset="0"/>
              </a:rPr>
              <a:t>PROFIBUS Configuration in Run</a:t>
            </a:r>
            <a:endParaRPr lang="en-US" sz="1200" noProof="0">
              <a:solidFill>
                <a:schemeClr val="tx1"/>
              </a:solidFill>
              <a:latin typeface="+mj-lt"/>
            </a:endParaRPr>
          </a:p>
        </p:txBody>
      </p:sp>
      <p:pic>
        <p:nvPicPr>
          <p:cNvPr id="59" name="Grafik 58" descr="Ein Bild, das Symbol, Logo, Markenzeichen, Schild enthält.&#10;&#10;KI-generierte Inhalte können fehlerhaft sein.">
            <a:extLst>
              <a:ext uri="{FF2B5EF4-FFF2-40B4-BE49-F238E27FC236}">
                <a16:creationId xmlns:a16="http://schemas.microsoft.com/office/drawing/2014/main" id="{8DE50B34-5FB4-B957-7914-BEB8515EE15F}"/>
              </a:ext>
            </a:extLst>
          </p:cNvPr>
          <p:cNvPicPr>
            <a:picLocks noChangeAspect="1"/>
          </p:cNvPicPr>
          <p:nvPr/>
        </p:nvPicPr>
        <p:blipFill>
          <a:blip r:embed="rId22"/>
          <a:stretch>
            <a:fillRect/>
          </a:stretch>
        </p:blipFill>
        <p:spPr>
          <a:xfrm rot="1707696">
            <a:off x="2620348" y="2110036"/>
            <a:ext cx="725601" cy="725601"/>
          </a:xfrm>
          <a:prstGeom prst="rect">
            <a:avLst/>
          </a:prstGeom>
        </p:spPr>
      </p:pic>
    </p:spTree>
    <p:extLst>
      <p:ext uri="{BB962C8B-B14F-4D97-AF65-F5344CB8AC3E}">
        <p14:creationId xmlns:p14="http://schemas.microsoft.com/office/powerpoint/2010/main" val="897867507"/>
      </p:ext>
    </p:extLst>
  </p:cSld>
  <p:clrMapOvr>
    <a:masterClrMapping/>
  </p:clrMapOvr>
  <p:extLst>
    <p:ext uri="{6950BFC3-D8DA-4A85-94F7-54DA5524770B}">
      <p188:commentRel xmlns:p188="http://schemas.microsoft.com/office/powerpoint/2018/8/main" r:id="rId19"/>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CBFD4-FE1D-FC6C-ABB6-0C88B812128B}"/>
            </a:ext>
          </a:extLst>
        </p:cNvPr>
        <p:cNvGrpSpPr/>
        <p:nvPr/>
      </p:nvGrpSpPr>
      <p:grpSpPr>
        <a:xfrm>
          <a:off x="0" y="0"/>
          <a:ext cx="0" cy="0"/>
          <a:chOff x="0" y="0"/>
          <a:chExt cx="0" cy="0"/>
        </a:xfrm>
      </p:grpSpPr>
      <p:pic>
        <p:nvPicPr>
          <p:cNvPr id="8" name="Grafik 7">
            <a:extLst>
              <a:ext uri="{FF2B5EF4-FFF2-40B4-BE49-F238E27FC236}">
                <a16:creationId xmlns:a16="http://schemas.microsoft.com/office/drawing/2014/main" id="{E66EF34A-4784-BB4E-F48F-1BAC31AF33C5}"/>
              </a:ext>
            </a:extLst>
          </p:cNvPr>
          <p:cNvPicPr>
            <a:picLocks noChangeAspect="1"/>
          </p:cNvPicPr>
          <p:nvPr/>
        </p:nvPicPr>
        <p:blipFill>
          <a:blip r:embed="rId4"/>
          <a:srcRect l="24296" r="21754"/>
          <a:stretch/>
        </p:blipFill>
        <p:spPr>
          <a:xfrm>
            <a:off x="0" y="0"/>
            <a:ext cx="5864721" cy="6167438"/>
          </a:xfrm>
          <a:prstGeom prst="rect">
            <a:avLst/>
          </a:prstGeom>
        </p:spPr>
      </p:pic>
      <p:graphicFrame>
        <p:nvGraphicFramePr>
          <p:cNvPr id="52" name="think-cell data - do not delete" hidden="1">
            <a:extLst>
              <a:ext uri="{FF2B5EF4-FFF2-40B4-BE49-F238E27FC236}">
                <a16:creationId xmlns:a16="http://schemas.microsoft.com/office/drawing/2014/main" id="{D8D219AE-3121-8E4F-3B6D-CD61B6CBA918}"/>
              </a:ext>
            </a:extLst>
          </p:cNvPr>
          <p:cNvGraphicFramePr>
            <a:graphicFrameLocks noChangeAspect="1"/>
          </p:cNvGraphicFramePr>
          <p:nvPr>
            <p:custDataLst>
              <p:tags r:id="rId1"/>
            </p:custDataLst>
            <p:extLst>
              <p:ext uri="{D42A27DB-BD31-4B8C-83A1-F6EECF244321}">
                <p14:modId xmlns:p14="http://schemas.microsoft.com/office/powerpoint/2010/main" val="134058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52" name="think-cell data - do not delete" hidden="1">
                        <a:extLst>
                          <a:ext uri="{FF2B5EF4-FFF2-40B4-BE49-F238E27FC236}">
                            <a16:creationId xmlns:a16="http://schemas.microsoft.com/office/drawing/2014/main" id="{D8D219AE-3121-8E4F-3B6D-CD61B6CBA9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31D83BC4-5B13-ED2E-37AF-A053813F4AE5}"/>
              </a:ext>
            </a:extLst>
          </p:cNvPr>
          <p:cNvSpPr/>
          <p:nvPr/>
        </p:nvSpPr>
        <p:spPr>
          <a:xfrm>
            <a:off x="-17702" y="0"/>
            <a:ext cx="6010275" cy="6238875"/>
          </a:xfrm>
          <a:prstGeom prst="rect">
            <a:avLst/>
          </a:prstGeom>
          <a:solidFill>
            <a:schemeClr val="bg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 name="Footer Placeholder 2">
            <a:extLst>
              <a:ext uri="{FF2B5EF4-FFF2-40B4-BE49-F238E27FC236}">
                <a16:creationId xmlns:a16="http://schemas.microsoft.com/office/drawing/2014/main" id="{C80B8AD1-A3BD-33D3-2209-26452A3CFBFF}"/>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31" name="Rechteck 8">
            <a:extLst>
              <a:ext uri="{FF2B5EF4-FFF2-40B4-BE49-F238E27FC236}">
                <a16:creationId xmlns:a16="http://schemas.microsoft.com/office/drawing/2014/main" id="{75AB12DB-714D-0A04-79F4-E98F2710B266}"/>
              </a:ext>
            </a:extLst>
          </p:cNvPr>
          <p:cNvSpPr>
            <a:spLocks/>
          </p:cNvSpPr>
          <p:nvPr/>
        </p:nvSpPr>
        <p:spPr>
          <a:xfrm>
            <a:off x="6315075" y="1545484"/>
            <a:ext cx="5132774" cy="10002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171450" indent="-171450" algn="l">
              <a:spcAft>
                <a:spcPts val="300"/>
              </a:spcAft>
              <a:buClr>
                <a:schemeClr val="tx1"/>
              </a:buClr>
              <a:buFont typeface="Arial" panose="020B0604020202020204" pitchFamily="34" charset="0"/>
              <a:buChar char="•"/>
              <a:defRPr/>
            </a:pPr>
            <a:r>
              <a:rPr lang="en-US" sz="1600" kern="1200">
                <a:solidFill>
                  <a:prstClr val="white"/>
                </a:solidFill>
                <a:ea typeface="+mn-lt"/>
                <a:cs typeface="+mn-lt"/>
              </a:rPr>
              <a:t>SIMATIC PCS neo enables </a:t>
            </a:r>
            <a:r>
              <a:rPr lang="en-US" sz="1600" b="1" kern="1200">
                <a:solidFill>
                  <a:prstClr val="white"/>
                </a:solidFill>
                <a:ea typeface="+mn-lt"/>
                <a:cs typeface="+mn-lt"/>
              </a:rPr>
              <a:t>modular automation </a:t>
            </a:r>
            <a:r>
              <a:rPr lang="en-US" sz="1600" kern="1200">
                <a:solidFill>
                  <a:prstClr val="white"/>
                </a:solidFill>
                <a:ea typeface="+mn-lt"/>
                <a:cs typeface="+mn-lt"/>
              </a:rPr>
              <a:t>with </a:t>
            </a:r>
            <a:r>
              <a:rPr lang="en-US" sz="1600" b="1" kern="1200">
                <a:solidFill>
                  <a:prstClr val="white"/>
                </a:solidFill>
                <a:ea typeface="+mn-lt"/>
                <a:cs typeface="+mn-lt"/>
              </a:rPr>
              <a:t>easy integration of new plant modules </a:t>
            </a:r>
            <a:r>
              <a:rPr lang="en-US" sz="1600" kern="1200">
                <a:solidFill>
                  <a:prstClr val="white"/>
                </a:solidFill>
                <a:ea typeface="+mn-lt"/>
                <a:cs typeface="+mn-lt"/>
              </a:rPr>
              <a:t>and </a:t>
            </a:r>
            <a:r>
              <a:rPr lang="en-US" sz="1600" b="1" kern="1200">
                <a:solidFill>
                  <a:prstClr val="white"/>
                </a:solidFill>
                <a:ea typeface="+mn-lt"/>
                <a:cs typeface="+mn-lt"/>
              </a:rPr>
              <a:t>web-based</a:t>
            </a:r>
            <a:r>
              <a:rPr lang="en-US" sz="1600" kern="1200">
                <a:solidFill>
                  <a:prstClr val="white"/>
                </a:solidFill>
                <a:ea typeface="+mn-lt"/>
                <a:cs typeface="+mn-lt"/>
              </a:rPr>
              <a:t> operation — ideal for remote access and flexible control</a:t>
            </a:r>
          </a:p>
          <a:p>
            <a:pPr marL="171450" indent="-171450" algn="l">
              <a:spcAft>
                <a:spcPts val="300"/>
              </a:spcAft>
              <a:buClr>
                <a:schemeClr val="tx1"/>
              </a:buClr>
              <a:buFont typeface="Arial" panose="020B0604020202020204" pitchFamily="34" charset="0"/>
              <a:buChar char="•"/>
              <a:defRPr/>
            </a:pPr>
            <a:r>
              <a:rPr lang="en-US" sz="1600" kern="1200">
                <a:solidFill>
                  <a:prstClr val="white"/>
                </a:solidFill>
                <a:ea typeface="+mn-lt"/>
                <a:cs typeface="+mn-lt"/>
              </a:rPr>
              <a:t>Intuitive interface and web platform </a:t>
            </a:r>
            <a:r>
              <a:rPr lang="en-US" sz="1600" b="1" kern="1200">
                <a:solidFill>
                  <a:prstClr val="white"/>
                </a:solidFill>
                <a:ea typeface="+mn-lt"/>
                <a:cs typeface="+mn-lt"/>
              </a:rPr>
              <a:t>reduce training time and staffing needs</a:t>
            </a:r>
            <a:r>
              <a:rPr lang="en-US" sz="1600" kern="1200">
                <a:solidFill>
                  <a:prstClr val="white"/>
                </a:solidFill>
                <a:ea typeface="+mn-lt"/>
                <a:cs typeface="+mn-lt"/>
              </a:rPr>
              <a:t> for operation and support</a:t>
            </a:r>
          </a:p>
          <a:p>
            <a:pPr marL="171450" indent="-171450" algn="l">
              <a:spcAft>
                <a:spcPts val="300"/>
              </a:spcAft>
              <a:buClr>
                <a:schemeClr val="tx1"/>
              </a:buClr>
              <a:buFont typeface="Arial" panose="020B0604020202020204" pitchFamily="34" charset="0"/>
              <a:buChar char="•"/>
              <a:defRPr/>
            </a:pPr>
            <a:r>
              <a:rPr lang="en-US" sz="1600" b="1" kern="1200">
                <a:solidFill>
                  <a:prstClr val="white"/>
                </a:solidFill>
                <a:ea typeface="+mn-lt"/>
                <a:cs typeface="+mn-lt"/>
              </a:rPr>
              <a:t>Scalability</a:t>
            </a:r>
            <a:r>
              <a:rPr lang="en-US" sz="1600" kern="1200">
                <a:solidFill>
                  <a:prstClr val="white"/>
                </a:solidFill>
                <a:ea typeface="+mn-lt"/>
                <a:cs typeface="+mn-lt"/>
              </a:rPr>
              <a:t> supports sustainable pyrolysis processes converting used tires into high-value secondary raw materials</a:t>
            </a:r>
          </a:p>
        </p:txBody>
      </p:sp>
      <p:sp>
        <p:nvSpPr>
          <p:cNvPr id="32" name="TextBox 31">
            <a:extLst>
              <a:ext uri="{FF2B5EF4-FFF2-40B4-BE49-F238E27FC236}">
                <a16:creationId xmlns:a16="http://schemas.microsoft.com/office/drawing/2014/main" id="{9AC8694D-1428-24A3-0B5F-61821081EEEE}"/>
              </a:ext>
            </a:extLst>
          </p:cNvPr>
          <p:cNvSpPr txBox="1"/>
          <p:nvPr/>
        </p:nvSpPr>
        <p:spPr>
          <a:xfrm>
            <a:off x="6315075" y="5156009"/>
            <a:ext cx="5252811"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i="1">
                <a:solidFill>
                  <a:schemeClr val="tx1"/>
                </a:solidFill>
              </a:rPr>
              <a:t>When we learned that SIMATIC PCS neo is web-based and that the system supports modularization of our plant, it was clear: this is the one, and nothing else.</a:t>
            </a:r>
          </a:p>
        </p:txBody>
      </p:sp>
      <p:sp>
        <p:nvSpPr>
          <p:cNvPr id="35" name="Quote marks">
            <a:extLst>
              <a:ext uri="{FF2B5EF4-FFF2-40B4-BE49-F238E27FC236}">
                <a16:creationId xmlns:a16="http://schemas.microsoft.com/office/drawing/2014/main" id="{244E8DD8-3C9E-C58D-8ADC-C97508D9CEE1}"/>
              </a:ext>
              <a:ext uri="{C183D7F6-B498-43B3-948B-1728B52AA6E4}">
                <adec:decorative xmlns:adec="http://schemas.microsoft.com/office/drawing/2017/decorative" val="1"/>
              </a:ext>
            </a:extLst>
          </p:cNvPr>
          <p:cNvSpPr/>
          <p:nvPr/>
        </p:nvSpPr>
        <p:spPr bwMode="ltGray">
          <a:xfrm>
            <a:off x="6315075" y="4276002"/>
            <a:ext cx="651782" cy="464989"/>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rgbClr val="00C1B6"/>
          </a:solidFill>
          <a:ln w="61580" cap="flat">
            <a:noFill/>
            <a:prstDash val="solid"/>
            <a:miter/>
          </a:ln>
        </p:spPr>
        <p:txBody>
          <a:bodyPr rtlCol="0" anchor="ctr"/>
          <a:lstStyle/>
          <a:p>
            <a:endParaRPr lang="en-US"/>
          </a:p>
        </p:txBody>
      </p:sp>
      <p:cxnSp>
        <p:nvCxnSpPr>
          <p:cNvPr id="42" name="Straight Connector 41">
            <a:extLst>
              <a:ext uri="{FF2B5EF4-FFF2-40B4-BE49-F238E27FC236}">
                <a16:creationId xmlns:a16="http://schemas.microsoft.com/office/drawing/2014/main" id="{74F923A9-3F45-809E-CEB7-5E2888C1F9C3}"/>
              </a:ext>
            </a:extLst>
          </p:cNvPr>
          <p:cNvCxnSpPr>
            <a:cxnSpLocks/>
          </p:cNvCxnSpPr>
          <p:nvPr/>
        </p:nvCxnSpPr>
        <p:spPr>
          <a:xfrm flipH="1">
            <a:off x="6315075" y="4851626"/>
            <a:ext cx="5472113"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4" name="Title 44">
            <a:extLst>
              <a:ext uri="{FF2B5EF4-FFF2-40B4-BE49-F238E27FC236}">
                <a16:creationId xmlns:a16="http://schemas.microsoft.com/office/drawing/2014/main" id="{C7BAE991-5719-A1A7-2488-88435372A136}"/>
              </a:ext>
            </a:extLst>
          </p:cNvPr>
          <p:cNvSpPr txBox="1">
            <a:spLocks/>
          </p:cNvSpPr>
          <p:nvPr/>
        </p:nvSpPr>
        <p:spPr bwMode="black">
          <a:xfrm>
            <a:off x="6315075" y="478800"/>
            <a:ext cx="5472114" cy="576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spcBef>
                <a:spcPts val="1000"/>
              </a:spcBef>
              <a:buClrTx/>
              <a:defRPr/>
            </a:pPr>
            <a:r>
              <a:rPr lang="en-US">
                <a:solidFill>
                  <a:prstClr val="white"/>
                </a:solidFill>
                <a:cs typeface="Arial"/>
              </a:rPr>
              <a:t>Intelligent automation to support a revolutionary recycling process </a:t>
            </a:r>
            <a:br>
              <a:rPr lang="en-US">
                <a:solidFill>
                  <a:prstClr val="white"/>
                </a:solidFill>
                <a:cs typeface="Arial"/>
              </a:rPr>
            </a:br>
            <a:r>
              <a:rPr lang="en-US">
                <a:solidFill>
                  <a:prstClr val="white"/>
                </a:solidFill>
                <a:cs typeface="Arial"/>
              </a:rPr>
              <a:t>and reduce waste</a:t>
            </a:r>
          </a:p>
        </p:txBody>
      </p:sp>
      <p:sp>
        <p:nvSpPr>
          <p:cNvPr id="55" name="Title 44">
            <a:extLst>
              <a:ext uri="{FF2B5EF4-FFF2-40B4-BE49-F238E27FC236}">
                <a16:creationId xmlns:a16="http://schemas.microsoft.com/office/drawing/2014/main" id="{97EB374D-8C83-BA9E-55D6-021D85564B62}"/>
              </a:ext>
            </a:extLst>
          </p:cNvPr>
          <p:cNvSpPr txBox="1">
            <a:spLocks/>
          </p:cNvSpPr>
          <p:nvPr/>
        </p:nvSpPr>
        <p:spPr bwMode="black">
          <a:xfrm>
            <a:off x="6315075" y="273067"/>
            <a:ext cx="5472114" cy="1661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spcBef>
                <a:spcPts val="1000"/>
              </a:spcBef>
              <a:buClrTx/>
              <a:defRPr/>
            </a:pPr>
            <a:r>
              <a:rPr lang="en-US" sz="1200" err="1">
                <a:solidFill>
                  <a:srgbClr val="00C1B6"/>
                </a:solidFill>
                <a:cs typeface="Arial"/>
              </a:rPr>
              <a:t>Pyrum</a:t>
            </a:r>
            <a:r>
              <a:rPr lang="en-US" sz="1200">
                <a:solidFill>
                  <a:srgbClr val="00C1B6"/>
                </a:solidFill>
                <a:cs typeface="Arial"/>
              </a:rPr>
              <a:t> Innovations AG</a:t>
            </a:r>
            <a:br>
              <a:rPr lang="en-US" sz="1200">
                <a:solidFill>
                  <a:srgbClr val="00C1B6"/>
                </a:solidFill>
                <a:cs typeface="Arial"/>
              </a:rPr>
            </a:br>
            <a:endParaRPr lang="en-US" sz="1200">
              <a:solidFill>
                <a:srgbClr val="00C1B6"/>
              </a:solidFill>
              <a:cs typeface="Arial"/>
            </a:endParaRPr>
          </a:p>
        </p:txBody>
      </p:sp>
      <p:sp>
        <p:nvSpPr>
          <p:cNvPr id="2" name="Rectangle 35">
            <a:extLst>
              <a:ext uri="{FF2B5EF4-FFF2-40B4-BE49-F238E27FC236}">
                <a16:creationId xmlns:a16="http://schemas.microsoft.com/office/drawing/2014/main" id="{5CBF55C5-167E-4C75-4DD6-381424F32B83}"/>
              </a:ext>
            </a:extLst>
          </p:cNvPr>
          <p:cNvSpPr/>
          <p:nvPr/>
        </p:nvSpPr>
        <p:spPr>
          <a:xfrm>
            <a:off x="415162" y="4269737"/>
            <a:ext cx="1537338" cy="1537338"/>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l" rtl="0">
              <a:spcAft>
                <a:spcPts val="600"/>
              </a:spcAft>
              <a:buClrTx/>
              <a:defRPr/>
            </a:pPr>
            <a:r>
              <a:rPr lang="en-US" sz="2800" b="1" kern="1200">
                <a:solidFill>
                  <a:schemeClr val="accent6"/>
                </a:solidFill>
                <a:latin typeface="Arial" panose="020B0604020202020204" pitchFamily="34" charset="0"/>
              </a:rPr>
              <a:t>2 days</a:t>
            </a:r>
          </a:p>
          <a:p>
            <a:pPr algn="l">
              <a:defRPr/>
            </a:pPr>
            <a:r>
              <a:rPr lang="en-US" sz="1200">
                <a:solidFill>
                  <a:schemeClr val="accent6"/>
                </a:solidFill>
                <a:ea typeface="Calibri"/>
                <a:cs typeface="Arial"/>
              </a:rPr>
              <a:t>of training to </a:t>
            </a:r>
            <a:r>
              <a:rPr lang="en-US" sz="1200">
                <a:solidFill>
                  <a:schemeClr val="accent6"/>
                </a:solidFill>
                <a:cs typeface="Arial"/>
              </a:rPr>
              <a:t>fully trained and independent </a:t>
            </a:r>
          </a:p>
          <a:p>
            <a:pPr algn="l">
              <a:defRPr/>
            </a:pPr>
            <a:r>
              <a:rPr lang="en-US" sz="1200">
                <a:solidFill>
                  <a:schemeClr val="accent6"/>
                </a:solidFill>
                <a:cs typeface="Arial"/>
              </a:rPr>
              <a:t>operators</a:t>
            </a:r>
          </a:p>
        </p:txBody>
      </p:sp>
      <p:sp>
        <p:nvSpPr>
          <p:cNvPr id="6" name="Rectangle 37">
            <a:extLst>
              <a:ext uri="{FF2B5EF4-FFF2-40B4-BE49-F238E27FC236}">
                <a16:creationId xmlns:a16="http://schemas.microsoft.com/office/drawing/2014/main" id="{DF3D39B3-4BE9-4992-0712-95A0B56E76D8}"/>
              </a:ext>
            </a:extLst>
          </p:cNvPr>
          <p:cNvSpPr/>
          <p:nvPr/>
        </p:nvSpPr>
        <p:spPr>
          <a:xfrm>
            <a:off x="2174175" y="4269737"/>
            <a:ext cx="1537338" cy="1537338"/>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l" rtl="0">
              <a:lnSpc>
                <a:spcPct val="90000"/>
              </a:lnSpc>
              <a:spcAft>
                <a:spcPts val="600"/>
              </a:spcAft>
              <a:buClrTx/>
              <a:defRPr/>
            </a:pPr>
            <a:r>
              <a:rPr lang="en-US" sz="2800" b="1" kern="1200">
                <a:solidFill>
                  <a:schemeClr val="accent6"/>
                </a:solidFill>
                <a:latin typeface="Arial" panose="020B0604020202020204" pitchFamily="34" charset="0"/>
              </a:rPr>
              <a:t>1 </a:t>
            </a:r>
            <a:r>
              <a:rPr lang="en-US" b="1" kern="1200">
                <a:solidFill>
                  <a:schemeClr val="accent6"/>
                </a:solidFill>
                <a:latin typeface="Arial" panose="020B0604020202020204" pitchFamily="34" charset="0"/>
              </a:rPr>
              <a:t>operator</a:t>
            </a:r>
          </a:p>
          <a:p>
            <a:pPr algn="l" rtl="0">
              <a:lnSpc>
                <a:spcPct val="90000"/>
              </a:lnSpc>
              <a:spcAft>
                <a:spcPts val="600"/>
              </a:spcAft>
              <a:buClrTx/>
              <a:defRPr/>
            </a:pPr>
            <a:r>
              <a:rPr lang="en-US" sz="1200">
                <a:solidFill>
                  <a:schemeClr val="accent6"/>
                </a:solidFill>
                <a:cs typeface="Arial"/>
              </a:rPr>
              <a:t>needed per pyrolysis reactor = staff efficiency, 1 position saved</a:t>
            </a:r>
          </a:p>
          <a:p>
            <a:pPr algn="l" rtl="0">
              <a:lnSpc>
                <a:spcPct val="90000"/>
              </a:lnSpc>
              <a:spcAft>
                <a:spcPts val="600"/>
              </a:spcAft>
              <a:buClrTx/>
              <a:defRPr/>
            </a:pPr>
            <a:endParaRPr lang="en-US" sz="2800" b="1" kern="1200">
              <a:solidFill>
                <a:schemeClr val="accent6"/>
              </a:solidFill>
              <a:latin typeface="Arial" panose="020B0604020202020204" pitchFamily="34" charset="0"/>
            </a:endParaRPr>
          </a:p>
        </p:txBody>
      </p:sp>
      <p:sp>
        <p:nvSpPr>
          <p:cNvPr id="7" name="Rectangle 38">
            <a:extLst>
              <a:ext uri="{FF2B5EF4-FFF2-40B4-BE49-F238E27FC236}">
                <a16:creationId xmlns:a16="http://schemas.microsoft.com/office/drawing/2014/main" id="{23F03551-56C1-F487-E3E6-23EB44FEBD28}"/>
              </a:ext>
            </a:extLst>
          </p:cNvPr>
          <p:cNvSpPr/>
          <p:nvPr/>
        </p:nvSpPr>
        <p:spPr>
          <a:xfrm>
            <a:off x="3933187" y="4269737"/>
            <a:ext cx="1537338" cy="1537338"/>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l" rtl="0">
              <a:spcAft>
                <a:spcPts val="600"/>
              </a:spcAft>
              <a:buClrTx/>
              <a:defRPr/>
            </a:pPr>
            <a:r>
              <a:rPr lang="en-US" sz="2800" b="1">
                <a:solidFill>
                  <a:schemeClr val="accent6"/>
                </a:solidFill>
                <a:cs typeface="Arial"/>
              </a:rPr>
              <a:t>100%</a:t>
            </a:r>
            <a:r>
              <a:rPr lang="en-US" sz="2800" b="1" kern="1200">
                <a:solidFill>
                  <a:schemeClr val="accent6"/>
                </a:solidFill>
                <a:latin typeface="Arial" panose="020B0604020202020204" pitchFamily="34" charset="0"/>
              </a:rPr>
              <a:t>​</a:t>
            </a:r>
            <a:endParaRPr lang="en-US" sz="2800" b="1" kern="1200">
              <a:solidFill>
                <a:schemeClr val="accent6"/>
              </a:solidFill>
              <a:latin typeface="Arial" panose="020B0604020202020204" pitchFamily="34" charset="0"/>
              <a:cs typeface="Arial" panose="020B0604020202020204" pitchFamily="34" charset="0"/>
            </a:endParaRPr>
          </a:p>
          <a:p>
            <a:pPr algn="l">
              <a:defRPr/>
            </a:pPr>
            <a:r>
              <a:rPr lang="en-US" sz="1200" kern="1200">
                <a:solidFill>
                  <a:schemeClr val="accent6"/>
                </a:solidFill>
                <a:cs typeface="Arial"/>
              </a:rPr>
              <a:t>inhouse engineering without external support</a:t>
            </a:r>
            <a:endParaRPr lang="en-US" sz="1200">
              <a:solidFill>
                <a:schemeClr val="accent6"/>
              </a:solidFill>
            </a:endParaRPr>
          </a:p>
        </p:txBody>
      </p:sp>
    </p:spTree>
    <p:extLst>
      <p:ext uri="{BB962C8B-B14F-4D97-AF65-F5344CB8AC3E}">
        <p14:creationId xmlns:p14="http://schemas.microsoft.com/office/powerpoint/2010/main" val="7468236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19F9F-30B8-A43C-B467-096FF086579F}"/>
            </a:ext>
          </a:extLst>
        </p:cNvPr>
        <p:cNvGrpSpPr/>
        <p:nvPr/>
      </p:nvGrpSpPr>
      <p:grpSpPr>
        <a:xfrm>
          <a:off x="0" y="0"/>
          <a:ext cx="0" cy="0"/>
          <a:chOff x="0" y="0"/>
          <a:chExt cx="0" cy="0"/>
        </a:xfrm>
      </p:grpSpPr>
      <p:pic>
        <p:nvPicPr>
          <p:cNvPr id="12" name="Grafik 11" descr="Ein Bild, das Person, Im Haus, Menschliches Gesicht, Kleidung enthält.&#10;&#10;KI-generierte Inhalte können fehlerhaft sein.">
            <a:extLst>
              <a:ext uri="{FF2B5EF4-FFF2-40B4-BE49-F238E27FC236}">
                <a16:creationId xmlns:a16="http://schemas.microsoft.com/office/drawing/2014/main" id="{F02AB381-DFE0-4564-8B6C-07BA49662E08}"/>
              </a:ext>
            </a:extLst>
          </p:cNvPr>
          <p:cNvPicPr>
            <a:picLocks noChangeAspect="1"/>
          </p:cNvPicPr>
          <p:nvPr/>
        </p:nvPicPr>
        <p:blipFill>
          <a:blip r:embed="rId4"/>
          <a:srcRect l="25847" t="3117" r="16977" b="6952"/>
          <a:stretch/>
        </p:blipFill>
        <p:spPr>
          <a:xfrm>
            <a:off x="0" y="0"/>
            <a:ext cx="5881688" cy="6167438"/>
          </a:xfrm>
          <a:prstGeom prst="rect">
            <a:avLst/>
          </a:prstGeom>
        </p:spPr>
      </p:pic>
      <p:graphicFrame>
        <p:nvGraphicFramePr>
          <p:cNvPr id="5" name="Object 4" hidden="1">
            <a:extLst>
              <a:ext uri="{FF2B5EF4-FFF2-40B4-BE49-F238E27FC236}">
                <a16:creationId xmlns:a16="http://schemas.microsoft.com/office/drawing/2014/main" id="{48B276D6-4A3F-C73F-B69D-0D7FC86D09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38" imgH="338" progId="TCLayout.ActiveDocument.1">
                  <p:embed/>
                </p:oleObj>
              </mc:Choice>
              <mc:Fallback>
                <p:oleObj name="think-cell Folie" r:id="rId5" imgW="338" imgH="338" progId="TCLayout.ActiveDocument.1">
                  <p:embed/>
                  <p:pic>
                    <p:nvPicPr>
                      <p:cNvPr id="5" name="Object 4" hidden="1">
                        <a:extLst>
                          <a:ext uri="{FF2B5EF4-FFF2-40B4-BE49-F238E27FC236}">
                            <a16:creationId xmlns:a16="http://schemas.microsoft.com/office/drawing/2014/main" id="{48B276D6-4A3F-C73F-B69D-0D7FC86D09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EF09AC4-C318-5DE8-D76C-B7A78907D960}"/>
              </a:ext>
            </a:extLst>
          </p:cNvPr>
          <p:cNvSpPr/>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Rectangle 8">
            <a:extLst>
              <a:ext uri="{FF2B5EF4-FFF2-40B4-BE49-F238E27FC236}">
                <a16:creationId xmlns:a16="http://schemas.microsoft.com/office/drawing/2014/main" id="{A37A6E42-03C7-D85D-B9DA-27F1930F8857}"/>
              </a:ext>
            </a:extLst>
          </p:cNvPr>
          <p:cNvSpPr/>
          <p:nvPr/>
        </p:nvSpPr>
        <p:spPr>
          <a:xfrm>
            <a:off x="0" y="0"/>
            <a:ext cx="6010275" cy="6238875"/>
          </a:xfrm>
          <a:prstGeom prst="rect">
            <a:avLst/>
          </a:prstGeom>
          <a:solidFill>
            <a:schemeClr val="bg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Rechteck 8">
            <a:extLst>
              <a:ext uri="{FF2B5EF4-FFF2-40B4-BE49-F238E27FC236}">
                <a16:creationId xmlns:a16="http://schemas.microsoft.com/office/drawing/2014/main" id="{DC5058FE-56E0-3585-03B1-0238610244A0}"/>
              </a:ext>
            </a:extLst>
          </p:cNvPr>
          <p:cNvSpPr>
            <a:spLocks/>
          </p:cNvSpPr>
          <p:nvPr/>
        </p:nvSpPr>
        <p:spPr>
          <a:xfrm>
            <a:off x="6315075" y="1047451"/>
            <a:ext cx="5132774" cy="10002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171450" indent="-171450" algn="l">
              <a:spcAft>
                <a:spcPts val="300"/>
              </a:spcAft>
              <a:buClr>
                <a:schemeClr val="tx1"/>
              </a:buClr>
              <a:buFont typeface="Arial" panose="020B0604020202020204" pitchFamily="34" charset="0"/>
              <a:buChar char="•"/>
              <a:defRPr/>
            </a:pPr>
            <a:r>
              <a:rPr lang="en-US" sz="1500" kern="1200">
                <a:solidFill>
                  <a:prstClr val="white"/>
                </a:solidFill>
                <a:ea typeface="+mn-lt"/>
                <a:cs typeface="+mn-lt"/>
              </a:rPr>
              <a:t>SIMATIC PCS neo deployed in </a:t>
            </a:r>
            <a:r>
              <a:rPr lang="en-US" sz="1500" b="1" kern="1200">
                <a:solidFill>
                  <a:prstClr val="white"/>
                </a:solidFill>
                <a:ea typeface="+mn-lt"/>
                <a:cs typeface="+mn-lt"/>
              </a:rPr>
              <a:t>biotech lab </a:t>
            </a:r>
            <a:r>
              <a:rPr lang="en-US" sz="1500" kern="1200">
                <a:solidFill>
                  <a:prstClr val="white"/>
                </a:solidFill>
                <a:ea typeface="+mn-lt"/>
                <a:cs typeface="+mn-lt"/>
              </a:rPr>
              <a:t>to control </a:t>
            </a:r>
            <a:r>
              <a:rPr lang="en-US" sz="1500" b="1" kern="1200">
                <a:solidFill>
                  <a:prstClr val="white"/>
                </a:solidFill>
                <a:ea typeface="+mn-lt"/>
                <a:cs typeface="+mn-lt"/>
              </a:rPr>
              <a:t>innovative Vitamin B2 process </a:t>
            </a:r>
            <a:r>
              <a:rPr lang="en-US" sz="1500" kern="1200">
                <a:solidFill>
                  <a:prstClr val="white"/>
                </a:solidFill>
                <a:ea typeface="+mn-lt"/>
                <a:cs typeface="+mn-lt"/>
              </a:rPr>
              <a:t>– validated in real </a:t>
            </a:r>
            <a:r>
              <a:rPr lang="en-US" sz="1500" b="1" kern="1200">
                <a:solidFill>
                  <a:prstClr val="white"/>
                </a:solidFill>
                <a:ea typeface="+mn-lt"/>
                <a:cs typeface="+mn-lt"/>
              </a:rPr>
              <a:t>pilot </a:t>
            </a:r>
            <a:r>
              <a:rPr lang="en-US" sz="1500" kern="1200">
                <a:solidFill>
                  <a:prstClr val="white"/>
                </a:solidFill>
                <a:ea typeface="+mn-lt"/>
                <a:cs typeface="+mn-lt"/>
              </a:rPr>
              <a:t>conditions</a:t>
            </a:r>
          </a:p>
          <a:p>
            <a:pPr marL="171450" indent="-171450" algn="l">
              <a:spcAft>
                <a:spcPts val="300"/>
              </a:spcAft>
              <a:buClr>
                <a:schemeClr val="tx1"/>
              </a:buClr>
              <a:buFont typeface="Arial" panose="020B0604020202020204" pitchFamily="34" charset="0"/>
              <a:buChar char="•"/>
              <a:defRPr/>
            </a:pPr>
            <a:r>
              <a:rPr lang="en-US" sz="1500" kern="1200">
                <a:solidFill>
                  <a:prstClr val="white"/>
                </a:solidFill>
                <a:ea typeface="+mn-lt"/>
                <a:cs typeface="+mn-lt"/>
              </a:rPr>
              <a:t>Modular automation via MTP and Software-Defined Automation enables</a:t>
            </a:r>
            <a:r>
              <a:rPr lang="en-US" sz="1500" b="1" kern="1200">
                <a:solidFill>
                  <a:prstClr val="white"/>
                </a:solidFill>
                <a:ea typeface="+mn-lt"/>
                <a:cs typeface="+mn-lt"/>
              </a:rPr>
              <a:t> fast module integration, flexible adaptation and faster time-to-market</a:t>
            </a:r>
          </a:p>
          <a:p>
            <a:pPr marL="171450" indent="-171450" algn="l">
              <a:spcAft>
                <a:spcPts val="300"/>
              </a:spcAft>
              <a:buClr>
                <a:schemeClr val="tx1"/>
              </a:buClr>
              <a:buFont typeface="Arial" panose="020B0604020202020204" pitchFamily="34" charset="0"/>
              <a:buChar char="•"/>
              <a:defRPr/>
            </a:pPr>
            <a:r>
              <a:rPr lang="en-US" sz="1500" kern="1200">
                <a:solidFill>
                  <a:prstClr val="white"/>
                </a:solidFill>
                <a:ea typeface="+mn-lt"/>
                <a:cs typeface="+mn-lt"/>
              </a:rPr>
              <a:t>Future-ready with </a:t>
            </a:r>
            <a:r>
              <a:rPr lang="en-US" sz="1500" b="1" kern="1200">
                <a:solidFill>
                  <a:prstClr val="white"/>
                </a:solidFill>
                <a:ea typeface="+mn-lt"/>
                <a:cs typeface="+mn-lt"/>
              </a:rPr>
              <a:t>web-based multi-user engineering</a:t>
            </a:r>
            <a:r>
              <a:rPr lang="en-US" sz="1500" kern="1200">
                <a:solidFill>
                  <a:prstClr val="white"/>
                </a:solidFill>
                <a:ea typeface="+mn-lt"/>
                <a:cs typeface="+mn-lt"/>
              </a:rPr>
              <a:t>, seamless </a:t>
            </a:r>
            <a:r>
              <a:rPr lang="en-US" sz="1500" kern="1200" err="1">
                <a:solidFill>
                  <a:prstClr val="white"/>
                </a:solidFill>
                <a:ea typeface="+mn-lt"/>
                <a:cs typeface="+mn-lt"/>
              </a:rPr>
              <a:t>IIoT</a:t>
            </a:r>
            <a:r>
              <a:rPr lang="en-US" sz="1500" kern="1200">
                <a:solidFill>
                  <a:prstClr val="white"/>
                </a:solidFill>
                <a:ea typeface="+mn-lt"/>
                <a:cs typeface="+mn-lt"/>
              </a:rPr>
              <a:t>/Edge integration, and </a:t>
            </a:r>
            <a:r>
              <a:rPr lang="en-US" sz="1500" b="1" kern="1200">
                <a:solidFill>
                  <a:prstClr val="white"/>
                </a:solidFill>
                <a:ea typeface="+mn-lt"/>
                <a:cs typeface="+mn-lt"/>
              </a:rPr>
              <a:t>investment protection </a:t>
            </a:r>
            <a:r>
              <a:rPr lang="en-US" sz="1500" kern="1200">
                <a:solidFill>
                  <a:prstClr val="white"/>
                </a:solidFill>
                <a:ea typeface="+mn-lt"/>
                <a:cs typeface="+mn-lt"/>
              </a:rPr>
              <a:t>through SIMATIC PCS 7 hardware compatibility</a:t>
            </a:r>
          </a:p>
        </p:txBody>
      </p:sp>
      <p:sp>
        <p:nvSpPr>
          <p:cNvPr id="10" name="TextBox 31">
            <a:extLst>
              <a:ext uri="{FF2B5EF4-FFF2-40B4-BE49-F238E27FC236}">
                <a16:creationId xmlns:a16="http://schemas.microsoft.com/office/drawing/2014/main" id="{DEB336D1-FB11-502F-ED05-4E37EEE18C0C}"/>
              </a:ext>
            </a:extLst>
          </p:cNvPr>
          <p:cNvSpPr txBox="1"/>
          <p:nvPr/>
        </p:nvSpPr>
        <p:spPr>
          <a:xfrm>
            <a:off x="6315075" y="4574120"/>
            <a:ext cx="5252811"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i="1">
                <a:solidFill>
                  <a:schemeClr val="tx1"/>
                </a:solidFill>
              </a:rPr>
              <a:t>The successful pilot is the first step toward the global rollout of SIMATIC PCS neo at BASF. Testing under real conditions is essential for this. Now we know we can rely on a technology that will support us on the path to autonomous production.</a:t>
            </a:r>
          </a:p>
        </p:txBody>
      </p:sp>
      <p:sp>
        <p:nvSpPr>
          <p:cNvPr id="11" name="Quote marks">
            <a:extLst>
              <a:ext uri="{FF2B5EF4-FFF2-40B4-BE49-F238E27FC236}">
                <a16:creationId xmlns:a16="http://schemas.microsoft.com/office/drawing/2014/main" id="{A34A187D-8AA1-C025-B60A-66A91D6BE9EE}"/>
              </a:ext>
              <a:ext uri="{C183D7F6-B498-43B3-948B-1728B52AA6E4}">
                <adec:decorative xmlns:adec="http://schemas.microsoft.com/office/drawing/2017/decorative" val="1"/>
              </a:ext>
            </a:extLst>
          </p:cNvPr>
          <p:cNvSpPr/>
          <p:nvPr/>
        </p:nvSpPr>
        <p:spPr bwMode="ltGray">
          <a:xfrm>
            <a:off x="6315075" y="3694113"/>
            <a:ext cx="651782" cy="464989"/>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rgbClr val="00C1B6"/>
          </a:solidFill>
          <a:ln w="61580" cap="flat">
            <a:noFill/>
            <a:prstDash val="solid"/>
            <a:miter/>
          </a:ln>
        </p:spPr>
        <p:txBody>
          <a:bodyPr rtlCol="0" anchor="ctr"/>
          <a:lstStyle/>
          <a:p>
            <a:endParaRPr lang="en-US"/>
          </a:p>
        </p:txBody>
      </p:sp>
      <p:cxnSp>
        <p:nvCxnSpPr>
          <p:cNvPr id="13" name="Straight Connector 41">
            <a:extLst>
              <a:ext uri="{FF2B5EF4-FFF2-40B4-BE49-F238E27FC236}">
                <a16:creationId xmlns:a16="http://schemas.microsoft.com/office/drawing/2014/main" id="{DA87B645-1D0B-1A39-4371-18E1907BA3F8}"/>
              </a:ext>
            </a:extLst>
          </p:cNvPr>
          <p:cNvCxnSpPr>
            <a:cxnSpLocks/>
          </p:cNvCxnSpPr>
          <p:nvPr/>
        </p:nvCxnSpPr>
        <p:spPr>
          <a:xfrm flipH="1">
            <a:off x="6315075" y="4269737"/>
            <a:ext cx="5472113"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4" name="Title 44">
            <a:extLst>
              <a:ext uri="{FF2B5EF4-FFF2-40B4-BE49-F238E27FC236}">
                <a16:creationId xmlns:a16="http://schemas.microsoft.com/office/drawing/2014/main" id="{AF9B4EE5-381B-631D-CDC1-059CB33C5C1B}"/>
              </a:ext>
            </a:extLst>
          </p:cNvPr>
          <p:cNvSpPr txBox="1">
            <a:spLocks/>
          </p:cNvSpPr>
          <p:nvPr/>
        </p:nvSpPr>
        <p:spPr bwMode="black">
          <a:xfrm>
            <a:off x="6315075" y="478800"/>
            <a:ext cx="5472114" cy="576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spcBef>
                <a:spcPts val="1000"/>
              </a:spcBef>
              <a:buClrTx/>
              <a:defRPr/>
            </a:pPr>
            <a:r>
              <a:rPr lang="en-US"/>
              <a:t>Driving Innovation in White Biotechnology</a:t>
            </a:r>
            <a:endParaRPr lang="en-US">
              <a:solidFill>
                <a:prstClr val="white"/>
              </a:solidFill>
              <a:cs typeface="Arial"/>
            </a:endParaRPr>
          </a:p>
        </p:txBody>
      </p:sp>
      <p:sp>
        <p:nvSpPr>
          <p:cNvPr id="15" name="Title 44">
            <a:extLst>
              <a:ext uri="{FF2B5EF4-FFF2-40B4-BE49-F238E27FC236}">
                <a16:creationId xmlns:a16="http://schemas.microsoft.com/office/drawing/2014/main" id="{8919FD66-477A-0242-B249-ABC2A4B3D004}"/>
              </a:ext>
            </a:extLst>
          </p:cNvPr>
          <p:cNvSpPr txBox="1">
            <a:spLocks/>
          </p:cNvSpPr>
          <p:nvPr/>
        </p:nvSpPr>
        <p:spPr bwMode="black">
          <a:xfrm>
            <a:off x="6315075" y="273067"/>
            <a:ext cx="5472114" cy="1661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spcBef>
                <a:spcPts val="1000"/>
              </a:spcBef>
              <a:buClrTx/>
              <a:defRPr/>
            </a:pPr>
            <a:r>
              <a:rPr lang="en-US" sz="1200">
                <a:solidFill>
                  <a:srgbClr val="00C1B6"/>
                </a:solidFill>
                <a:cs typeface="Arial"/>
              </a:rPr>
              <a:t>BASF </a:t>
            </a:r>
          </a:p>
        </p:txBody>
      </p:sp>
      <p:sp>
        <p:nvSpPr>
          <p:cNvPr id="20" name="Fußzeilenplatzhalter 19">
            <a:extLst>
              <a:ext uri="{FF2B5EF4-FFF2-40B4-BE49-F238E27FC236}">
                <a16:creationId xmlns:a16="http://schemas.microsoft.com/office/drawing/2014/main" id="{6EC131DB-BC5B-5D70-85CA-923702917190}"/>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22" name="Fußzeilenplatzhalter 19">
            <a:extLst>
              <a:ext uri="{FF2B5EF4-FFF2-40B4-BE49-F238E27FC236}">
                <a16:creationId xmlns:a16="http://schemas.microsoft.com/office/drawing/2014/main" id="{4C4A1872-D429-2E1E-0CED-A4C36D69B2C5}"/>
              </a:ext>
            </a:extLst>
          </p:cNvPr>
          <p:cNvSpPr txBox="1">
            <a:spLocks/>
          </p:cNvSpPr>
          <p:nvPr/>
        </p:nvSpPr>
        <p:spPr bwMode="black">
          <a:xfrm>
            <a:off x="40373" y="6206965"/>
            <a:ext cx="805775" cy="188815"/>
          </a:xfrm>
          <a:prstGeom prst="rect">
            <a:avLst/>
          </a:prstGeom>
        </p:spPr>
        <p:txBody>
          <a:bodyPr vert="horz" lIns="0" tIns="0" rIns="0" bIns="61200" rtlCol="0" anchor="ctr" anchorCtr="0"/>
          <a:lstStyle>
            <a:defPPr>
              <a:defRPr lang="en-US"/>
            </a:defPPr>
            <a:lvl1pPr algn="l">
              <a:lnSpc>
                <a:spcPct val="100000"/>
              </a:lnSpc>
              <a:spcBef>
                <a:spcPts val="0"/>
              </a:spcBef>
              <a:buClr>
                <a:schemeClr val="accent1"/>
              </a:buClr>
              <a:defRPr sz="900">
                <a:solidFill>
                  <a:schemeClr val="tx1"/>
                </a:solidFill>
                <a:latin typeface="+mn-lt"/>
              </a:defRPr>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r>
              <a:rPr lang="en-US"/>
              <a:t>Source: BASF</a:t>
            </a:r>
          </a:p>
        </p:txBody>
      </p:sp>
    </p:spTree>
    <p:extLst>
      <p:ext uri="{BB962C8B-B14F-4D97-AF65-F5344CB8AC3E}">
        <p14:creationId xmlns:p14="http://schemas.microsoft.com/office/powerpoint/2010/main" val="2450608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A1861-DCAD-06F0-FBB2-35632399DE7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73B9D6-6667-C7E2-0BCF-51F878509350}"/>
              </a:ext>
            </a:extLst>
          </p:cNvPr>
          <p:cNvGraphicFramePr>
            <a:graphicFrameLocks noChangeAspect="1"/>
          </p:cNvGraphicFramePr>
          <p:nvPr>
            <p:custDataLst>
              <p:tags r:id="rId1"/>
            </p:custDataLst>
            <p:extLst>
              <p:ext uri="{D42A27DB-BD31-4B8C-83A1-F6EECF244321}">
                <p14:modId xmlns:p14="http://schemas.microsoft.com/office/powerpoint/2010/main" val="2458062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6" name="Object 5" hidden="1">
                        <a:extLst>
                          <a:ext uri="{FF2B5EF4-FFF2-40B4-BE49-F238E27FC236}">
                            <a16:creationId xmlns:a16="http://schemas.microsoft.com/office/drawing/2014/main" id="{5973B9D6-6667-C7E2-0BCF-51F8785093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EDB64251-419A-95B5-687E-96BF987FDB18}"/>
              </a:ext>
            </a:extLst>
          </p:cNvPr>
          <p:cNvSpPr>
            <a:spLocks noGrp="1"/>
          </p:cNvSpPr>
          <p:nvPr>
            <p:ph type="title"/>
          </p:nvPr>
        </p:nvSpPr>
        <p:spPr>
          <a:xfrm>
            <a:off x="411163" y="479425"/>
            <a:ext cx="9863137" cy="574675"/>
          </a:xfrm>
        </p:spPr>
        <p:txBody>
          <a:bodyPr vert="horz"/>
          <a:lstStyle/>
          <a:p>
            <a:r>
              <a:rPr lang="en-GB"/>
              <a:t>Engineering on a global scale and as a Service with SIMATIC PCS neo engineering in the cloud </a:t>
            </a:r>
            <a:br>
              <a:rPr lang="en-GB"/>
            </a:br>
            <a:endParaRPr lang="en-US"/>
          </a:p>
        </p:txBody>
      </p:sp>
      <p:sp>
        <p:nvSpPr>
          <p:cNvPr id="9" name="Footer Placeholder 2">
            <a:extLst>
              <a:ext uri="{FF2B5EF4-FFF2-40B4-BE49-F238E27FC236}">
                <a16:creationId xmlns:a16="http://schemas.microsoft.com/office/drawing/2014/main" id="{613F2FB6-BA19-EED7-F440-BC97F19C861B}"/>
              </a:ext>
            </a:extLst>
          </p:cNvPr>
          <p:cNvSpPr>
            <a:spLocks noGrp="1"/>
          </p:cNvSpPr>
          <p:nvPr>
            <p:ph type="ftr" sz="quarter" idx="10"/>
          </p:nvPr>
        </p:nvSpPr>
        <p:spPr>
          <a:xfrm>
            <a:off x="1059160" y="6310800"/>
            <a:ext cx="9216000" cy="547200"/>
          </a:xfrm>
        </p:spPr>
        <p:txBody>
          <a:bodyPr/>
          <a:lstStyle/>
          <a:p>
            <a:r>
              <a:rPr lang="en-US"/>
              <a:t>Unrestricted | © Siemens 2025 | Raghav Tripathi</a:t>
            </a:r>
          </a:p>
        </p:txBody>
      </p:sp>
      <p:pic>
        <p:nvPicPr>
          <p:cNvPr id="10" name="Picture 4" descr="Graphical user interface&#10;&#10;Description automatically generated">
            <a:extLst>
              <a:ext uri="{FF2B5EF4-FFF2-40B4-BE49-F238E27FC236}">
                <a16:creationId xmlns:a16="http://schemas.microsoft.com/office/drawing/2014/main" id="{90DD2131-4E1F-AF9B-DCC2-1244E11A06F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5820" y="1440816"/>
            <a:ext cx="7540976" cy="4544468"/>
          </a:xfrm>
          <a:prstGeom prst="rect">
            <a:avLst/>
          </a:prstGeom>
        </p:spPr>
      </p:pic>
      <p:sp>
        <p:nvSpPr>
          <p:cNvPr id="17" name="TextBox 24">
            <a:extLst>
              <a:ext uri="{FF2B5EF4-FFF2-40B4-BE49-F238E27FC236}">
                <a16:creationId xmlns:a16="http://schemas.microsoft.com/office/drawing/2014/main" id="{A8D63C73-EFBC-082D-9F8D-9678C9C6C154}"/>
              </a:ext>
            </a:extLst>
          </p:cNvPr>
          <p:cNvSpPr txBox="1"/>
          <p:nvPr/>
        </p:nvSpPr>
        <p:spPr>
          <a:xfrm>
            <a:off x="400860" y="1397306"/>
            <a:ext cx="4841729" cy="276999"/>
          </a:xfrm>
          <a:prstGeom prst="rect">
            <a:avLst/>
          </a:prstGeom>
          <a:noFill/>
        </p:spPr>
        <p:txBody>
          <a:bodyPr wrap="square" lIns="0" tIns="0" rIns="0" bIns="0" rtlCol="0">
            <a:spAutoFit/>
          </a:bodyPr>
          <a:lstStyle/>
          <a:p>
            <a:pPr algn="l">
              <a:spcAft>
                <a:spcPts val="2400"/>
              </a:spcAft>
            </a:pPr>
            <a:r>
              <a:rPr lang="en-GB" b="1">
                <a:solidFill>
                  <a:srgbClr val="00C1B6"/>
                </a:solidFill>
                <a:latin typeface="+mn-lt"/>
              </a:rPr>
              <a:t>Customer value</a:t>
            </a:r>
          </a:p>
        </p:txBody>
      </p:sp>
      <p:grpSp>
        <p:nvGrpSpPr>
          <p:cNvPr id="53" name="Gruppieren 52">
            <a:extLst>
              <a:ext uri="{FF2B5EF4-FFF2-40B4-BE49-F238E27FC236}">
                <a16:creationId xmlns:a16="http://schemas.microsoft.com/office/drawing/2014/main" id="{39C2A367-C46B-C541-1FC2-514E2B86EAD5}"/>
              </a:ext>
            </a:extLst>
          </p:cNvPr>
          <p:cNvGrpSpPr/>
          <p:nvPr/>
        </p:nvGrpSpPr>
        <p:grpSpPr>
          <a:xfrm>
            <a:off x="411163" y="1880828"/>
            <a:ext cx="5076094" cy="573406"/>
            <a:chOff x="411163" y="1880828"/>
            <a:chExt cx="5076094" cy="573406"/>
          </a:xfrm>
        </p:grpSpPr>
        <p:sp>
          <p:nvSpPr>
            <p:cNvPr id="11" name="TextBox 7">
              <a:extLst>
                <a:ext uri="{FF2B5EF4-FFF2-40B4-BE49-F238E27FC236}">
                  <a16:creationId xmlns:a16="http://schemas.microsoft.com/office/drawing/2014/main" id="{50C7465C-5CC4-9FBC-871B-9BC5CF788A09}"/>
                </a:ext>
              </a:extLst>
            </p:cNvPr>
            <p:cNvSpPr txBox="1">
              <a:spLocks/>
            </p:cNvSpPr>
            <p:nvPr/>
          </p:nvSpPr>
          <p:spPr>
            <a:xfrm>
              <a:off x="1151578" y="1890532"/>
              <a:ext cx="4335679" cy="553998"/>
            </a:xfrm>
            <a:prstGeom prst="rect">
              <a:avLst/>
            </a:prstGeom>
            <a:noFill/>
          </p:spPr>
          <p:txBody>
            <a:bodyPr wrap="square" lIns="0" tIns="0" rIns="0" bIns="0" rtlCol="0">
              <a:spAutoFit/>
            </a:bodyPr>
            <a:lstStyle/>
            <a:p>
              <a:pPr algn="l">
                <a:spcAft>
                  <a:spcPts val="2400"/>
                </a:spcAft>
              </a:pPr>
              <a:r>
                <a:rPr lang="en-US">
                  <a:solidFill>
                    <a:schemeClr val="tx1"/>
                  </a:solidFill>
                  <a:latin typeface="+mn-lt"/>
                </a:rPr>
                <a:t>Co-creation via multi-user for </a:t>
              </a:r>
              <a:br>
                <a:rPr lang="en-US">
                  <a:solidFill>
                    <a:schemeClr val="tx1"/>
                  </a:solidFill>
                  <a:latin typeface="+mn-lt"/>
                </a:rPr>
              </a:br>
              <a:r>
                <a:rPr lang="en-US">
                  <a:solidFill>
                    <a:schemeClr val="tx1"/>
                  </a:solidFill>
                  <a:latin typeface="+mn-lt"/>
                </a:rPr>
                <a:t>optimal engineering workflows</a:t>
              </a:r>
              <a:endParaRPr lang="en-GB">
                <a:solidFill>
                  <a:schemeClr val="tx1"/>
                </a:solidFill>
                <a:latin typeface="+mn-lt"/>
              </a:endParaRPr>
            </a:p>
          </p:txBody>
        </p:sp>
        <p:grpSp>
          <p:nvGrpSpPr>
            <p:cNvPr id="52" name="Gruppieren 51">
              <a:extLst>
                <a:ext uri="{FF2B5EF4-FFF2-40B4-BE49-F238E27FC236}">
                  <a16:creationId xmlns:a16="http://schemas.microsoft.com/office/drawing/2014/main" id="{044AB9FE-F62F-2666-DDFA-A0D443F6D56D}"/>
                </a:ext>
              </a:extLst>
            </p:cNvPr>
            <p:cNvGrpSpPr/>
            <p:nvPr/>
          </p:nvGrpSpPr>
          <p:grpSpPr>
            <a:xfrm>
              <a:off x="411163" y="1880828"/>
              <a:ext cx="573406" cy="573406"/>
              <a:chOff x="411163" y="1880828"/>
              <a:chExt cx="573406" cy="573406"/>
            </a:xfrm>
          </p:grpSpPr>
          <p:sp>
            <p:nvSpPr>
              <p:cNvPr id="21" name="Freihandform: Form 55">
                <a:extLst>
                  <a:ext uri="{FF2B5EF4-FFF2-40B4-BE49-F238E27FC236}">
                    <a16:creationId xmlns:a16="http://schemas.microsoft.com/office/drawing/2014/main" id="{DD687BEB-348E-5E0E-0913-49ADFBB389F0}"/>
                  </a:ext>
                </a:extLst>
              </p:cNvPr>
              <p:cNvSpPr/>
              <p:nvPr/>
            </p:nvSpPr>
            <p:spPr>
              <a:xfrm>
                <a:off x="411163" y="1880828"/>
                <a:ext cx="573406" cy="573406"/>
              </a:xfrm>
              <a:custGeom>
                <a:avLst/>
                <a:gdLst>
                  <a:gd name="connsiteX0" fmla="*/ 0 w 573406"/>
                  <a:gd name="connsiteY0" fmla="*/ 0 h 573406"/>
                  <a:gd name="connsiteX1" fmla="*/ 573406 w 573406"/>
                  <a:gd name="connsiteY1" fmla="*/ 0 h 573406"/>
                  <a:gd name="connsiteX2" fmla="*/ 573406 w 573406"/>
                  <a:gd name="connsiteY2" fmla="*/ 573406 h 573406"/>
                  <a:gd name="connsiteX3" fmla="*/ 0 w 573406"/>
                  <a:gd name="connsiteY3" fmla="*/ 573406 h 573406"/>
                </a:gdLst>
                <a:ahLst/>
                <a:cxnLst>
                  <a:cxn ang="0">
                    <a:pos x="connsiteX0" y="connsiteY0"/>
                  </a:cxn>
                  <a:cxn ang="0">
                    <a:pos x="connsiteX1" y="connsiteY1"/>
                  </a:cxn>
                  <a:cxn ang="0">
                    <a:pos x="connsiteX2" y="connsiteY2"/>
                  </a:cxn>
                  <a:cxn ang="0">
                    <a:pos x="connsiteX3" y="connsiteY3"/>
                  </a:cxn>
                </a:cxnLst>
                <a:rect l="l" t="t" r="r" b="b"/>
                <a:pathLst>
                  <a:path w="573406" h="573406">
                    <a:moveTo>
                      <a:pt x="0" y="0"/>
                    </a:moveTo>
                    <a:lnTo>
                      <a:pt x="573406" y="0"/>
                    </a:lnTo>
                    <a:lnTo>
                      <a:pt x="573406" y="573406"/>
                    </a:lnTo>
                    <a:lnTo>
                      <a:pt x="0" y="573406"/>
                    </a:lnTo>
                    <a:close/>
                  </a:path>
                </a:pathLst>
              </a:custGeom>
              <a:solidFill>
                <a:srgbClr val="00C1B6"/>
              </a:solidFill>
              <a:ln w="14288" cap="flat">
                <a:noFill/>
                <a:prstDash val="solid"/>
                <a:miter/>
              </a:ln>
            </p:spPr>
            <p:txBody>
              <a:bodyPr rtlCol="0" anchor="ctr"/>
              <a:lstStyle/>
              <a:p>
                <a:endParaRPr lang="en-GB"/>
              </a:p>
            </p:txBody>
          </p:sp>
          <p:grpSp>
            <p:nvGrpSpPr>
              <p:cNvPr id="23" name="Graphic 15">
                <a:extLst>
                  <a:ext uri="{FF2B5EF4-FFF2-40B4-BE49-F238E27FC236}">
                    <a16:creationId xmlns:a16="http://schemas.microsoft.com/office/drawing/2014/main" id="{EBECC5A2-AA36-BB12-7D48-846C3ABF078E}"/>
                  </a:ext>
                </a:extLst>
              </p:cNvPr>
              <p:cNvGrpSpPr/>
              <p:nvPr/>
            </p:nvGrpSpPr>
            <p:grpSpPr>
              <a:xfrm>
                <a:off x="460905" y="1990778"/>
                <a:ext cx="445393" cy="312219"/>
                <a:chOff x="460905" y="2967725"/>
                <a:chExt cx="445393" cy="312219"/>
              </a:xfrm>
              <a:solidFill>
                <a:srgbClr val="FFFFFF"/>
              </a:solidFill>
            </p:grpSpPr>
            <p:sp>
              <p:nvSpPr>
                <p:cNvPr id="25" name="Freihandform: Form 57">
                  <a:extLst>
                    <a:ext uri="{FF2B5EF4-FFF2-40B4-BE49-F238E27FC236}">
                      <a16:creationId xmlns:a16="http://schemas.microsoft.com/office/drawing/2014/main" id="{E644CBDB-FB40-F45A-9AE5-C05B86E20DE6}"/>
                    </a:ext>
                  </a:extLst>
                </p:cNvPr>
                <p:cNvSpPr/>
                <p:nvPr/>
              </p:nvSpPr>
              <p:spPr>
                <a:xfrm>
                  <a:off x="460905" y="3054883"/>
                  <a:ext cx="445393" cy="225061"/>
                </a:xfrm>
                <a:custGeom>
                  <a:avLst/>
                  <a:gdLst>
                    <a:gd name="connsiteX0" fmla="*/ 379738 w 445393"/>
                    <a:gd name="connsiteY0" fmla="*/ 145358 h 225061"/>
                    <a:gd name="connsiteX1" fmla="*/ 370277 w 445393"/>
                    <a:gd name="connsiteY1" fmla="*/ 146075 h 225061"/>
                    <a:gd name="connsiteX2" fmla="*/ 370277 w 445393"/>
                    <a:gd name="connsiteY2" fmla="*/ 140628 h 225061"/>
                    <a:gd name="connsiteX3" fmla="*/ 229649 w 445393"/>
                    <a:gd name="connsiteY3" fmla="*/ 0 h 225061"/>
                    <a:gd name="connsiteX4" fmla="*/ 106797 w 445393"/>
                    <a:gd name="connsiteY4" fmla="*/ 72106 h 225061"/>
                    <a:gd name="connsiteX5" fmla="*/ 89021 w 445393"/>
                    <a:gd name="connsiteY5" fmla="*/ 70386 h 225061"/>
                    <a:gd name="connsiteX6" fmla="*/ 0 w 445393"/>
                    <a:gd name="connsiteY6" fmla="*/ 159407 h 225061"/>
                    <a:gd name="connsiteX7" fmla="*/ 28957 w 445393"/>
                    <a:gd name="connsiteY7" fmla="*/ 225062 h 225061"/>
                    <a:gd name="connsiteX8" fmla="*/ 443816 w 445393"/>
                    <a:gd name="connsiteY8" fmla="*/ 225062 h 225061"/>
                    <a:gd name="connsiteX9" fmla="*/ 445393 w 445393"/>
                    <a:gd name="connsiteY9" fmla="*/ 211013 h 225061"/>
                    <a:gd name="connsiteX10" fmla="*/ 379738 w 445393"/>
                    <a:gd name="connsiteY10" fmla="*/ 145358 h 225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5393" h="225061">
                      <a:moveTo>
                        <a:pt x="379738" y="145358"/>
                      </a:moveTo>
                      <a:cubicBezTo>
                        <a:pt x="376441" y="145358"/>
                        <a:pt x="373287" y="145645"/>
                        <a:pt x="370277" y="146075"/>
                      </a:cubicBezTo>
                      <a:cubicBezTo>
                        <a:pt x="370277" y="144212"/>
                        <a:pt x="370277" y="142491"/>
                        <a:pt x="370277" y="140628"/>
                      </a:cubicBezTo>
                      <a:cubicBezTo>
                        <a:pt x="370277" y="62931"/>
                        <a:pt x="307346" y="0"/>
                        <a:pt x="229649" y="0"/>
                      </a:cubicBezTo>
                      <a:cubicBezTo>
                        <a:pt x="176896" y="0"/>
                        <a:pt x="130880" y="29100"/>
                        <a:pt x="106797" y="72106"/>
                      </a:cubicBezTo>
                      <a:cubicBezTo>
                        <a:pt x="101063" y="70959"/>
                        <a:pt x="95042" y="70386"/>
                        <a:pt x="89021" y="70386"/>
                      </a:cubicBezTo>
                      <a:cubicBezTo>
                        <a:pt x="39852" y="70386"/>
                        <a:pt x="0" y="110237"/>
                        <a:pt x="0" y="159407"/>
                      </a:cubicBezTo>
                      <a:cubicBezTo>
                        <a:pt x="0" y="185354"/>
                        <a:pt x="11181" y="208720"/>
                        <a:pt x="28957" y="225062"/>
                      </a:cubicBezTo>
                      <a:lnTo>
                        <a:pt x="443816" y="225062"/>
                      </a:lnTo>
                      <a:cubicBezTo>
                        <a:pt x="444820" y="220475"/>
                        <a:pt x="445393" y="215887"/>
                        <a:pt x="445393" y="211013"/>
                      </a:cubicBezTo>
                      <a:cubicBezTo>
                        <a:pt x="445393" y="174745"/>
                        <a:pt x="416006" y="145358"/>
                        <a:pt x="379738" y="145358"/>
                      </a:cubicBezTo>
                      <a:close/>
                    </a:path>
                  </a:pathLst>
                </a:custGeom>
                <a:solidFill>
                  <a:schemeClr val="bg2"/>
                </a:solidFill>
                <a:ln w="14288" cap="flat">
                  <a:noFill/>
                  <a:prstDash val="solid"/>
                  <a:miter/>
                </a:ln>
              </p:spPr>
              <p:txBody>
                <a:bodyPr rtlCol="0" anchor="ctr"/>
                <a:lstStyle/>
                <a:p>
                  <a:endParaRPr lang="en-GB"/>
                </a:p>
              </p:txBody>
            </p:sp>
            <p:sp>
              <p:nvSpPr>
                <p:cNvPr id="26" name="Freihandform: Form 58">
                  <a:extLst>
                    <a:ext uri="{FF2B5EF4-FFF2-40B4-BE49-F238E27FC236}">
                      <a16:creationId xmlns:a16="http://schemas.microsoft.com/office/drawing/2014/main" id="{D748950B-E4EF-029C-7F0B-D956DD74AD21}"/>
                    </a:ext>
                  </a:extLst>
                </p:cNvPr>
                <p:cNvSpPr/>
                <p:nvPr/>
              </p:nvSpPr>
              <p:spPr>
                <a:xfrm>
                  <a:off x="787890" y="3014744"/>
                  <a:ext cx="69382" cy="69382"/>
                </a:xfrm>
                <a:custGeom>
                  <a:avLst/>
                  <a:gdLst>
                    <a:gd name="connsiteX0" fmla="*/ 0 w 69382"/>
                    <a:gd name="connsiteY0" fmla="*/ 19066 h 69382"/>
                    <a:gd name="connsiteX1" fmla="*/ 1290 w 69382"/>
                    <a:gd name="connsiteY1" fmla="*/ 0 h 69382"/>
                    <a:gd name="connsiteX2" fmla="*/ 69382 w 69382"/>
                    <a:gd name="connsiteY2" fmla="*/ 68092 h 69382"/>
                    <a:gd name="connsiteX3" fmla="*/ 50316 w 69382"/>
                    <a:gd name="connsiteY3" fmla="*/ 69382 h 69382"/>
                    <a:gd name="connsiteX4" fmla="*/ 0 w 69382"/>
                    <a:gd name="connsiteY4" fmla="*/ 19066 h 69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82" h="69382">
                      <a:moveTo>
                        <a:pt x="0" y="19066"/>
                      </a:moveTo>
                      <a:lnTo>
                        <a:pt x="1290" y="0"/>
                      </a:lnTo>
                      <a:cubicBezTo>
                        <a:pt x="35264" y="7311"/>
                        <a:pt x="61928" y="34118"/>
                        <a:pt x="69382" y="68092"/>
                      </a:cubicBezTo>
                      <a:lnTo>
                        <a:pt x="50316" y="69382"/>
                      </a:lnTo>
                      <a:cubicBezTo>
                        <a:pt x="43866" y="44726"/>
                        <a:pt x="24513" y="25517"/>
                        <a:pt x="0" y="19066"/>
                      </a:cubicBezTo>
                      <a:close/>
                    </a:path>
                  </a:pathLst>
                </a:custGeom>
                <a:solidFill>
                  <a:schemeClr val="bg2"/>
                </a:solidFill>
                <a:ln w="14288" cap="flat">
                  <a:noFill/>
                  <a:prstDash val="solid"/>
                  <a:miter/>
                </a:ln>
              </p:spPr>
              <p:txBody>
                <a:bodyPr rtlCol="0" anchor="ctr"/>
                <a:lstStyle/>
                <a:p>
                  <a:endParaRPr lang="en-GB"/>
                </a:p>
              </p:txBody>
            </p:sp>
            <p:sp>
              <p:nvSpPr>
                <p:cNvPr id="27" name="Freihandform: Form 59">
                  <a:extLst>
                    <a:ext uri="{FF2B5EF4-FFF2-40B4-BE49-F238E27FC236}">
                      <a16:creationId xmlns:a16="http://schemas.microsoft.com/office/drawing/2014/main" id="{4A3FEE17-C8EB-5A0C-3AF5-FDBE665FF3DC}"/>
                    </a:ext>
                  </a:extLst>
                </p:cNvPr>
                <p:cNvSpPr/>
                <p:nvPr/>
              </p:nvSpPr>
              <p:spPr>
                <a:xfrm>
                  <a:off x="791044" y="2967725"/>
                  <a:ext cx="113391" cy="113391"/>
                </a:xfrm>
                <a:custGeom>
                  <a:avLst/>
                  <a:gdLst>
                    <a:gd name="connsiteX0" fmla="*/ 0 w 113391"/>
                    <a:gd name="connsiteY0" fmla="*/ 18779 h 113391"/>
                    <a:gd name="connsiteX1" fmla="*/ 1290 w 113391"/>
                    <a:gd name="connsiteY1" fmla="*/ 0 h 113391"/>
                    <a:gd name="connsiteX2" fmla="*/ 113391 w 113391"/>
                    <a:gd name="connsiteY2" fmla="*/ 112101 h 113391"/>
                    <a:gd name="connsiteX3" fmla="*/ 94612 w 113391"/>
                    <a:gd name="connsiteY3" fmla="*/ 113391 h 113391"/>
                    <a:gd name="connsiteX4" fmla="*/ 143 w 113391"/>
                    <a:gd name="connsiteY4" fmla="*/ 18922 h 11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91" h="113391">
                      <a:moveTo>
                        <a:pt x="0" y="18779"/>
                      </a:moveTo>
                      <a:lnTo>
                        <a:pt x="1290" y="0"/>
                      </a:lnTo>
                      <a:cubicBezTo>
                        <a:pt x="58631" y="9461"/>
                        <a:pt x="103930" y="54760"/>
                        <a:pt x="113391" y="112101"/>
                      </a:cubicBezTo>
                      <a:lnTo>
                        <a:pt x="94612" y="113391"/>
                      </a:lnTo>
                      <a:cubicBezTo>
                        <a:pt x="86011" y="65368"/>
                        <a:pt x="48023" y="27523"/>
                        <a:pt x="143" y="18922"/>
                      </a:cubicBezTo>
                      <a:close/>
                    </a:path>
                  </a:pathLst>
                </a:custGeom>
                <a:solidFill>
                  <a:schemeClr val="bg2"/>
                </a:solidFill>
                <a:ln w="14288" cap="flat">
                  <a:noFill/>
                  <a:prstDash val="solid"/>
                  <a:miter/>
                </a:ln>
              </p:spPr>
              <p:txBody>
                <a:bodyPr rtlCol="0" anchor="ctr"/>
                <a:lstStyle/>
                <a:p>
                  <a:endParaRPr lang="en-GB"/>
                </a:p>
              </p:txBody>
            </p:sp>
          </p:grpSp>
        </p:grpSp>
      </p:grpSp>
      <p:grpSp>
        <p:nvGrpSpPr>
          <p:cNvPr id="81" name="Gruppieren 80">
            <a:extLst>
              <a:ext uri="{FF2B5EF4-FFF2-40B4-BE49-F238E27FC236}">
                <a16:creationId xmlns:a16="http://schemas.microsoft.com/office/drawing/2014/main" id="{09F1D815-F31C-FBBB-3307-995DAAA3D896}"/>
              </a:ext>
            </a:extLst>
          </p:cNvPr>
          <p:cNvGrpSpPr>
            <a:grpSpLocks/>
          </p:cNvGrpSpPr>
          <p:nvPr/>
        </p:nvGrpSpPr>
        <p:grpSpPr>
          <a:xfrm>
            <a:off x="411163" y="3315640"/>
            <a:ext cx="5583623" cy="573406"/>
            <a:chOff x="411163" y="3111186"/>
            <a:chExt cx="5583623" cy="573406"/>
          </a:xfrm>
        </p:grpSpPr>
        <p:sp>
          <p:nvSpPr>
            <p:cNvPr id="14" name="TextBox 9">
              <a:extLst>
                <a:ext uri="{FF2B5EF4-FFF2-40B4-BE49-F238E27FC236}">
                  <a16:creationId xmlns:a16="http://schemas.microsoft.com/office/drawing/2014/main" id="{FBF6E6C4-EF97-732B-3208-0EBFEA468CE7}"/>
                </a:ext>
              </a:extLst>
            </p:cNvPr>
            <p:cNvSpPr txBox="1">
              <a:spLocks/>
            </p:cNvSpPr>
            <p:nvPr/>
          </p:nvSpPr>
          <p:spPr>
            <a:xfrm>
              <a:off x="1153057" y="3120890"/>
              <a:ext cx="4841729" cy="553998"/>
            </a:xfrm>
            <a:prstGeom prst="rect">
              <a:avLst/>
            </a:prstGeom>
            <a:noFill/>
          </p:spPr>
          <p:txBody>
            <a:bodyPr wrap="square" lIns="0" tIns="0" rIns="0" bIns="0" rtlCol="0" anchor="t">
              <a:spAutoFit/>
            </a:bodyPr>
            <a:lstStyle/>
            <a:p>
              <a:pPr algn="l">
                <a:spcAft>
                  <a:spcPts val="2400"/>
                </a:spcAft>
              </a:pPr>
              <a:r>
                <a:rPr lang="en-GB">
                  <a:solidFill>
                    <a:schemeClr val="tx1"/>
                  </a:solidFill>
                  <a:latin typeface="+mn-lt"/>
                </a:rPr>
                <a:t>Easy and secure access </a:t>
              </a:r>
              <a:br>
                <a:rPr lang="en-GB">
                  <a:solidFill>
                    <a:schemeClr val="tx1"/>
                  </a:solidFill>
                  <a:latin typeface="+mn-lt"/>
                </a:rPr>
              </a:br>
              <a:r>
                <a:rPr lang="en-GB">
                  <a:solidFill>
                    <a:schemeClr val="tx1"/>
                  </a:solidFill>
                  <a:latin typeface="+mn-lt"/>
                </a:rPr>
                <a:t>for all involved parties</a:t>
              </a:r>
            </a:p>
          </p:txBody>
        </p:sp>
        <p:grpSp>
          <p:nvGrpSpPr>
            <p:cNvPr id="28" name="Graphic 17">
              <a:extLst>
                <a:ext uri="{FF2B5EF4-FFF2-40B4-BE49-F238E27FC236}">
                  <a16:creationId xmlns:a16="http://schemas.microsoft.com/office/drawing/2014/main" id="{C3B679BB-1EBB-D64C-0034-6AA31306488A}"/>
                </a:ext>
              </a:extLst>
            </p:cNvPr>
            <p:cNvGrpSpPr>
              <a:grpSpLocks/>
            </p:cNvGrpSpPr>
            <p:nvPr/>
          </p:nvGrpSpPr>
          <p:grpSpPr>
            <a:xfrm>
              <a:off x="411163" y="3111186"/>
              <a:ext cx="573406" cy="573406"/>
              <a:chOff x="411163" y="3541840"/>
              <a:chExt cx="573406" cy="573406"/>
            </a:xfrm>
          </p:grpSpPr>
          <p:sp>
            <p:nvSpPr>
              <p:cNvPr id="29" name="Freihandform: Form 61">
                <a:extLst>
                  <a:ext uri="{FF2B5EF4-FFF2-40B4-BE49-F238E27FC236}">
                    <a16:creationId xmlns:a16="http://schemas.microsoft.com/office/drawing/2014/main" id="{8A43998F-56EA-40DA-9395-F4279F18F952}"/>
                  </a:ext>
                </a:extLst>
              </p:cNvPr>
              <p:cNvSpPr/>
              <p:nvPr/>
            </p:nvSpPr>
            <p:spPr>
              <a:xfrm>
                <a:off x="411163" y="3541840"/>
                <a:ext cx="573406" cy="573406"/>
              </a:xfrm>
              <a:custGeom>
                <a:avLst/>
                <a:gdLst>
                  <a:gd name="connsiteX0" fmla="*/ 0 w 573406"/>
                  <a:gd name="connsiteY0" fmla="*/ 0 h 573406"/>
                  <a:gd name="connsiteX1" fmla="*/ 573406 w 573406"/>
                  <a:gd name="connsiteY1" fmla="*/ 0 h 573406"/>
                  <a:gd name="connsiteX2" fmla="*/ 573406 w 573406"/>
                  <a:gd name="connsiteY2" fmla="*/ 573406 h 573406"/>
                  <a:gd name="connsiteX3" fmla="*/ 0 w 573406"/>
                  <a:gd name="connsiteY3" fmla="*/ 573406 h 573406"/>
                </a:gdLst>
                <a:ahLst/>
                <a:cxnLst>
                  <a:cxn ang="0">
                    <a:pos x="connsiteX0" y="connsiteY0"/>
                  </a:cxn>
                  <a:cxn ang="0">
                    <a:pos x="connsiteX1" y="connsiteY1"/>
                  </a:cxn>
                  <a:cxn ang="0">
                    <a:pos x="connsiteX2" y="connsiteY2"/>
                  </a:cxn>
                  <a:cxn ang="0">
                    <a:pos x="connsiteX3" y="connsiteY3"/>
                  </a:cxn>
                </a:cxnLst>
                <a:rect l="l" t="t" r="r" b="b"/>
                <a:pathLst>
                  <a:path w="573406" h="573406">
                    <a:moveTo>
                      <a:pt x="0" y="0"/>
                    </a:moveTo>
                    <a:lnTo>
                      <a:pt x="573406" y="0"/>
                    </a:lnTo>
                    <a:lnTo>
                      <a:pt x="573406" y="573406"/>
                    </a:lnTo>
                    <a:lnTo>
                      <a:pt x="0" y="573406"/>
                    </a:lnTo>
                    <a:close/>
                  </a:path>
                </a:pathLst>
              </a:custGeom>
              <a:solidFill>
                <a:srgbClr val="00C1B6"/>
              </a:solidFill>
              <a:ln w="14288" cap="flat">
                <a:noFill/>
                <a:prstDash val="solid"/>
                <a:miter/>
              </a:ln>
            </p:spPr>
            <p:txBody>
              <a:bodyPr rtlCol="0" anchor="ctr"/>
              <a:lstStyle/>
              <a:p>
                <a:endParaRPr lang="en-GB"/>
              </a:p>
            </p:txBody>
          </p:sp>
          <p:grpSp>
            <p:nvGrpSpPr>
              <p:cNvPr id="30" name="Graphic 17">
                <a:extLst>
                  <a:ext uri="{FF2B5EF4-FFF2-40B4-BE49-F238E27FC236}">
                    <a16:creationId xmlns:a16="http://schemas.microsoft.com/office/drawing/2014/main" id="{975FD28E-AA39-24E8-6607-E82C741593CD}"/>
                  </a:ext>
                </a:extLst>
              </p:cNvPr>
              <p:cNvGrpSpPr/>
              <p:nvPr/>
            </p:nvGrpSpPr>
            <p:grpSpPr>
              <a:xfrm>
                <a:off x="497460" y="3720312"/>
                <a:ext cx="400811" cy="216460"/>
                <a:chOff x="497460" y="3720312"/>
                <a:chExt cx="400811" cy="216460"/>
              </a:xfrm>
              <a:solidFill>
                <a:srgbClr val="FFFFFF"/>
              </a:solidFill>
            </p:grpSpPr>
            <p:sp>
              <p:nvSpPr>
                <p:cNvPr id="31" name="Freihandform: Form 64">
                  <a:extLst>
                    <a:ext uri="{FF2B5EF4-FFF2-40B4-BE49-F238E27FC236}">
                      <a16:creationId xmlns:a16="http://schemas.microsoft.com/office/drawing/2014/main" id="{A361465C-308C-C9F4-3798-229CD1248AD5}"/>
                    </a:ext>
                  </a:extLst>
                </p:cNvPr>
                <p:cNvSpPr/>
                <p:nvPr/>
              </p:nvSpPr>
              <p:spPr>
                <a:xfrm>
                  <a:off x="497460" y="3720312"/>
                  <a:ext cx="216460" cy="216460"/>
                </a:xfrm>
                <a:custGeom>
                  <a:avLst/>
                  <a:gdLst>
                    <a:gd name="connsiteX0" fmla="*/ 108230 w 216460"/>
                    <a:gd name="connsiteY0" fmla="*/ 0 h 216460"/>
                    <a:gd name="connsiteX1" fmla="*/ 0 w 216460"/>
                    <a:gd name="connsiteY1" fmla="*/ 108230 h 216460"/>
                    <a:gd name="connsiteX2" fmla="*/ 108230 w 216460"/>
                    <a:gd name="connsiteY2" fmla="*/ 216461 h 216460"/>
                    <a:gd name="connsiteX3" fmla="*/ 216461 w 216460"/>
                    <a:gd name="connsiteY3" fmla="*/ 108230 h 216460"/>
                    <a:gd name="connsiteX4" fmla="*/ 108230 w 216460"/>
                    <a:gd name="connsiteY4" fmla="*/ 0 h 216460"/>
                    <a:gd name="connsiteX5" fmla="*/ 108230 w 216460"/>
                    <a:gd name="connsiteY5" fmla="*/ 154963 h 216460"/>
                    <a:gd name="connsiteX6" fmla="*/ 61354 w 216460"/>
                    <a:gd name="connsiteY6" fmla="*/ 108087 h 216460"/>
                    <a:gd name="connsiteX7" fmla="*/ 108230 w 216460"/>
                    <a:gd name="connsiteY7" fmla="*/ 61211 h 216460"/>
                    <a:gd name="connsiteX8" fmla="*/ 155106 w 216460"/>
                    <a:gd name="connsiteY8" fmla="*/ 108087 h 216460"/>
                    <a:gd name="connsiteX9" fmla="*/ 108230 w 216460"/>
                    <a:gd name="connsiteY9" fmla="*/ 154963 h 216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460" h="216460">
                      <a:moveTo>
                        <a:pt x="108230" y="0"/>
                      </a:moveTo>
                      <a:cubicBezTo>
                        <a:pt x="48453" y="0"/>
                        <a:pt x="0" y="48453"/>
                        <a:pt x="0" y="108230"/>
                      </a:cubicBezTo>
                      <a:cubicBezTo>
                        <a:pt x="0" y="168008"/>
                        <a:pt x="48453" y="216461"/>
                        <a:pt x="108230" y="216461"/>
                      </a:cubicBezTo>
                      <a:cubicBezTo>
                        <a:pt x="168008" y="216461"/>
                        <a:pt x="216461" y="168008"/>
                        <a:pt x="216461" y="108230"/>
                      </a:cubicBezTo>
                      <a:cubicBezTo>
                        <a:pt x="216461" y="48453"/>
                        <a:pt x="168008" y="0"/>
                        <a:pt x="108230" y="0"/>
                      </a:cubicBezTo>
                      <a:close/>
                      <a:moveTo>
                        <a:pt x="108230" y="154963"/>
                      </a:moveTo>
                      <a:cubicBezTo>
                        <a:pt x="82427" y="154963"/>
                        <a:pt x="61354" y="134034"/>
                        <a:pt x="61354" y="108087"/>
                      </a:cubicBezTo>
                      <a:cubicBezTo>
                        <a:pt x="61354" y="82140"/>
                        <a:pt x="82284" y="61211"/>
                        <a:pt x="108230" y="61211"/>
                      </a:cubicBezTo>
                      <a:cubicBezTo>
                        <a:pt x="134177" y="61211"/>
                        <a:pt x="155106" y="82140"/>
                        <a:pt x="155106" y="108087"/>
                      </a:cubicBezTo>
                      <a:cubicBezTo>
                        <a:pt x="155106" y="134034"/>
                        <a:pt x="134177" y="154963"/>
                        <a:pt x="108230" y="154963"/>
                      </a:cubicBezTo>
                      <a:close/>
                    </a:path>
                  </a:pathLst>
                </a:custGeom>
                <a:solidFill>
                  <a:schemeClr val="bg2"/>
                </a:solidFill>
                <a:ln w="14288" cap="flat">
                  <a:noFill/>
                  <a:prstDash val="solid"/>
                  <a:miter/>
                </a:ln>
              </p:spPr>
              <p:txBody>
                <a:bodyPr rtlCol="0" anchor="ctr"/>
                <a:lstStyle/>
                <a:p>
                  <a:endParaRPr lang="en-GB"/>
                </a:p>
              </p:txBody>
            </p:sp>
            <p:sp>
              <p:nvSpPr>
                <p:cNvPr id="32" name="Freihandform: Form 65">
                  <a:extLst>
                    <a:ext uri="{FF2B5EF4-FFF2-40B4-BE49-F238E27FC236}">
                      <a16:creationId xmlns:a16="http://schemas.microsoft.com/office/drawing/2014/main" id="{6C778581-298C-97BB-34E1-8694FD95AEB7}"/>
                    </a:ext>
                  </a:extLst>
                </p:cNvPr>
                <p:cNvSpPr/>
                <p:nvPr/>
              </p:nvSpPr>
              <p:spPr>
                <a:xfrm>
                  <a:off x="666615" y="3792705"/>
                  <a:ext cx="231656" cy="71532"/>
                </a:xfrm>
                <a:custGeom>
                  <a:avLst/>
                  <a:gdLst>
                    <a:gd name="connsiteX0" fmla="*/ 0 w 231656"/>
                    <a:gd name="connsiteY0" fmla="*/ 0 h 71532"/>
                    <a:gd name="connsiteX1" fmla="*/ 231656 w 231656"/>
                    <a:gd name="connsiteY1" fmla="*/ 0 h 71532"/>
                    <a:gd name="connsiteX2" fmla="*/ 231656 w 231656"/>
                    <a:gd name="connsiteY2" fmla="*/ 71532 h 71532"/>
                    <a:gd name="connsiteX3" fmla="*/ 0 w 231656"/>
                    <a:gd name="connsiteY3" fmla="*/ 71532 h 71532"/>
                  </a:gdLst>
                  <a:ahLst/>
                  <a:cxnLst>
                    <a:cxn ang="0">
                      <a:pos x="connsiteX0" y="connsiteY0"/>
                    </a:cxn>
                    <a:cxn ang="0">
                      <a:pos x="connsiteX1" y="connsiteY1"/>
                    </a:cxn>
                    <a:cxn ang="0">
                      <a:pos x="connsiteX2" y="connsiteY2"/>
                    </a:cxn>
                    <a:cxn ang="0">
                      <a:pos x="connsiteX3" y="connsiteY3"/>
                    </a:cxn>
                  </a:cxnLst>
                  <a:rect l="l" t="t" r="r" b="b"/>
                  <a:pathLst>
                    <a:path w="231656" h="71532">
                      <a:moveTo>
                        <a:pt x="0" y="0"/>
                      </a:moveTo>
                      <a:lnTo>
                        <a:pt x="231656" y="0"/>
                      </a:lnTo>
                      <a:lnTo>
                        <a:pt x="231656" y="71532"/>
                      </a:lnTo>
                      <a:lnTo>
                        <a:pt x="0" y="71532"/>
                      </a:lnTo>
                      <a:close/>
                    </a:path>
                  </a:pathLst>
                </a:custGeom>
                <a:solidFill>
                  <a:schemeClr val="bg2"/>
                </a:solidFill>
                <a:ln w="14288" cap="flat">
                  <a:noFill/>
                  <a:prstDash val="solid"/>
                  <a:miter/>
                </a:ln>
              </p:spPr>
              <p:txBody>
                <a:bodyPr rtlCol="0" anchor="ctr"/>
                <a:lstStyle/>
                <a:p>
                  <a:endParaRPr lang="en-GB"/>
                </a:p>
              </p:txBody>
            </p:sp>
            <p:sp>
              <p:nvSpPr>
                <p:cNvPr id="33" name="Freihandform: Form 66">
                  <a:extLst>
                    <a:ext uri="{FF2B5EF4-FFF2-40B4-BE49-F238E27FC236}">
                      <a16:creationId xmlns:a16="http://schemas.microsoft.com/office/drawing/2014/main" id="{555AE84E-5CF8-6E3B-8081-CF2035BBA3BB}"/>
                    </a:ext>
                  </a:extLst>
                </p:cNvPr>
                <p:cNvSpPr/>
                <p:nvPr/>
              </p:nvSpPr>
              <p:spPr>
                <a:xfrm rot="5400000">
                  <a:off x="761370" y="3836140"/>
                  <a:ext cx="128586" cy="71532"/>
                </a:xfrm>
                <a:custGeom>
                  <a:avLst/>
                  <a:gdLst>
                    <a:gd name="connsiteX0" fmla="*/ 0 w 128586"/>
                    <a:gd name="connsiteY0" fmla="*/ 0 h 71532"/>
                    <a:gd name="connsiteX1" fmla="*/ 128586 w 128586"/>
                    <a:gd name="connsiteY1" fmla="*/ 0 h 71532"/>
                    <a:gd name="connsiteX2" fmla="*/ 128586 w 128586"/>
                    <a:gd name="connsiteY2" fmla="*/ 71532 h 71532"/>
                    <a:gd name="connsiteX3" fmla="*/ 0 w 128586"/>
                    <a:gd name="connsiteY3" fmla="*/ 71532 h 71532"/>
                  </a:gdLst>
                  <a:ahLst/>
                  <a:cxnLst>
                    <a:cxn ang="0">
                      <a:pos x="connsiteX0" y="connsiteY0"/>
                    </a:cxn>
                    <a:cxn ang="0">
                      <a:pos x="connsiteX1" y="connsiteY1"/>
                    </a:cxn>
                    <a:cxn ang="0">
                      <a:pos x="connsiteX2" y="connsiteY2"/>
                    </a:cxn>
                    <a:cxn ang="0">
                      <a:pos x="connsiteX3" y="connsiteY3"/>
                    </a:cxn>
                  </a:cxnLst>
                  <a:rect l="l" t="t" r="r" b="b"/>
                  <a:pathLst>
                    <a:path w="128586" h="71532">
                      <a:moveTo>
                        <a:pt x="0" y="0"/>
                      </a:moveTo>
                      <a:lnTo>
                        <a:pt x="128586" y="0"/>
                      </a:lnTo>
                      <a:lnTo>
                        <a:pt x="128586" y="71532"/>
                      </a:lnTo>
                      <a:lnTo>
                        <a:pt x="0" y="71532"/>
                      </a:lnTo>
                      <a:close/>
                    </a:path>
                  </a:pathLst>
                </a:custGeom>
                <a:solidFill>
                  <a:schemeClr val="accent6"/>
                </a:solidFill>
                <a:ln w="14288" cap="flat">
                  <a:noFill/>
                  <a:prstDash val="solid"/>
                  <a:miter/>
                </a:ln>
              </p:spPr>
              <p:txBody>
                <a:bodyPr rtlCol="0" anchor="ctr"/>
                <a:lstStyle/>
                <a:p>
                  <a:endParaRPr lang="en-GB"/>
                </a:p>
              </p:txBody>
            </p:sp>
          </p:grpSp>
        </p:grpSp>
      </p:grpSp>
      <p:grpSp>
        <p:nvGrpSpPr>
          <p:cNvPr id="82" name="Gruppieren 81">
            <a:extLst>
              <a:ext uri="{FF2B5EF4-FFF2-40B4-BE49-F238E27FC236}">
                <a16:creationId xmlns:a16="http://schemas.microsoft.com/office/drawing/2014/main" id="{F532BAA3-2BD6-389B-FEFF-F2691B466ED8}"/>
              </a:ext>
            </a:extLst>
          </p:cNvPr>
          <p:cNvGrpSpPr>
            <a:grpSpLocks/>
          </p:cNvGrpSpPr>
          <p:nvPr/>
        </p:nvGrpSpPr>
        <p:grpSpPr>
          <a:xfrm>
            <a:off x="411163" y="4033046"/>
            <a:ext cx="5573161" cy="573406"/>
            <a:chOff x="411163" y="3712193"/>
            <a:chExt cx="5573161" cy="573406"/>
          </a:xfrm>
        </p:grpSpPr>
        <p:sp>
          <p:nvSpPr>
            <p:cNvPr id="15" name="TextBox 10">
              <a:extLst>
                <a:ext uri="{FF2B5EF4-FFF2-40B4-BE49-F238E27FC236}">
                  <a16:creationId xmlns:a16="http://schemas.microsoft.com/office/drawing/2014/main" id="{D8AAE3ED-7D80-667D-302B-4E1FA7E089CE}"/>
                </a:ext>
              </a:extLst>
            </p:cNvPr>
            <p:cNvSpPr txBox="1">
              <a:spLocks/>
            </p:cNvSpPr>
            <p:nvPr/>
          </p:nvSpPr>
          <p:spPr>
            <a:xfrm>
              <a:off x="1142595" y="3860397"/>
              <a:ext cx="4841729" cy="276999"/>
            </a:xfrm>
            <a:prstGeom prst="rect">
              <a:avLst/>
            </a:prstGeom>
            <a:noFill/>
          </p:spPr>
          <p:txBody>
            <a:bodyPr wrap="square" lIns="0" tIns="0" rIns="0" bIns="0" rtlCol="0">
              <a:spAutoFit/>
            </a:bodyPr>
            <a:lstStyle/>
            <a:p>
              <a:pPr algn="l">
                <a:spcAft>
                  <a:spcPts val="2400"/>
                </a:spcAft>
              </a:pPr>
              <a:r>
                <a:rPr lang="en-GB">
                  <a:solidFill>
                    <a:schemeClr val="tx1"/>
                  </a:solidFill>
                  <a:latin typeface="+mn-lt"/>
                </a:rPr>
                <a:t>Integration of local workplace</a:t>
              </a:r>
            </a:p>
          </p:txBody>
        </p:sp>
        <p:grpSp>
          <p:nvGrpSpPr>
            <p:cNvPr id="34" name="Graphic 19">
              <a:extLst>
                <a:ext uri="{FF2B5EF4-FFF2-40B4-BE49-F238E27FC236}">
                  <a16:creationId xmlns:a16="http://schemas.microsoft.com/office/drawing/2014/main" id="{57D73FCC-776B-500B-CF31-C84D500436DF}"/>
                </a:ext>
              </a:extLst>
            </p:cNvPr>
            <p:cNvGrpSpPr>
              <a:grpSpLocks/>
            </p:cNvGrpSpPr>
            <p:nvPr/>
          </p:nvGrpSpPr>
          <p:grpSpPr>
            <a:xfrm rot="10800000">
              <a:off x="411163" y="3712193"/>
              <a:ext cx="573406" cy="573406"/>
              <a:chOff x="411163" y="4225905"/>
              <a:chExt cx="573406" cy="573406"/>
            </a:xfrm>
          </p:grpSpPr>
          <p:sp>
            <p:nvSpPr>
              <p:cNvPr id="35" name="Freihandform: Form 68">
                <a:extLst>
                  <a:ext uri="{FF2B5EF4-FFF2-40B4-BE49-F238E27FC236}">
                    <a16:creationId xmlns:a16="http://schemas.microsoft.com/office/drawing/2014/main" id="{60CC0D34-20B8-866B-3055-09186FAE81DC}"/>
                  </a:ext>
                </a:extLst>
              </p:cNvPr>
              <p:cNvSpPr/>
              <p:nvPr/>
            </p:nvSpPr>
            <p:spPr>
              <a:xfrm>
                <a:off x="411163" y="4225905"/>
                <a:ext cx="573406" cy="573406"/>
              </a:xfrm>
              <a:custGeom>
                <a:avLst/>
                <a:gdLst>
                  <a:gd name="connsiteX0" fmla="*/ 0 w 573406"/>
                  <a:gd name="connsiteY0" fmla="*/ 0 h 573406"/>
                  <a:gd name="connsiteX1" fmla="*/ 573406 w 573406"/>
                  <a:gd name="connsiteY1" fmla="*/ 0 h 573406"/>
                  <a:gd name="connsiteX2" fmla="*/ 573406 w 573406"/>
                  <a:gd name="connsiteY2" fmla="*/ 573406 h 573406"/>
                  <a:gd name="connsiteX3" fmla="*/ 0 w 573406"/>
                  <a:gd name="connsiteY3" fmla="*/ 573406 h 573406"/>
                </a:gdLst>
                <a:ahLst/>
                <a:cxnLst>
                  <a:cxn ang="0">
                    <a:pos x="connsiteX0" y="connsiteY0"/>
                  </a:cxn>
                  <a:cxn ang="0">
                    <a:pos x="connsiteX1" y="connsiteY1"/>
                  </a:cxn>
                  <a:cxn ang="0">
                    <a:pos x="connsiteX2" y="connsiteY2"/>
                  </a:cxn>
                  <a:cxn ang="0">
                    <a:pos x="connsiteX3" y="connsiteY3"/>
                  </a:cxn>
                </a:cxnLst>
                <a:rect l="l" t="t" r="r" b="b"/>
                <a:pathLst>
                  <a:path w="573406" h="573406">
                    <a:moveTo>
                      <a:pt x="0" y="0"/>
                    </a:moveTo>
                    <a:lnTo>
                      <a:pt x="573406" y="0"/>
                    </a:lnTo>
                    <a:lnTo>
                      <a:pt x="573406" y="573406"/>
                    </a:lnTo>
                    <a:lnTo>
                      <a:pt x="0" y="573406"/>
                    </a:lnTo>
                    <a:close/>
                  </a:path>
                </a:pathLst>
              </a:custGeom>
              <a:solidFill>
                <a:srgbClr val="00C1B6"/>
              </a:solidFill>
              <a:ln w="14288" cap="flat">
                <a:noFill/>
                <a:prstDash val="solid"/>
                <a:miter/>
              </a:ln>
            </p:spPr>
            <p:txBody>
              <a:bodyPr rtlCol="0" anchor="ctr"/>
              <a:lstStyle/>
              <a:p>
                <a:endParaRPr lang="en-GB"/>
              </a:p>
            </p:txBody>
          </p:sp>
          <p:grpSp>
            <p:nvGrpSpPr>
              <p:cNvPr id="36" name="Graphic 19">
                <a:extLst>
                  <a:ext uri="{FF2B5EF4-FFF2-40B4-BE49-F238E27FC236}">
                    <a16:creationId xmlns:a16="http://schemas.microsoft.com/office/drawing/2014/main" id="{1A497069-3F11-95EA-FE54-A44A0FA357BD}"/>
                  </a:ext>
                </a:extLst>
              </p:cNvPr>
              <p:cNvGrpSpPr/>
              <p:nvPr/>
            </p:nvGrpSpPr>
            <p:grpSpPr>
              <a:xfrm>
                <a:off x="482838" y="4333705"/>
                <a:ext cx="430054" cy="357805"/>
                <a:chOff x="482838" y="4333705"/>
                <a:chExt cx="430054" cy="357805"/>
              </a:xfrm>
              <a:solidFill>
                <a:srgbClr val="FFFFFF"/>
              </a:solidFill>
            </p:grpSpPr>
            <p:sp>
              <p:nvSpPr>
                <p:cNvPr id="37" name="Freihandform: Form 70">
                  <a:extLst>
                    <a:ext uri="{FF2B5EF4-FFF2-40B4-BE49-F238E27FC236}">
                      <a16:creationId xmlns:a16="http://schemas.microsoft.com/office/drawing/2014/main" id="{736AFB2D-38E0-D84E-8157-7F331C9EDFBA}"/>
                    </a:ext>
                  </a:extLst>
                </p:cNvPr>
                <p:cNvSpPr/>
                <p:nvPr/>
              </p:nvSpPr>
              <p:spPr>
                <a:xfrm>
                  <a:off x="482838" y="4436918"/>
                  <a:ext cx="430054" cy="254592"/>
                </a:xfrm>
                <a:custGeom>
                  <a:avLst/>
                  <a:gdLst>
                    <a:gd name="connsiteX0" fmla="*/ 430055 w 430054"/>
                    <a:gd name="connsiteY0" fmla="*/ 254592 h 254592"/>
                    <a:gd name="connsiteX1" fmla="*/ 0 w 430054"/>
                    <a:gd name="connsiteY1" fmla="*/ 254592 h 254592"/>
                    <a:gd name="connsiteX2" fmla="*/ 0 w 430054"/>
                    <a:gd name="connsiteY2" fmla="*/ 0 h 254592"/>
                    <a:gd name="connsiteX3" fmla="*/ 28670 w 430054"/>
                    <a:gd name="connsiteY3" fmla="*/ 0 h 254592"/>
                    <a:gd name="connsiteX4" fmla="*/ 28670 w 430054"/>
                    <a:gd name="connsiteY4" fmla="*/ 225922 h 254592"/>
                    <a:gd name="connsiteX5" fmla="*/ 401384 w 430054"/>
                    <a:gd name="connsiteY5" fmla="*/ 225922 h 254592"/>
                    <a:gd name="connsiteX6" fmla="*/ 401384 w 430054"/>
                    <a:gd name="connsiteY6" fmla="*/ 0 h 254592"/>
                    <a:gd name="connsiteX7" fmla="*/ 430055 w 430054"/>
                    <a:gd name="connsiteY7" fmla="*/ 0 h 254592"/>
                    <a:gd name="connsiteX8" fmla="*/ 430055 w 430054"/>
                    <a:gd name="connsiteY8" fmla="*/ 254592 h 25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054" h="254592">
                      <a:moveTo>
                        <a:pt x="430055" y="254592"/>
                      </a:moveTo>
                      <a:lnTo>
                        <a:pt x="0" y="254592"/>
                      </a:lnTo>
                      <a:lnTo>
                        <a:pt x="0" y="0"/>
                      </a:lnTo>
                      <a:lnTo>
                        <a:pt x="28670" y="0"/>
                      </a:lnTo>
                      <a:lnTo>
                        <a:pt x="28670" y="225922"/>
                      </a:lnTo>
                      <a:lnTo>
                        <a:pt x="401384" y="225922"/>
                      </a:lnTo>
                      <a:lnTo>
                        <a:pt x="401384" y="0"/>
                      </a:lnTo>
                      <a:lnTo>
                        <a:pt x="430055" y="0"/>
                      </a:lnTo>
                      <a:lnTo>
                        <a:pt x="430055" y="254592"/>
                      </a:lnTo>
                      <a:close/>
                    </a:path>
                  </a:pathLst>
                </a:custGeom>
                <a:solidFill>
                  <a:schemeClr val="bg2"/>
                </a:solidFill>
                <a:ln w="14288" cap="flat">
                  <a:noFill/>
                  <a:prstDash val="solid"/>
                  <a:miter/>
                </a:ln>
              </p:spPr>
              <p:txBody>
                <a:bodyPr rtlCol="0" anchor="ctr"/>
                <a:lstStyle/>
                <a:p>
                  <a:endParaRPr lang="en-GB"/>
                </a:p>
              </p:txBody>
            </p:sp>
            <p:sp>
              <p:nvSpPr>
                <p:cNvPr id="38" name="Freihandform: Form 71">
                  <a:extLst>
                    <a:ext uri="{FF2B5EF4-FFF2-40B4-BE49-F238E27FC236}">
                      <a16:creationId xmlns:a16="http://schemas.microsoft.com/office/drawing/2014/main" id="{07423A7D-7A14-E5B8-C2C5-81F21413EEA6}"/>
                    </a:ext>
                  </a:extLst>
                </p:cNvPr>
                <p:cNvSpPr/>
                <p:nvPr/>
              </p:nvSpPr>
              <p:spPr>
                <a:xfrm>
                  <a:off x="483268" y="4333705"/>
                  <a:ext cx="429051" cy="75259"/>
                </a:xfrm>
                <a:custGeom>
                  <a:avLst/>
                  <a:gdLst>
                    <a:gd name="connsiteX0" fmla="*/ 0 w 429051"/>
                    <a:gd name="connsiteY0" fmla="*/ 0 h 75259"/>
                    <a:gd name="connsiteX1" fmla="*/ 0 w 429051"/>
                    <a:gd name="connsiteY1" fmla="*/ 75260 h 75259"/>
                    <a:gd name="connsiteX2" fmla="*/ 429051 w 429051"/>
                    <a:gd name="connsiteY2" fmla="*/ 75260 h 75259"/>
                    <a:gd name="connsiteX3" fmla="*/ 429051 w 429051"/>
                    <a:gd name="connsiteY3" fmla="*/ 0 h 75259"/>
                    <a:gd name="connsiteX4" fmla="*/ 0 w 429051"/>
                    <a:gd name="connsiteY4" fmla="*/ 0 h 75259"/>
                    <a:gd name="connsiteX5" fmla="*/ 43722 w 429051"/>
                    <a:gd name="connsiteY5" fmla="*/ 54330 h 75259"/>
                    <a:gd name="connsiteX6" fmla="*/ 27093 w 429051"/>
                    <a:gd name="connsiteY6" fmla="*/ 37701 h 75259"/>
                    <a:gd name="connsiteX7" fmla="*/ 43722 w 429051"/>
                    <a:gd name="connsiteY7" fmla="*/ 21073 h 75259"/>
                    <a:gd name="connsiteX8" fmla="*/ 60351 w 429051"/>
                    <a:gd name="connsiteY8" fmla="*/ 37701 h 75259"/>
                    <a:gd name="connsiteX9" fmla="*/ 43722 w 429051"/>
                    <a:gd name="connsiteY9" fmla="*/ 54330 h 75259"/>
                    <a:gd name="connsiteX10" fmla="*/ 93035 w 429051"/>
                    <a:gd name="connsiteY10" fmla="*/ 54330 h 75259"/>
                    <a:gd name="connsiteX11" fmla="*/ 76406 w 429051"/>
                    <a:gd name="connsiteY11" fmla="*/ 37701 h 75259"/>
                    <a:gd name="connsiteX12" fmla="*/ 93035 w 429051"/>
                    <a:gd name="connsiteY12" fmla="*/ 21073 h 75259"/>
                    <a:gd name="connsiteX13" fmla="*/ 109664 w 429051"/>
                    <a:gd name="connsiteY13" fmla="*/ 37701 h 75259"/>
                    <a:gd name="connsiteX14" fmla="*/ 93035 w 429051"/>
                    <a:gd name="connsiteY14" fmla="*/ 54330 h 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9051" h="75259">
                      <a:moveTo>
                        <a:pt x="0" y="0"/>
                      </a:moveTo>
                      <a:lnTo>
                        <a:pt x="0" y="75260"/>
                      </a:lnTo>
                      <a:lnTo>
                        <a:pt x="429051" y="75260"/>
                      </a:lnTo>
                      <a:lnTo>
                        <a:pt x="429051" y="0"/>
                      </a:lnTo>
                      <a:lnTo>
                        <a:pt x="0" y="0"/>
                      </a:lnTo>
                      <a:close/>
                      <a:moveTo>
                        <a:pt x="43722" y="54330"/>
                      </a:moveTo>
                      <a:cubicBezTo>
                        <a:pt x="34548" y="54330"/>
                        <a:pt x="27093" y="46876"/>
                        <a:pt x="27093" y="37701"/>
                      </a:cubicBezTo>
                      <a:cubicBezTo>
                        <a:pt x="27093" y="28527"/>
                        <a:pt x="34548" y="21073"/>
                        <a:pt x="43722" y="21073"/>
                      </a:cubicBezTo>
                      <a:cubicBezTo>
                        <a:pt x="52897" y="21073"/>
                        <a:pt x="60351" y="28527"/>
                        <a:pt x="60351" y="37701"/>
                      </a:cubicBezTo>
                      <a:cubicBezTo>
                        <a:pt x="60351" y="46876"/>
                        <a:pt x="52897" y="54330"/>
                        <a:pt x="43722" y="54330"/>
                      </a:cubicBezTo>
                      <a:close/>
                      <a:moveTo>
                        <a:pt x="93035" y="54330"/>
                      </a:moveTo>
                      <a:cubicBezTo>
                        <a:pt x="83861" y="54330"/>
                        <a:pt x="76406" y="46876"/>
                        <a:pt x="76406" y="37701"/>
                      </a:cubicBezTo>
                      <a:cubicBezTo>
                        <a:pt x="76406" y="28527"/>
                        <a:pt x="83861" y="21073"/>
                        <a:pt x="93035" y="21073"/>
                      </a:cubicBezTo>
                      <a:cubicBezTo>
                        <a:pt x="102210" y="21073"/>
                        <a:pt x="109664" y="28527"/>
                        <a:pt x="109664" y="37701"/>
                      </a:cubicBezTo>
                      <a:cubicBezTo>
                        <a:pt x="109664" y="46876"/>
                        <a:pt x="102210" y="54330"/>
                        <a:pt x="93035" y="54330"/>
                      </a:cubicBezTo>
                      <a:close/>
                    </a:path>
                  </a:pathLst>
                </a:custGeom>
                <a:solidFill>
                  <a:schemeClr val="bg2"/>
                </a:solidFill>
                <a:ln w="14288" cap="flat">
                  <a:noFill/>
                  <a:prstDash val="solid"/>
                  <a:miter/>
                </a:ln>
              </p:spPr>
              <p:txBody>
                <a:bodyPr rtlCol="0" anchor="ctr"/>
                <a:lstStyle/>
                <a:p>
                  <a:endParaRPr lang="en-GB"/>
                </a:p>
              </p:txBody>
            </p:sp>
          </p:grpSp>
        </p:grpSp>
      </p:grpSp>
      <p:grpSp>
        <p:nvGrpSpPr>
          <p:cNvPr id="83" name="Gruppieren 82">
            <a:extLst>
              <a:ext uri="{FF2B5EF4-FFF2-40B4-BE49-F238E27FC236}">
                <a16:creationId xmlns:a16="http://schemas.microsoft.com/office/drawing/2014/main" id="{256CBD76-B177-A784-1DC7-7E99BDC9EC61}"/>
              </a:ext>
            </a:extLst>
          </p:cNvPr>
          <p:cNvGrpSpPr>
            <a:grpSpLocks/>
          </p:cNvGrpSpPr>
          <p:nvPr/>
        </p:nvGrpSpPr>
        <p:grpSpPr>
          <a:xfrm>
            <a:off x="411163" y="4750452"/>
            <a:ext cx="5582144" cy="573406"/>
            <a:chOff x="411163" y="4324261"/>
            <a:chExt cx="5582144" cy="573406"/>
          </a:xfrm>
        </p:grpSpPr>
        <p:sp>
          <p:nvSpPr>
            <p:cNvPr id="16" name="TextBox 12">
              <a:extLst>
                <a:ext uri="{FF2B5EF4-FFF2-40B4-BE49-F238E27FC236}">
                  <a16:creationId xmlns:a16="http://schemas.microsoft.com/office/drawing/2014/main" id="{093EE0DD-8D35-B82C-56CD-D10E08D24617}"/>
                </a:ext>
              </a:extLst>
            </p:cNvPr>
            <p:cNvSpPr txBox="1">
              <a:spLocks/>
            </p:cNvSpPr>
            <p:nvPr/>
          </p:nvSpPr>
          <p:spPr>
            <a:xfrm>
              <a:off x="1151578" y="4333965"/>
              <a:ext cx="4841729" cy="553998"/>
            </a:xfrm>
            <a:prstGeom prst="rect">
              <a:avLst/>
            </a:prstGeom>
            <a:noFill/>
          </p:spPr>
          <p:txBody>
            <a:bodyPr wrap="square" lIns="0" tIns="0" rIns="0" bIns="0" rtlCol="0" anchor="t">
              <a:spAutoFit/>
            </a:bodyPr>
            <a:lstStyle/>
            <a:p>
              <a:pPr algn="l">
                <a:spcAft>
                  <a:spcPts val="2400"/>
                </a:spcAft>
              </a:pPr>
              <a:r>
                <a:rPr lang="en-GB">
                  <a:solidFill>
                    <a:schemeClr val="tx1"/>
                  </a:solidFill>
                  <a:latin typeface="+mn-lt"/>
                </a:rPr>
                <a:t>SaaS Business Model</a:t>
              </a:r>
              <a:br>
                <a:rPr lang="en-GB">
                  <a:solidFill>
                    <a:schemeClr val="tx1"/>
                  </a:solidFill>
                  <a:latin typeface="+mn-lt"/>
                </a:rPr>
              </a:br>
              <a:r>
                <a:rPr lang="en-GB">
                  <a:solidFill>
                    <a:schemeClr val="tx1"/>
                  </a:solidFill>
                  <a:latin typeface="+mn-lt"/>
                </a:rPr>
                <a:t>You pay what you use</a:t>
              </a:r>
            </a:p>
          </p:txBody>
        </p:sp>
        <p:grpSp>
          <p:nvGrpSpPr>
            <p:cNvPr id="39" name="Graphic 23">
              <a:extLst>
                <a:ext uri="{FF2B5EF4-FFF2-40B4-BE49-F238E27FC236}">
                  <a16:creationId xmlns:a16="http://schemas.microsoft.com/office/drawing/2014/main" id="{DEFD6ED3-DFC7-9FFA-1DD8-6C759DAF230C}"/>
                </a:ext>
              </a:extLst>
            </p:cNvPr>
            <p:cNvGrpSpPr>
              <a:grpSpLocks/>
            </p:cNvGrpSpPr>
            <p:nvPr/>
          </p:nvGrpSpPr>
          <p:grpSpPr>
            <a:xfrm>
              <a:off x="411163" y="4324261"/>
              <a:ext cx="573406" cy="573406"/>
              <a:chOff x="411163" y="5594032"/>
              <a:chExt cx="573406" cy="573406"/>
            </a:xfrm>
          </p:grpSpPr>
          <p:sp>
            <p:nvSpPr>
              <p:cNvPr id="40" name="Freihandform: Form 73">
                <a:extLst>
                  <a:ext uri="{FF2B5EF4-FFF2-40B4-BE49-F238E27FC236}">
                    <a16:creationId xmlns:a16="http://schemas.microsoft.com/office/drawing/2014/main" id="{8A93D3DC-92F0-0E05-FEE1-1A9E831D3FFB}"/>
                  </a:ext>
                </a:extLst>
              </p:cNvPr>
              <p:cNvSpPr/>
              <p:nvPr/>
            </p:nvSpPr>
            <p:spPr>
              <a:xfrm>
                <a:off x="411163" y="5594032"/>
                <a:ext cx="573406" cy="573406"/>
              </a:xfrm>
              <a:custGeom>
                <a:avLst/>
                <a:gdLst>
                  <a:gd name="connsiteX0" fmla="*/ 0 w 573406"/>
                  <a:gd name="connsiteY0" fmla="*/ 0 h 573406"/>
                  <a:gd name="connsiteX1" fmla="*/ 573406 w 573406"/>
                  <a:gd name="connsiteY1" fmla="*/ 0 h 573406"/>
                  <a:gd name="connsiteX2" fmla="*/ 573406 w 573406"/>
                  <a:gd name="connsiteY2" fmla="*/ 573406 h 573406"/>
                  <a:gd name="connsiteX3" fmla="*/ 0 w 573406"/>
                  <a:gd name="connsiteY3" fmla="*/ 573406 h 573406"/>
                </a:gdLst>
                <a:ahLst/>
                <a:cxnLst>
                  <a:cxn ang="0">
                    <a:pos x="connsiteX0" y="connsiteY0"/>
                  </a:cxn>
                  <a:cxn ang="0">
                    <a:pos x="connsiteX1" y="connsiteY1"/>
                  </a:cxn>
                  <a:cxn ang="0">
                    <a:pos x="connsiteX2" y="connsiteY2"/>
                  </a:cxn>
                  <a:cxn ang="0">
                    <a:pos x="connsiteX3" y="connsiteY3"/>
                  </a:cxn>
                </a:cxnLst>
                <a:rect l="l" t="t" r="r" b="b"/>
                <a:pathLst>
                  <a:path w="573406" h="573406">
                    <a:moveTo>
                      <a:pt x="0" y="0"/>
                    </a:moveTo>
                    <a:lnTo>
                      <a:pt x="573406" y="0"/>
                    </a:lnTo>
                    <a:lnTo>
                      <a:pt x="573406" y="573406"/>
                    </a:lnTo>
                    <a:lnTo>
                      <a:pt x="0" y="573406"/>
                    </a:lnTo>
                    <a:close/>
                  </a:path>
                </a:pathLst>
              </a:custGeom>
              <a:solidFill>
                <a:srgbClr val="00C1B6"/>
              </a:solidFill>
              <a:ln w="14288" cap="flat">
                <a:noFill/>
                <a:prstDash val="solid"/>
                <a:miter/>
              </a:ln>
            </p:spPr>
            <p:txBody>
              <a:bodyPr rtlCol="0" anchor="ctr"/>
              <a:lstStyle/>
              <a:p>
                <a:endParaRPr lang="en-GB"/>
              </a:p>
            </p:txBody>
          </p:sp>
          <p:grpSp>
            <p:nvGrpSpPr>
              <p:cNvPr id="41" name="Graphic 23">
                <a:extLst>
                  <a:ext uri="{FF2B5EF4-FFF2-40B4-BE49-F238E27FC236}">
                    <a16:creationId xmlns:a16="http://schemas.microsoft.com/office/drawing/2014/main" id="{42D428F5-90AE-4D7E-7294-3649FE181167}"/>
                  </a:ext>
                </a:extLst>
              </p:cNvPr>
              <p:cNvGrpSpPr/>
              <p:nvPr/>
            </p:nvGrpSpPr>
            <p:grpSpPr>
              <a:xfrm>
                <a:off x="482838" y="5665707"/>
                <a:ext cx="430054" cy="430054"/>
                <a:chOff x="482838" y="5665707"/>
                <a:chExt cx="430054" cy="430054"/>
              </a:xfrm>
            </p:grpSpPr>
            <p:sp>
              <p:nvSpPr>
                <p:cNvPr id="42" name="Freihandform: Form 75">
                  <a:extLst>
                    <a:ext uri="{FF2B5EF4-FFF2-40B4-BE49-F238E27FC236}">
                      <a16:creationId xmlns:a16="http://schemas.microsoft.com/office/drawing/2014/main" id="{C064F74F-4D4A-9D66-8CFD-73E77711879C}"/>
                    </a:ext>
                  </a:extLst>
                </p:cNvPr>
                <p:cNvSpPr/>
                <p:nvPr/>
              </p:nvSpPr>
              <p:spPr>
                <a:xfrm>
                  <a:off x="627480" y="5837586"/>
                  <a:ext cx="142204" cy="90311"/>
                </a:xfrm>
                <a:custGeom>
                  <a:avLst/>
                  <a:gdLst>
                    <a:gd name="connsiteX0" fmla="*/ 0 w 142204"/>
                    <a:gd name="connsiteY0" fmla="*/ 38418 h 90311"/>
                    <a:gd name="connsiteX1" fmla="*/ 51893 w 142204"/>
                    <a:gd name="connsiteY1" fmla="*/ 90311 h 90311"/>
                    <a:gd name="connsiteX2" fmla="*/ 142205 w 142204"/>
                    <a:gd name="connsiteY2" fmla="*/ 0 h 90311"/>
                  </a:gdLst>
                  <a:ahLst/>
                  <a:cxnLst>
                    <a:cxn ang="0">
                      <a:pos x="connsiteX0" y="connsiteY0"/>
                    </a:cxn>
                    <a:cxn ang="0">
                      <a:pos x="connsiteX1" y="connsiteY1"/>
                    </a:cxn>
                    <a:cxn ang="0">
                      <a:pos x="connsiteX2" y="connsiteY2"/>
                    </a:cxn>
                  </a:cxnLst>
                  <a:rect l="l" t="t" r="r" b="b"/>
                  <a:pathLst>
                    <a:path w="142204" h="90311">
                      <a:moveTo>
                        <a:pt x="0" y="38418"/>
                      </a:moveTo>
                      <a:lnTo>
                        <a:pt x="51893" y="90311"/>
                      </a:lnTo>
                      <a:lnTo>
                        <a:pt x="142205" y="0"/>
                      </a:lnTo>
                    </a:path>
                  </a:pathLst>
                </a:custGeom>
                <a:noFill/>
                <a:ln w="28575" cap="flat">
                  <a:solidFill>
                    <a:schemeClr val="bg2"/>
                  </a:solidFill>
                  <a:prstDash val="solid"/>
                  <a:miter/>
                </a:ln>
              </p:spPr>
              <p:txBody>
                <a:bodyPr rtlCol="0" anchor="ctr"/>
                <a:lstStyle/>
                <a:p>
                  <a:endParaRPr lang="en-GB"/>
                </a:p>
              </p:txBody>
            </p:sp>
            <p:sp>
              <p:nvSpPr>
                <p:cNvPr id="43" name="Freihandform: Form 76">
                  <a:extLst>
                    <a:ext uri="{FF2B5EF4-FFF2-40B4-BE49-F238E27FC236}">
                      <a16:creationId xmlns:a16="http://schemas.microsoft.com/office/drawing/2014/main" id="{844C668B-3D71-F2A5-E0BD-DE52B84E08CF}"/>
                    </a:ext>
                  </a:extLst>
                </p:cNvPr>
                <p:cNvSpPr/>
                <p:nvPr/>
              </p:nvSpPr>
              <p:spPr>
                <a:xfrm>
                  <a:off x="482838" y="5665707"/>
                  <a:ext cx="430054" cy="430054"/>
                </a:xfrm>
                <a:custGeom>
                  <a:avLst/>
                  <a:gdLst>
                    <a:gd name="connsiteX0" fmla="*/ 391493 w 430054"/>
                    <a:gd name="connsiteY0" fmla="*/ 215027 h 430054"/>
                    <a:gd name="connsiteX1" fmla="*/ 389629 w 430054"/>
                    <a:gd name="connsiteY1" fmla="*/ 190944 h 430054"/>
                    <a:gd name="connsiteX2" fmla="*/ 430055 w 430054"/>
                    <a:gd name="connsiteY2" fmla="*/ 154533 h 430054"/>
                    <a:gd name="connsiteX3" fmla="*/ 409985 w 430054"/>
                    <a:gd name="connsiteY3" fmla="*/ 105793 h 430054"/>
                    <a:gd name="connsiteX4" fmla="*/ 355512 w 430054"/>
                    <a:gd name="connsiteY4" fmla="*/ 108517 h 430054"/>
                    <a:gd name="connsiteX5" fmla="*/ 321537 w 430054"/>
                    <a:gd name="connsiteY5" fmla="*/ 74543 h 430054"/>
                    <a:gd name="connsiteX6" fmla="*/ 324261 w 430054"/>
                    <a:gd name="connsiteY6" fmla="*/ 20069 h 430054"/>
                    <a:gd name="connsiteX7" fmla="*/ 275522 w 430054"/>
                    <a:gd name="connsiteY7" fmla="*/ 0 h 430054"/>
                    <a:gd name="connsiteX8" fmla="*/ 239110 w 430054"/>
                    <a:gd name="connsiteY8" fmla="*/ 40425 h 430054"/>
                    <a:gd name="connsiteX9" fmla="*/ 215027 w 430054"/>
                    <a:gd name="connsiteY9" fmla="*/ 38562 h 430054"/>
                    <a:gd name="connsiteX10" fmla="*/ 190944 w 430054"/>
                    <a:gd name="connsiteY10" fmla="*/ 40425 h 430054"/>
                    <a:gd name="connsiteX11" fmla="*/ 154533 w 430054"/>
                    <a:gd name="connsiteY11" fmla="*/ 0 h 430054"/>
                    <a:gd name="connsiteX12" fmla="*/ 105793 w 430054"/>
                    <a:gd name="connsiteY12" fmla="*/ 20069 h 430054"/>
                    <a:gd name="connsiteX13" fmla="*/ 108517 w 430054"/>
                    <a:gd name="connsiteY13" fmla="*/ 74543 h 430054"/>
                    <a:gd name="connsiteX14" fmla="*/ 74543 w 430054"/>
                    <a:gd name="connsiteY14" fmla="*/ 108517 h 430054"/>
                    <a:gd name="connsiteX15" fmla="*/ 20069 w 430054"/>
                    <a:gd name="connsiteY15" fmla="*/ 105793 h 430054"/>
                    <a:gd name="connsiteX16" fmla="*/ 0 w 430054"/>
                    <a:gd name="connsiteY16" fmla="*/ 154533 h 430054"/>
                    <a:gd name="connsiteX17" fmla="*/ 40425 w 430054"/>
                    <a:gd name="connsiteY17" fmla="*/ 190944 h 430054"/>
                    <a:gd name="connsiteX18" fmla="*/ 38562 w 430054"/>
                    <a:gd name="connsiteY18" fmla="*/ 215027 h 430054"/>
                    <a:gd name="connsiteX19" fmla="*/ 40425 w 430054"/>
                    <a:gd name="connsiteY19" fmla="*/ 239110 h 430054"/>
                    <a:gd name="connsiteX20" fmla="*/ 0 w 430054"/>
                    <a:gd name="connsiteY20" fmla="*/ 275522 h 430054"/>
                    <a:gd name="connsiteX21" fmla="*/ 20069 w 430054"/>
                    <a:gd name="connsiteY21" fmla="*/ 324261 h 430054"/>
                    <a:gd name="connsiteX22" fmla="*/ 74543 w 430054"/>
                    <a:gd name="connsiteY22" fmla="*/ 321537 h 430054"/>
                    <a:gd name="connsiteX23" fmla="*/ 108517 w 430054"/>
                    <a:gd name="connsiteY23" fmla="*/ 355512 h 430054"/>
                    <a:gd name="connsiteX24" fmla="*/ 105793 w 430054"/>
                    <a:gd name="connsiteY24" fmla="*/ 409985 h 430054"/>
                    <a:gd name="connsiteX25" fmla="*/ 154533 w 430054"/>
                    <a:gd name="connsiteY25" fmla="*/ 430055 h 430054"/>
                    <a:gd name="connsiteX26" fmla="*/ 190944 w 430054"/>
                    <a:gd name="connsiteY26" fmla="*/ 389629 h 430054"/>
                    <a:gd name="connsiteX27" fmla="*/ 215027 w 430054"/>
                    <a:gd name="connsiteY27" fmla="*/ 391493 h 430054"/>
                    <a:gd name="connsiteX28" fmla="*/ 239110 w 430054"/>
                    <a:gd name="connsiteY28" fmla="*/ 389629 h 430054"/>
                    <a:gd name="connsiteX29" fmla="*/ 275522 w 430054"/>
                    <a:gd name="connsiteY29" fmla="*/ 430055 h 430054"/>
                    <a:gd name="connsiteX30" fmla="*/ 324261 w 430054"/>
                    <a:gd name="connsiteY30" fmla="*/ 409985 h 430054"/>
                    <a:gd name="connsiteX31" fmla="*/ 321537 w 430054"/>
                    <a:gd name="connsiteY31" fmla="*/ 355512 h 430054"/>
                    <a:gd name="connsiteX32" fmla="*/ 355512 w 430054"/>
                    <a:gd name="connsiteY32" fmla="*/ 321537 h 430054"/>
                    <a:gd name="connsiteX33" fmla="*/ 409985 w 430054"/>
                    <a:gd name="connsiteY33" fmla="*/ 324261 h 430054"/>
                    <a:gd name="connsiteX34" fmla="*/ 430055 w 430054"/>
                    <a:gd name="connsiteY34" fmla="*/ 275522 h 430054"/>
                    <a:gd name="connsiteX35" fmla="*/ 389629 w 430054"/>
                    <a:gd name="connsiteY35" fmla="*/ 239110 h 430054"/>
                    <a:gd name="connsiteX36" fmla="*/ 391493 w 430054"/>
                    <a:gd name="connsiteY36" fmla="*/ 215027 h 430054"/>
                    <a:gd name="connsiteX37" fmla="*/ 215027 w 430054"/>
                    <a:gd name="connsiteY37" fmla="*/ 344474 h 430054"/>
                    <a:gd name="connsiteX38" fmla="*/ 85581 w 430054"/>
                    <a:gd name="connsiteY38" fmla="*/ 215027 h 430054"/>
                    <a:gd name="connsiteX39" fmla="*/ 215027 w 430054"/>
                    <a:gd name="connsiteY39" fmla="*/ 85581 h 430054"/>
                    <a:gd name="connsiteX40" fmla="*/ 344474 w 430054"/>
                    <a:gd name="connsiteY40" fmla="*/ 215027 h 430054"/>
                    <a:gd name="connsiteX41" fmla="*/ 215027 w 430054"/>
                    <a:gd name="connsiteY41" fmla="*/ 344474 h 43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0054" h="430054">
                      <a:moveTo>
                        <a:pt x="391493" y="215027"/>
                      </a:moveTo>
                      <a:cubicBezTo>
                        <a:pt x="391493" y="206856"/>
                        <a:pt x="390776" y="198829"/>
                        <a:pt x="389629" y="190944"/>
                      </a:cubicBezTo>
                      <a:lnTo>
                        <a:pt x="430055" y="154533"/>
                      </a:lnTo>
                      <a:cubicBezTo>
                        <a:pt x="425181" y="137331"/>
                        <a:pt x="418443" y="120989"/>
                        <a:pt x="409985" y="105793"/>
                      </a:cubicBezTo>
                      <a:lnTo>
                        <a:pt x="355512" y="108517"/>
                      </a:lnTo>
                      <a:cubicBezTo>
                        <a:pt x="345764" y="95759"/>
                        <a:pt x="334296" y="84291"/>
                        <a:pt x="321537" y="74543"/>
                      </a:cubicBezTo>
                      <a:lnTo>
                        <a:pt x="324261" y="20069"/>
                      </a:lnTo>
                      <a:cubicBezTo>
                        <a:pt x="309066" y="11468"/>
                        <a:pt x="292580" y="4731"/>
                        <a:pt x="275522" y="0"/>
                      </a:cubicBezTo>
                      <a:lnTo>
                        <a:pt x="239110" y="40425"/>
                      </a:lnTo>
                      <a:cubicBezTo>
                        <a:pt x="231226" y="39422"/>
                        <a:pt x="223198" y="38562"/>
                        <a:pt x="215027" y="38562"/>
                      </a:cubicBezTo>
                      <a:cubicBezTo>
                        <a:pt x="206856" y="38562"/>
                        <a:pt x="198829" y="39278"/>
                        <a:pt x="190944" y="40425"/>
                      </a:cubicBezTo>
                      <a:lnTo>
                        <a:pt x="154533" y="0"/>
                      </a:lnTo>
                      <a:cubicBezTo>
                        <a:pt x="137331" y="4874"/>
                        <a:pt x="120989" y="11611"/>
                        <a:pt x="105793" y="20069"/>
                      </a:cubicBezTo>
                      <a:lnTo>
                        <a:pt x="108517" y="74543"/>
                      </a:lnTo>
                      <a:cubicBezTo>
                        <a:pt x="95759" y="84291"/>
                        <a:pt x="84291" y="95759"/>
                        <a:pt x="74543" y="108517"/>
                      </a:cubicBezTo>
                      <a:lnTo>
                        <a:pt x="20069" y="105793"/>
                      </a:lnTo>
                      <a:cubicBezTo>
                        <a:pt x="11468" y="120989"/>
                        <a:pt x="4731" y="137474"/>
                        <a:pt x="0" y="154533"/>
                      </a:cubicBezTo>
                      <a:lnTo>
                        <a:pt x="40425" y="190944"/>
                      </a:lnTo>
                      <a:cubicBezTo>
                        <a:pt x="39422" y="198829"/>
                        <a:pt x="38562" y="206856"/>
                        <a:pt x="38562" y="215027"/>
                      </a:cubicBezTo>
                      <a:cubicBezTo>
                        <a:pt x="38562" y="223198"/>
                        <a:pt x="39278" y="231226"/>
                        <a:pt x="40425" y="239110"/>
                      </a:cubicBezTo>
                      <a:lnTo>
                        <a:pt x="0" y="275522"/>
                      </a:lnTo>
                      <a:cubicBezTo>
                        <a:pt x="4874" y="292724"/>
                        <a:pt x="11611" y="309066"/>
                        <a:pt x="20069" y="324261"/>
                      </a:cubicBezTo>
                      <a:lnTo>
                        <a:pt x="74543" y="321537"/>
                      </a:lnTo>
                      <a:cubicBezTo>
                        <a:pt x="84291" y="334296"/>
                        <a:pt x="95759" y="345764"/>
                        <a:pt x="108517" y="355512"/>
                      </a:cubicBezTo>
                      <a:lnTo>
                        <a:pt x="105793" y="409985"/>
                      </a:lnTo>
                      <a:cubicBezTo>
                        <a:pt x="120989" y="418586"/>
                        <a:pt x="137474" y="425324"/>
                        <a:pt x="154533" y="430055"/>
                      </a:cubicBezTo>
                      <a:lnTo>
                        <a:pt x="190944" y="389629"/>
                      </a:lnTo>
                      <a:cubicBezTo>
                        <a:pt x="198829" y="390633"/>
                        <a:pt x="206856" y="391493"/>
                        <a:pt x="215027" y="391493"/>
                      </a:cubicBezTo>
                      <a:cubicBezTo>
                        <a:pt x="223198" y="391493"/>
                        <a:pt x="231226" y="390776"/>
                        <a:pt x="239110" y="389629"/>
                      </a:cubicBezTo>
                      <a:lnTo>
                        <a:pt x="275522" y="430055"/>
                      </a:lnTo>
                      <a:cubicBezTo>
                        <a:pt x="292724" y="425181"/>
                        <a:pt x="309066" y="418443"/>
                        <a:pt x="324261" y="409985"/>
                      </a:cubicBezTo>
                      <a:lnTo>
                        <a:pt x="321537" y="355512"/>
                      </a:lnTo>
                      <a:cubicBezTo>
                        <a:pt x="334296" y="345764"/>
                        <a:pt x="345764" y="334296"/>
                        <a:pt x="355512" y="321537"/>
                      </a:cubicBezTo>
                      <a:lnTo>
                        <a:pt x="409985" y="324261"/>
                      </a:lnTo>
                      <a:cubicBezTo>
                        <a:pt x="418586" y="309066"/>
                        <a:pt x="425324" y="292580"/>
                        <a:pt x="430055" y="275522"/>
                      </a:cubicBezTo>
                      <a:lnTo>
                        <a:pt x="389629" y="239110"/>
                      </a:lnTo>
                      <a:cubicBezTo>
                        <a:pt x="390633" y="231226"/>
                        <a:pt x="391493" y="223198"/>
                        <a:pt x="391493" y="215027"/>
                      </a:cubicBezTo>
                      <a:close/>
                      <a:moveTo>
                        <a:pt x="215027" y="344474"/>
                      </a:moveTo>
                      <a:cubicBezTo>
                        <a:pt x="143495" y="344474"/>
                        <a:pt x="85581" y="286560"/>
                        <a:pt x="85581" y="215027"/>
                      </a:cubicBezTo>
                      <a:cubicBezTo>
                        <a:pt x="85581" y="143495"/>
                        <a:pt x="143495" y="85581"/>
                        <a:pt x="215027" y="85581"/>
                      </a:cubicBezTo>
                      <a:cubicBezTo>
                        <a:pt x="286560" y="85581"/>
                        <a:pt x="344474" y="143495"/>
                        <a:pt x="344474" y="215027"/>
                      </a:cubicBezTo>
                      <a:cubicBezTo>
                        <a:pt x="344474" y="286560"/>
                        <a:pt x="286560" y="344474"/>
                        <a:pt x="215027" y="344474"/>
                      </a:cubicBezTo>
                      <a:close/>
                    </a:path>
                  </a:pathLst>
                </a:custGeom>
                <a:solidFill>
                  <a:schemeClr val="accent6"/>
                </a:solidFill>
                <a:ln w="14288" cap="flat">
                  <a:noFill/>
                  <a:prstDash val="solid"/>
                  <a:miter/>
                </a:ln>
              </p:spPr>
              <p:txBody>
                <a:bodyPr rtlCol="0" anchor="ctr"/>
                <a:lstStyle/>
                <a:p>
                  <a:endParaRPr lang="en-GB"/>
                </a:p>
              </p:txBody>
            </p:sp>
          </p:grpSp>
        </p:grpSp>
      </p:grpSp>
      <p:grpSp>
        <p:nvGrpSpPr>
          <p:cNvPr id="63" name="Gruppieren 62">
            <a:extLst>
              <a:ext uri="{FF2B5EF4-FFF2-40B4-BE49-F238E27FC236}">
                <a16:creationId xmlns:a16="http://schemas.microsoft.com/office/drawing/2014/main" id="{36BC29E6-680F-B649-797C-26506B8DA126}"/>
              </a:ext>
            </a:extLst>
          </p:cNvPr>
          <p:cNvGrpSpPr>
            <a:grpSpLocks/>
          </p:cNvGrpSpPr>
          <p:nvPr/>
        </p:nvGrpSpPr>
        <p:grpSpPr>
          <a:xfrm>
            <a:off x="411163" y="2598234"/>
            <a:ext cx="5582144" cy="573406"/>
            <a:chOff x="411163" y="2492663"/>
            <a:chExt cx="5582144" cy="573406"/>
          </a:xfrm>
        </p:grpSpPr>
        <p:sp>
          <p:nvSpPr>
            <p:cNvPr id="13" name="TextBox 8">
              <a:extLst>
                <a:ext uri="{FF2B5EF4-FFF2-40B4-BE49-F238E27FC236}">
                  <a16:creationId xmlns:a16="http://schemas.microsoft.com/office/drawing/2014/main" id="{3B0CF887-54E8-0B54-8C82-7022CD27CC86}"/>
                </a:ext>
              </a:extLst>
            </p:cNvPr>
            <p:cNvSpPr txBox="1">
              <a:spLocks/>
            </p:cNvSpPr>
            <p:nvPr/>
          </p:nvSpPr>
          <p:spPr>
            <a:xfrm>
              <a:off x="1151578" y="2640867"/>
              <a:ext cx="4841729" cy="276999"/>
            </a:xfrm>
            <a:prstGeom prst="rect">
              <a:avLst/>
            </a:prstGeom>
            <a:noFill/>
          </p:spPr>
          <p:txBody>
            <a:bodyPr wrap="square" lIns="0" tIns="0" rIns="0" bIns="0" rtlCol="0">
              <a:spAutoFit/>
            </a:bodyPr>
            <a:lstStyle/>
            <a:p>
              <a:pPr algn="l">
                <a:spcAft>
                  <a:spcPts val="2400"/>
                </a:spcAft>
              </a:pPr>
              <a:r>
                <a:rPr lang="en-GB">
                  <a:solidFill>
                    <a:schemeClr val="tx1"/>
                  </a:solidFill>
                  <a:latin typeface="+mn-lt"/>
                </a:rPr>
                <a:t>Zero maintenance efforts</a:t>
              </a:r>
            </a:p>
          </p:txBody>
        </p:sp>
        <p:grpSp>
          <p:nvGrpSpPr>
            <p:cNvPr id="44" name="Gruppieren 77">
              <a:extLst>
                <a:ext uri="{FF2B5EF4-FFF2-40B4-BE49-F238E27FC236}">
                  <a16:creationId xmlns:a16="http://schemas.microsoft.com/office/drawing/2014/main" id="{6CC1BED5-2BB5-F2C5-A3DC-E4DE336A0CEC}"/>
                </a:ext>
              </a:extLst>
            </p:cNvPr>
            <p:cNvGrpSpPr>
              <a:grpSpLocks/>
            </p:cNvGrpSpPr>
            <p:nvPr/>
          </p:nvGrpSpPr>
          <p:grpSpPr>
            <a:xfrm>
              <a:off x="411163" y="2492663"/>
              <a:ext cx="573406" cy="573406"/>
              <a:chOff x="406070" y="3469610"/>
              <a:chExt cx="573406" cy="573406"/>
            </a:xfrm>
          </p:grpSpPr>
          <p:sp>
            <p:nvSpPr>
              <p:cNvPr id="45" name="Freihandform: Form 78">
                <a:extLst>
                  <a:ext uri="{FF2B5EF4-FFF2-40B4-BE49-F238E27FC236}">
                    <a16:creationId xmlns:a16="http://schemas.microsoft.com/office/drawing/2014/main" id="{97EDB83A-00E4-624E-50A4-E06A05B6EEE3}"/>
                  </a:ext>
                </a:extLst>
              </p:cNvPr>
              <p:cNvSpPr/>
              <p:nvPr/>
            </p:nvSpPr>
            <p:spPr>
              <a:xfrm>
                <a:off x="406070" y="3469610"/>
                <a:ext cx="573406" cy="573406"/>
              </a:xfrm>
              <a:custGeom>
                <a:avLst/>
                <a:gdLst>
                  <a:gd name="connsiteX0" fmla="*/ 0 w 573406"/>
                  <a:gd name="connsiteY0" fmla="*/ 0 h 573406"/>
                  <a:gd name="connsiteX1" fmla="*/ 573406 w 573406"/>
                  <a:gd name="connsiteY1" fmla="*/ 0 h 573406"/>
                  <a:gd name="connsiteX2" fmla="*/ 573406 w 573406"/>
                  <a:gd name="connsiteY2" fmla="*/ 573406 h 573406"/>
                  <a:gd name="connsiteX3" fmla="*/ 0 w 573406"/>
                  <a:gd name="connsiteY3" fmla="*/ 573406 h 573406"/>
                </a:gdLst>
                <a:ahLst/>
                <a:cxnLst>
                  <a:cxn ang="0">
                    <a:pos x="connsiteX0" y="connsiteY0"/>
                  </a:cxn>
                  <a:cxn ang="0">
                    <a:pos x="connsiteX1" y="connsiteY1"/>
                  </a:cxn>
                  <a:cxn ang="0">
                    <a:pos x="connsiteX2" y="connsiteY2"/>
                  </a:cxn>
                  <a:cxn ang="0">
                    <a:pos x="connsiteX3" y="connsiteY3"/>
                  </a:cxn>
                </a:cxnLst>
                <a:rect l="l" t="t" r="r" b="b"/>
                <a:pathLst>
                  <a:path w="573406" h="573406">
                    <a:moveTo>
                      <a:pt x="0" y="0"/>
                    </a:moveTo>
                    <a:lnTo>
                      <a:pt x="573406" y="0"/>
                    </a:lnTo>
                    <a:lnTo>
                      <a:pt x="573406" y="573406"/>
                    </a:lnTo>
                    <a:lnTo>
                      <a:pt x="0" y="573406"/>
                    </a:lnTo>
                    <a:close/>
                  </a:path>
                </a:pathLst>
              </a:custGeom>
              <a:solidFill>
                <a:srgbClr val="00C1B6"/>
              </a:solidFill>
              <a:ln w="14288" cap="flat">
                <a:noFill/>
                <a:prstDash val="solid"/>
                <a:miter/>
              </a:ln>
            </p:spPr>
            <p:txBody>
              <a:bodyPr rtlCol="0" anchor="ctr"/>
              <a:lstStyle/>
              <a:p>
                <a:endParaRPr lang="en-GB"/>
              </a:p>
            </p:txBody>
          </p:sp>
          <p:sp>
            <p:nvSpPr>
              <p:cNvPr id="46" name="Freeform: Shape 4">
                <a:extLst>
                  <a:ext uri="{FF2B5EF4-FFF2-40B4-BE49-F238E27FC236}">
                    <a16:creationId xmlns:a16="http://schemas.microsoft.com/office/drawing/2014/main" id="{C53C9439-1114-DC38-ADC6-B91B9655D0F6}"/>
                  </a:ext>
                </a:extLst>
              </p:cNvPr>
              <p:cNvSpPr/>
              <p:nvPr/>
            </p:nvSpPr>
            <p:spPr>
              <a:xfrm>
                <a:off x="521939" y="3580028"/>
                <a:ext cx="325800" cy="352570"/>
              </a:xfrm>
              <a:custGeom>
                <a:avLst/>
                <a:gdLst>
                  <a:gd name="connsiteX0" fmla="*/ 550095 w 568287"/>
                  <a:gd name="connsiteY0" fmla="*/ 111899 h 553483"/>
                  <a:gd name="connsiteX1" fmla="*/ 550212 w 568287"/>
                  <a:gd name="connsiteY1" fmla="*/ 24341 h 553483"/>
                  <a:gd name="connsiteX2" fmla="*/ 462654 w 568287"/>
                  <a:gd name="connsiteY2" fmla="*/ 24225 h 553483"/>
                  <a:gd name="connsiteX3" fmla="*/ 462538 w 568287"/>
                  <a:gd name="connsiteY3" fmla="*/ 24341 h 553483"/>
                  <a:gd name="connsiteX4" fmla="*/ 314159 w 568287"/>
                  <a:gd name="connsiteY4" fmla="*/ 172721 h 553483"/>
                  <a:gd name="connsiteX5" fmla="*/ 401717 w 568287"/>
                  <a:gd name="connsiteY5" fmla="*/ 260278 h 553483"/>
                  <a:gd name="connsiteX6" fmla="*/ 358142 w 568287"/>
                  <a:gd name="connsiteY6" fmla="*/ 169149 h 553483"/>
                  <a:gd name="connsiteX7" fmla="*/ 486111 w 568287"/>
                  <a:gd name="connsiteY7" fmla="*/ 41180 h 553483"/>
                  <a:gd name="connsiteX8" fmla="*/ 499581 w 568287"/>
                  <a:gd name="connsiteY8" fmla="*/ 54651 h 553483"/>
                  <a:gd name="connsiteX9" fmla="*/ 371612 w 568287"/>
                  <a:gd name="connsiteY9" fmla="*/ 182620 h 553483"/>
                  <a:gd name="connsiteX10" fmla="*/ 519787 w 568287"/>
                  <a:gd name="connsiteY10" fmla="*/ 74855 h 553483"/>
                  <a:gd name="connsiteX11" fmla="*/ 533257 w 568287"/>
                  <a:gd name="connsiteY11" fmla="*/ 88326 h 553483"/>
                  <a:gd name="connsiteX12" fmla="*/ 405289 w 568287"/>
                  <a:gd name="connsiteY12" fmla="*/ 216295 h 553483"/>
                  <a:gd name="connsiteX13" fmla="*/ 391818 w 568287"/>
                  <a:gd name="connsiteY13" fmla="*/ 202824 h 553483"/>
                  <a:gd name="connsiteX14" fmla="*/ 199659 w 568287"/>
                  <a:gd name="connsiteY14" fmla="*/ 341101 h 553483"/>
                  <a:gd name="connsiteX15" fmla="*/ 226600 w 568287"/>
                  <a:gd name="connsiteY15" fmla="*/ 368041 h 553483"/>
                  <a:gd name="connsiteX16" fmla="*/ 122410 w 568287"/>
                  <a:gd name="connsiteY16" fmla="*/ 472233 h 553483"/>
                  <a:gd name="connsiteX17" fmla="*/ 108940 w 568287"/>
                  <a:gd name="connsiteY17" fmla="*/ 499173 h 553483"/>
                  <a:gd name="connsiteX18" fmla="*/ 34853 w 568287"/>
                  <a:gd name="connsiteY18" fmla="*/ 546319 h 553483"/>
                  <a:gd name="connsiteX19" fmla="*/ 21382 w 568287"/>
                  <a:gd name="connsiteY19" fmla="*/ 532850 h 553483"/>
                  <a:gd name="connsiteX20" fmla="*/ 68529 w 568287"/>
                  <a:gd name="connsiteY20" fmla="*/ 458761 h 553483"/>
                  <a:gd name="connsiteX21" fmla="*/ 95469 w 568287"/>
                  <a:gd name="connsiteY21" fmla="*/ 445292 h 553483"/>
                  <a:gd name="connsiteX22" fmla="*/ 232266 w 568287"/>
                  <a:gd name="connsiteY22" fmla="*/ 144709 h 553483"/>
                  <a:gd name="connsiteX23" fmla="*/ 232266 w 568287"/>
                  <a:gd name="connsiteY23" fmla="*/ 63886 h 553483"/>
                  <a:gd name="connsiteX24" fmla="*/ 185119 w 568287"/>
                  <a:gd name="connsiteY24" fmla="*/ 16740 h 553483"/>
                  <a:gd name="connsiteX25" fmla="*/ 104299 w 568287"/>
                  <a:gd name="connsiteY25" fmla="*/ 16737 h 553483"/>
                  <a:gd name="connsiteX26" fmla="*/ 104297 w 568287"/>
                  <a:gd name="connsiteY26" fmla="*/ 16740 h 553483"/>
                  <a:gd name="connsiteX27" fmla="*/ 90827 w 568287"/>
                  <a:gd name="connsiteY27" fmla="*/ 30211 h 553483"/>
                  <a:gd name="connsiteX28" fmla="*/ 158178 w 568287"/>
                  <a:gd name="connsiteY28" fmla="*/ 97562 h 553483"/>
                  <a:gd name="connsiteX29" fmla="*/ 97561 w 568287"/>
                  <a:gd name="connsiteY29" fmla="*/ 158179 h 553483"/>
                  <a:gd name="connsiteX30" fmla="*/ 30209 w 568287"/>
                  <a:gd name="connsiteY30" fmla="*/ 90825 h 553483"/>
                  <a:gd name="connsiteX31" fmla="*/ 16739 w 568287"/>
                  <a:gd name="connsiteY31" fmla="*/ 104296 h 553483"/>
                  <a:gd name="connsiteX32" fmla="*/ 16739 w 568287"/>
                  <a:gd name="connsiteY32" fmla="*/ 185120 h 553483"/>
                  <a:gd name="connsiteX33" fmla="*/ 63885 w 568287"/>
                  <a:gd name="connsiteY33" fmla="*/ 232265 h 553483"/>
                  <a:gd name="connsiteX34" fmla="*/ 144707 w 568287"/>
                  <a:gd name="connsiteY34" fmla="*/ 232265 h 553483"/>
                  <a:gd name="connsiteX35" fmla="*/ 447791 w 568287"/>
                  <a:gd name="connsiteY35" fmla="*/ 535349 h 553483"/>
                  <a:gd name="connsiteX36" fmla="*/ 535348 w 568287"/>
                  <a:gd name="connsiteY36" fmla="*/ 535349 h 553483"/>
                  <a:gd name="connsiteX37" fmla="*/ 535348 w 568287"/>
                  <a:gd name="connsiteY37" fmla="*/ 447792 h 553483"/>
                  <a:gd name="connsiteX38" fmla="*/ 506725 w 568287"/>
                  <a:gd name="connsiteY38" fmla="*/ 506724 h 553483"/>
                  <a:gd name="connsiteX39" fmla="*/ 476416 w 568287"/>
                  <a:gd name="connsiteY39" fmla="*/ 506724 h 553483"/>
                  <a:gd name="connsiteX40" fmla="*/ 476417 w 568287"/>
                  <a:gd name="connsiteY40" fmla="*/ 476416 h 553483"/>
                  <a:gd name="connsiteX41" fmla="*/ 506725 w 568287"/>
                  <a:gd name="connsiteY41" fmla="*/ 476416 h 553483"/>
                  <a:gd name="connsiteX42" fmla="*/ 506725 w 568287"/>
                  <a:gd name="connsiteY42" fmla="*/ 506724 h 5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68287" h="553483">
                    <a:moveTo>
                      <a:pt x="550095" y="111899"/>
                    </a:moveTo>
                    <a:cubicBezTo>
                      <a:pt x="574306" y="87753"/>
                      <a:pt x="574358" y="48552"/>
                      <a:pt x="550212" y="24341"/>
                    </a:cubicBezTo>
                    <a:cubicBezTo>
                      <a:pt x="526066" y="131"/>
                      <a:pt x="486865" y="79"/>
                      <a:pt x="462654" y="24225"/>
                    </a:cubicBezTo>
                    <a:cubicBezTo>
                      <a:pt x="462615" y="24264"/>
                      <a:pt x="462576" y="24302"/>
                      <a:pt x="462538" y="24341"/>
                    </a:cubicBezTo>
                    <a:lnTo>
                      <a:pt x="314159" y="172721"/>
                    </a:lnTo>
                    <a:lnTo>
                      <a:pt x="401717" y="260278"/>
                    </a:lnTo>
                    <a:close/>
                    <a:moveTo>
                      <a:pt x="358142" y="169149"/>
                    </a:moveTo>
                    <a:lnTo>
                      <a:pt x="486111" y="41180"/>
                    </a:lnTo>
                    <a:lnTo>
                      <a:pt x="499581" y="54651"/>
                    </a:lnTo>
                    <a:lnTo>
                      <a:pt x="371612" y="182620"/>
                    </a:lnTo>
                    <a:close/>
                    <a:moveTo>
                      <a:pt x="519787" y="74855"/>
                    </a:moveTo>
                    <a:lnTo>
                      <a:pt x="533257" y="88326"/>
                    </a:lnTo>
                    <a:lnTo>
                      <a:pt x="405289" y="216295"/>
                    </a:lnTo>
                    <a:lnTo>
                      <a:pt x="391818" y="202824"/>
                    </a:lnTo>
                    <a:close/>
                    <a:moveTo>
                      <a:pt x="199659" y="341101"/>
                    </a:moveTo>
                    <a:lnTo>
                      <a:pt x="226600" y="368041"/>
                    </a:lnTo>
                    <a:lnTo>
                      <a:pt x="122410" y="472233"/>
                    </a:lnTo>
                    <a:lnTo>
                      <a:pt x="108940" y="499173"/>
                    </a:lnTo>
                    <a:lnTo>
                      <a:pt x="34853" y="546319"/>
                    </a:lnTo>
                    <a:lnTo>
                      <a:pt x="21382" y="532850"/>
                    </a:lnTo>
                    <a:lnTo>
                      <a:pt x="68529" y="458761"/>
                    </a:lnTo>
                    <a:lnTo>
                      <a:pt x="95469" y="445292"/>
                    </a:lnTo>
                    <a:close/>
                    <a:moveTo>
                      <a:pt x="232266" y="144709"/>
                    </a:moveTo>
                    <a:lnTo>
                      <a:pt x="232266" y="63886"/>
                    </a:lnTo>
                    <a:lnTo>
                      <a:pt x="185119" y="16740"/>
                    </a:lnTo>
                    <a:cubicBezTo>
                      <a:pt x="162802" y="-5579"/>
                      <a:pt x="126618" y="-5580"/>
                      <a:pt x="104299" y="16737"/>
                    </a:cubicBezTo>
                    <a:cubicBezTo>
                      <a:pt x="104298" y="16738"/>
                      <a:pt x="104298" y="16739"/>
                      <a:pt x="104297" y="16740"/>
                    </a:cubicBezTo>
                    <a:lnTo>
                      <a:pt x="90827" y="30211"/>
                    </a:lnTo>
                    <a:lnTo>
                      <a:pt x="158178" y="97562"/>
                    </a:lnTo>
                    <a:lnTo>
                      <a:pt x="97561" y="158179"/>
                    </a:lnTo>
                    <a:lnTo>
                      <a:pt x="30209" y="90825"/>
                    </a:lnTo>
                    <a:lnTo>
                      <a:pt x="16739" y="104296"/>
                    </a:lnTo>
                    <a:cubicBezTo>
                      <a:pt x="-5580" y="126615"/>
                      <a:pt x="-5580" y="162801"/>
                      <a:pt x="16739" y="185120"/>
                    </a:cubicBezTo>
                    <a:lnTo>
                      <a:pt x="63885" y="232265"/>
                    </a:lnTo>
                    <a:lnTo>
                      <a:pt x="144707" y="232265"/>
                    </a:lnTo>
                    <a:lnTo>
                      <a:pt x="447791" y="535349"/>
                    </a:lnTo>
                    <a:cubicBezTo>
                      <a:pt x="471969" y="559528"/>
                      <a:pt x="511170" y="559528"/>
                      <a:pt x="535348" y="535349"/>
                    </a:cubicBezTo>
                    <a:cubicBezTo>
                      <a:pt x="559527" y="511171"/>
                      <a:pt x="559527" y="471970"/>
                      <a:pt x="535348" y="447792"/>
                    </a:cubicBezTo>
                    <a:close/>
                    <a:moveTo>
                      <a:pt x="506725" y="506724"/>
                    </a:moveTo>
                    <a:cubicBezTo>
                      <a:pt x="498355" y="515094"/>
                      <a:pt x="484786" y="515094"/>
                      <a:pt x="476416" y="506724"/>
                    </a:cubicBezTo>
                    <a:cubicBezTo>
                      <a:pt x="468047" y="498355"/>
                      <a:pt x="468047" y="484785"/>
                      <a:pt x="476417" y="476416"/>
                    </a:cubicBezTo>
                    <a:cubicBezTo>
                      <a:pt x="484786" y="468046"/>
                      <a:pt x="498355" y="468046"/>
                      <a:pt x="506725" y="476416"/>
                    </a:cubicBezTo>
                    <a:cubicBezTo>
                      <a:pt x="515094" y="484785"/>
                      <a:pt x="515094" y="498355"/>
                      <a:pt x="506725" y="506724"/>
                    </a:cubicBezTo>
                    <a:close/>
                  </a:path>
                </a:pathLst>
              </a:custGeom>
              <a:solidFill>
                <a:schemeClr val="accent6"/>
              </a:solidFill>
              <a:ln w="9525" cap="flat">
                <a:noFill/>
                <a:prstDash val="solid"/>
                <a:miter/>
              </a:ln>
            </p:spPr>
            <p:txBody>
              <a:bodyPr rtlCol="0" anchor="ctr"/>
              <a:lstStyle/>
              <a:p>
                <a:endParaRPr lang="en-US"/>
              </a:p>
            </p:txBody>
          </p:sp>
        </p:grpSp>
      </p:grpSp>
      <p:pic>
        <p:nvPicPr>
          <p:cNvPr id="1026" name="Picture 1" descr="A picture containing text, clipart&#10;&#10;Description automatically generated">
            <a:extLst>
              <a:ext uri="{FF2B5EF4-FFF2-40B4-BE49-F238E27FC236}">
                <a16:creationId xmlns:a16="http://schemas.microsoft.com/office/drawing/2014/main" id="{E828F9B6-5818-605E-128F-42298F4C76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59826" y="5780133"/>
            <a:ext cx="1679130" cy="43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582E4351-0D63-5173-62E4-45AB69A2D6DD}"/>
              </a:ext>
            </a:extLst>
          </p:cNvPr>
          <p:cNvSpPr txBox="1"/>
          <p:nvPr/>
        </p:nvSpPr>
        <p:spPr>
          <a:xfrm>
            <a:off x="422698" y="5996778"/>
            <a:ext cx="3812470" cy="215444"/>
          </a:xfrm>
          <a:prstGeom prst="rect">
            <a:avLst/>
          </a:prstGeom>
          <a:noFill/>
        </p:spPr>
        <p:txBody>
          <a:bodyPr wrap="square" lIns="0" tIns="0" rIns="0" bIns="0" rtlCol="0">
            <a:spAutoFit/>
          </a:bodyP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pPr algn="l"/>
            <a:r>
              <a:rPr lang="de-DE" sz="1400" dirty="0">
                <a:solidFill>
                  <a:schemeClr val="tx1"/>
                </a:solidFill>
              </a:rPr>
              <a:t>Customers, e.g. </a:t>
            </a:r>
          </a:p>
        </p:txBody>
      </p:sp>
    </p:spTree>
    <p:extLst>
      <p:ext uri="{BB962C8B-B14F-4D97-AF65-F5344CB8AC3E}">
        <p14:creationId xmlns:p14="http://schemas.microsoft.com/office/powerpoint/2010/main" val="24159205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2C754-621E-3A28-35AF-F19585990992}"/>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E4675FF-2391-4AF9-E921-DDDE4E8E56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EE4675FF-2391-4AF9-E921-DDDE4E8E56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70" name="Gruppieren 169">
            <a:extLst>
              <a:ext uri="{FF2B5EF4-FFF2-40B4-BE49-F238E27FC236}">
                <a16:creationId xmlns:a16="http://schemas.microsoft.com/office/drawing/2014/main" id="{DC4E99B9-6DED-2C94-1E5C-D1D2DF1B6A6F}"/>
              </a:ext>
            </a:extLst>
          </p:cNvPr>
          <p:cNvGrpSpPr/>
          <p:nvPr/>
        </p:nvGrpSpPr>
        <p:grpSpPr>
          <a:xfrm>
            <a:off x="5226582" y="1057956"/>
            <a:ext cx="6574894" cy="1248908"/>
            <a:chOff x="5226582" y="1057956"/>
            <a:chExt cx="6574894" cy="1248908"/>
          </a:xfrm>
        </p:grpSpPr>
        <p:sp>
          <p:nvSpPr>
            <p:cNvPr id="161" name="Rechteck 160">
              <a:extLst>
                <a:ext uri="{FF2B5EF4-FFF2-40B4-BE49-F238E27FC236}">
                  <a16:creationId xmlns:a16="http://schemas.microsoft.com/office/drawing/2014/main" id="{9A6F61B6-4570-37C7-8862-404488804417}"/>
                </a:ext>
              </a:extLst>
            </p:cNvPr>
            <p:cNvSpPr>
              <a:spLocks/>
            </p:cNvSpPr>
            <p:nvPr/>
          </p:nvSpPr>
          <p:spPr>
            <a:xfrm>
              <a:off x="5226582" y="1057956"/>
              <a:ext cx="6574894" cy="1031875"/>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2800" b="1"/>
                <a:t>DCS </a:t>
              </a:r>
              <a:r>
                <a:rPr lang="en-US" sz="2800" b="1">
                  <a:solidFill>
                    <a:srgbClr val="00C1B6"/>
                  </a:solidFill>
                </a:rPr>
                <a:t>Co-Pilot</a:t>
              </a:r>
            </a:p>
          </p:txBody>
        </p:sp>
        <p:sp>
          <p:nvSpPr>
            <p:cNvPr id="163" name="Rechteck 162">
              <a:extLst>
                <a:ext uri="{FF2B5EF4-FFF2-40B4-BE49-F238E27FC236}">
                  <a16:creationId xmlns:a16="http://schemas.microsoft.com/office/drawing/2014/main" id="{F84402A6-983C-D8BB-190E-833F16C49DCF}"/>
                </a:ext>
              </a:extLst>
            </p:cNvPr>
            <p:cNvSpPr>
              <a:spLocks/>
            </p:cNvSpPr>
            <p:nvPr/>
          </p:nvSpPr>
          <p:spPr>
            <a:xfrm>
              <a:off x="5226582" y="1872799"/>
              <a:ext cx="6574894" cy="434065"/>
            </a:xfrm>
            <a:prstGeom prst="rect">
              <a:avLst/>
            </a:prstGeom>
            <a:gradFill flip="none" rotWithShape="1">
              <a:gsLst>
                <a:gs pos="100000">
                  <a:srgbClr val="000028">
                    <a:alpha val="0"/>
                  </a:srgbClr>
                </a:gs>
                <a:gs pos="0">
                  <a:srgbClr val="00002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grpSp>
        <p:nvGrpSpPr>
          <p:cNvPr id="166" name="Gruppieren 165">
            <a:extLst>
              <a:ext uri="{FF2B5EF4-FFF2-40B4-BE49-F238E27FC236}">
                <a16:creationId xmlns:a16="http://schemas.microsoft.com/office/drawing/2014/main" id="{E31D783C-584F-4A2E-C178-20502D61915F}"/>
              </a:ext>
            </a:extLst>
          </p:cNvPr>
          <p:cNvGrpSpPr/>
          <p:nvPr/>
        </p:nvGrpSpPr>
        <p:grpSpPr>
          <a:xfrm>
            <a:off x="8532027" y="4775200"/>
            <a:ext cx="3269446" cy="1031875"/>
            <a:chOff x="8532027" y="4775200"/>
            <a:chExt cx="3269446" cy="1031875"/>
          </a:xfrm>
        </p:grpSpPr>
        <p:sp>
          <p:nvSpPr>
            <p:cNvPr id="164" name="Rechteck 163">
              <a:extLst>
                <a:ext uri="{FF2B5EF4-FFF2-40B4-BE49-F238E27FC236}">
                  <a16:creationId xmlns:a16="http://schemas.microsoft.com/office/drawing/2014/main" id="{076C2735-CD2A-DD92-6044-E1E21B845E94}"/>
                </a:ext>
              </a:extLst>
            </p:cNvPr>
            <p:cNvSpPr>
              <a:spLocks/>
            </p:cNvSpPr>
            <p:nvPr/>
          </p:nvSpPr>
          <p:spPr>
            <a:xfrm>
              <a:off x="8532027" y="4775200"/>
              <a:ext cx="3269446" cy="1031875"/>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9" name="Freihandform: Form 48">
              <a:extLst>
                <a:ext uri="{FF2B5EF4-FFF2-40B4-BE49-F238E27FC236}">
                  <a16:creationId xmlns:a16="http://schemas.microsoft.com/office/drawing/2014/main" id="{D1EEECFE-FD32-DB6C-C852-4D9EF2F42C6D}"/>
                </a:ext>
              </a:extLst>
            </p:cNvPr>
            <p:cNvSpPr/>
            <p:nvPr/>
          </p:nvSpPr>
          <p:spPr bwMode="gray">
            <a:xfrm>
              <a:off x="10721636" y="5029200"/>
              <a:ext cx="668492" cy="526438"/>
            </a:xfrm>
            <a:custGeom>
              <a:avLst/>
              <a:gdLst>
                <a:gd name="connsiteX0" fmla="*/ 493651 w 548501"/>
                <a:gd name="connsiteY0" fmla="*/ 322245 h 431944"/>
                <a:gd name="connsiteX1" fmla="*/ 493651 w 548501"/>
                <a:gd name="connsiteY1" fmla="*/ 113128 h 431944"/>
                <a:gd name="connsiteX2" fmla="*/ 462798 w 548501"/>
                <a:gd name="connsiteY2" fmla="*/ 82275 h 431944"/>
                <a:gd name="connsiteX3" fmla="*/ 431945 w 548501"/>
                <a:gd name="connsiteY3" fmla="*/ 113128 h 431944"/>
                <a:gd name="connsiteX4" fmla="*/ 431945 w 548501"/>
                <a:gd name="connsiteY4" fmla="*/ 239969 h 431944"/>
                <a:gd name="connsiteX5" fmla="*/ 356526 w 548501"/>
                <a:gd name="connsiteY5" fmla="*/ 239969 h 431944"/>
                <a:gd name="connsiteX6" fmla="*/ 356526 w 548501"/>
                <a:gd name="connsiteY6" fmla="*/ 205688 h 431944"/>
                <a:gd name="connsiteX7" fmla="*/ 383951 w 548501"/>
                <a:gd name="connsiteY7" fmla="*/ 205688 h 431944"/>
                <a:gd name="connsiteX8" fmla="*/ 383951 w 548501"/>
                <a:gd name="connsiteY8" fmla="*/ 178263 h 431944"/>
                <a:gd name="connsiteX9" fmla="*/ 356526 w 548501"/>
                <a:gd name="connsiteY9" fmla="*/ 178263 h 431944"/>
                <a:gd name="connsiteX10" fmla="*/ 356526 w 548501"/>
                <a:gd name="connsiteY10" fmla="*/ 150838 h 431944"/>
                <a:gd name="connsiteX11" fmla="*/ 383951 w 548501"/>
                <a:gd name="connsiteY11" fmla="*/ 150838 h 431944"/>
                <a:gd name="connsiteX12" fmla="*/ 383951 w 548501"/>
                <a:gd name="connsiteY12" fmla="*/ 123413 h 431944"/>
                <a:gd name="connsiteX13" fmla="*/ 356526 w 548501"/>
                <a:gd name="connsiteY13" fmla="*/ 123413 h 431944"/>
                <a:gd name="connsiteX14" fmla="*/ 356526 w 548501"/>
                <a:gd name="connsiteY14" fmla="*/ 95988 h 431944"/>
                <a:gd name="connsiteX15" fmla="*/ 383951 w 548501"/>
                <a:gd name="connsiteY15" fmla="*/ 95988 h 431944"/>
                <a:gd name="connsiteX16" fmla="*/ 383951 w 548501"/>
                <a:gd name="connsiteY16" fmla="*/ 68563 h 431944"/>
                <a:gd name="connsiteX17" fmla="*/ 356526 w 548501"/>
                <a:gd name="connsiteY17" fmla="*/ 68563 h 431944"/>
                <a:gd name="connsiteX18" fmla="*/ 356526 w 548501"/>
                <a:gd name="connsiteY18" fmla="*/ 30853 h 431944"/>
                <a:gd name="connsiteX19" fmla="*/ 325673 w 548501"/>
                <a:gd name="connsiteY19" fmla="*/ 0 h 431944"/>
                <a:gd name="connsiteX20" fmla="*/ 294819 w 548501"/>
                <a:gd name="connsiteY20" fmla="*/ 30853 h 431944"/>
                <a:gd name="connsiteX21" fmla="*/ 294819 w 548501"/>
                <a:gd name="connsiteY21" fmla="*/ 239969 h 431944"/>
                <a:gd name="connsiteX22" fmla="*/ 219401 w 548501"/>
                <a:gd name="connsiteY22" fmla="*/ 239969 h 431944"/>
                <a:gd name="connsiteX23" fmla="*/ 219401 w 548501"/>
                <a:gd name="connsiteY23" fmla="*/ 102844 h 431944"/>
                <a:gd name="connsiteX24" fmla="*/ 205688 w 548501"/>
                <a:gd name="connsiteY24" fmla="*/ 89131 h 431944"/>
                <a:gd name="connsiteX25" fmla="*/ 191975 w 548501"/>
                <a:gd name="connsiteY25" fmla="*/ 102844 h 431944"/>
                <a:gd name="connsiteX26" fmla="*/ 191975 w 548501"/>
                <a:gd name="connsiteY26" fmla="*/ 239969 h 431944"/>
                <a:gd name="connsiteX27" fmla="*/ 164550 w 548501"/>
                <a:gd name="connsiteY27" fmla="*/ 239969 h 431944"/>
                <a:gd name="connsiteX28" fmla="*/ 164550 w 548501"/>
                <a:gd name="connsiteY28" fmla="*/ 78847 h 431944"/>
                <a:gd name="connsiteX29" fmla="*/ 133697 w 548501"/>
                <a:gd name="connsiteY29" fmla="*/ 47994 h 431944"/>
                <a:gd name="connsiteX30" fmla="*/ 102844 w 548501"/>
                <a:gd name="connsiteY30" fmla="*/ 78847 h 431944"/>
                <a:gd name="connsiteX31" fmla="*/ 102844 w 548501"/>
                <a:gd name="connsiteY31" fmla="*/ 239969 h 431944"/>
                <a:gd name="connsiteX32" fmla="*/ 54850 w 548501"/>
                <a:gd name="connsiteY32" fmla="*/ 239969 h 431944"/>
                <a:gd name="connsiteX33" fmla="*/ 54850 w 548501"/>
                <a:gd name="connsiteY33" fmla="*/ 322245 h 431944"/>
                <a:gd name="connsiteX34" fmla="*/ 0 w 548501"/>
                <a:gd name="connsiteY34" fmla="*/ 322245 h 431944"/>
                <a:gd name="connsiteX35" fmla="*/ 0 w 548501"/>
                <a:gd name="connsiteY35" fmla="*/ 431945 h 431944"/>
                <a:gd name="connsiteX36" fmla="*/ 548501 w 548501"/>
                <a:gd name="connsiteY36" fmla="*/ 431945 h 431944"/>
                <a:gd name="connsiteX37" fmla="*/ 548501 w 548501"/>
                <a:gd name="connsiteY37" fmla="*/ 322245 h 431944"/>
                <a:gd name="connsiteX38" fmla="*/ 493651 w 548501"/>
                <a:gd name="connsiteY38" fmla="*/ 322245 h 431944"/>
                <a:gd name="connsiteX39" fmla="*/ 130269 w 548501"/>
                <a:gd name="connsiteY39" fmla="*/ 377095 h 431944"/>
                <a:gd name="connsiteX40" fmla="*/ 102844 w 548501"/>
                <a:gd name="connsiteY40" fmla="*/ 377095 h 431944"/>
                <a:gd name="connsiteX41" fmla="*/ 102844 w 548501"/>
                <a:gd name="connsiteY41" fmla="*/ 349670 h 431944"/>
                <a:gd name="connsiteX42" fmla="*/ 130269 w 548501"/>
                <a:gd name="connsiteY42" fmla="*/ 349670 h 431944"/>
                <a:gd name="connsiteX43" fmla="*/ 130269 w 548501"/>
                <a:gd name="connsiteY43" fmla="*/ 377095 h 431944"/>
                <a:gd name="connsiteX44" fmla="*/ 130269 w 548501"/>
                <a:gd name="connsiteY44" fmla="*/ 301676 h 431944"/>
                <a:gd name="connsiteX45" fmla="*/ 102844 w 548501"/>
                <a:gd name="connsiteY45" fmla="*/ 301676 h 431944"/>
                <a:gd name="connsiteX46" fmla="*/ 102844 w 548501"/>
                <a:gd name="connsiteY46" fmla="*/ 274251 h 431944"/>
                <a:gd name="connsiteX47" fmla="*/ 130269 w 548501"/>
                <a:gd name="connsiteY47" fmla="*/ 274251 h 431944"/>
                <a:gd name="connsiteX48" fmla="*/ 130269 w 548501"/>
                <a:gd name="connsiteY48" fmla="*/ 301676 h 431944"/>
                <a:gd name="connsiteX49" fmla="*/ 185119 w 548501"/>
                <a:gd name="connsiteY49" fmla="*/ 377095 h 431944"/>
                <a:gd name="connsiteX50" fmla="*/ 157694 w 548501"/>
                <a:gd name="connsiteY50" fmla="*/ 377095 h 431944"/>
                <a:gd name="connsiteX51" fmla="*/ 157694 w 548501"/>
                <a:gd name="connsiteY51" fmla="*/ 349670 h 431944"/>
                <a:gd name="connsiteX52" fmla="*/ 185119 w 548501"/>
                <a:gd name="connsiteY52" fmla="*/ 349670 h 431944"/>
                <a:gd name="connsiteX53" fmla="*/ 185119 w 548501"/>
                <a:gd name="connsiteY53" fmla="*/ 377095 h 431944"/>
                <a:gd name="connsiteX54" fmla="*/ 185119 w 548501"/>
                <a:gd name="connsiteY54" fmla="*/ 301676 h 431944"/>
                <a:gd name="connsiteX55" fmla="*/ 157694 w 548501"/>
                <a:gd name="connsiteY55" fmla="*/ 301676 h 431944"/>
                <a:gd name="connsiteX56" fmla="*/ 157694 w 548501"/>
                <a:gd name="connsiteY56" fmla="*/ 274251 h 431944"/>
                <a:gd name="connsiteX57" fmla="*/ 185119 w 548501"/>
                <a:gd name="connsiteY57" fmla="*/ 274251 h 431944"/>
                <a:gd name="connsiteX58" fmla="*/ 185119 w 548501"/>
                <a:gd name="connsiteY58" fmla="*/ 301676 h 431944"/>
                <a:gd name="connsiteX59" fmla="*/ 239969 w 548501"/>
                <a:gd name="connsiteY59" fmla="*/ 377095 h 431944"/>
                <a:gd name="connsiteX60" fmla="*/ 212544 w 548501"/>
                <a:gd name="connsiteY60" fmla="*/ 377095 h 431944"/>
                <a:gd name="connsiteX61" fmla="*/ 212544 w 548501"/>
                <a:gd name="connsiteY61" fmla="*/ 349670 h 431944"/>
                <a:gd name="connsiteX62" fmla="*/ 239969 w 548501"/>
                <a:gd name="connsiteY62" fmla="*/ 349670 h 431944"/>
                <a:gd name="connsiteX63" fmla="*/ 239969 w 548501"/>
                <a:gd name="connsiteY63" fmla="*/ 377095 h 431944"/>
                <a:gd name="connsiteX64" fmla="*/ 239969 w 548501"/>
                <a:gd name="connsiteY64" fmla="*/ 301676 h 431944"/>
                <a:gd name="connsiteX65" fmla="*/ 212544 w 548501"/>
                <a:gd name="connsiteY65" fmla="*/ 301676 h 431944"/>
                <a:gd name="connsiteX66" fmla="*/ 212544 w 548501"/>
                <a:gd name="connsiteY66" fmla="*/ 274251 h 431944"/>
                <a:gd name="connsiteX67" fmla="*/ 239969 w 548501"/>
                <a:gd name="connsiteY67" fmla="*/ 274251 h 431944"/>
                <a:gd name="connsiteX68" fmla="*/ 239969 w 548501"/>
                <a:gd name="connsiteY68" fmla="*/ 301676 h 431944"/>
                <a:gd name="connsiteX69" fmla="*/ 294819 w 548501"/>
                <a:gd name="connsiteY69" fmla="*/ 377095 h 431944"/>
                <a:gd name="connsiteX70" fmla="*/ 267394 w 548501"/>
                <a:gd name="connsiteY70" fmla="*/ 377095 h 431944"/>
                <a:gd name="connsiteX71" fmla="*/ 267394 w 548501"/>
                <a:gd name="connsiteY71" fmla="*/ 349670 h 431944"/>
                <a:gd name="connsiteX72" fmla="*/ 294819 w 548501"/>
                <a:gd name="connsiteY72" fmla="*/ 349670 h 431944"/>
                <a:gd name="connsiteX73" fmla="*/ 294819 w 548501"/>
                <a:gd name="connsiteY73" fmla="*/ 377095 h 431944"/>
                <a:gd name="connsiteX74" fmla="*/ 294819 w 548501"/>
                <a:gd name="connsiteY74" fmla="*/ 301676 h 431944"/>
                <a:gd name="connsiteX75" fmla="*/ 267394 w 548501"/>
                <a:gd name="connsiteY75" fmla="*/ 301676 h 431944"/>
                <a:gd name="connsiteX76" fmla="*/ 267394 w 548501"/>
                <a:gd name="connsiteY76" fmla="*/ 274251 h 431944"/>
                <a:gd name="connsiteX77" fmla="*/ 294819 w 548501"/>
                <a:gd name="connsiteY77" fmla="*/ 274251 h 431944"/>
                <a:gd name="connsiteX78" fmla="*/ 294819 w 548501"/>
                <a:gd name="connsiteY78" fmla="*/ 301676 h 431944"/>
                <a:gd name="connsiteX79" fmla="*/ 349670 w 548501"/>
                <a:gd name="connsiteY79" fmla="*/ 377095 h 431944"/>
                <a:gd name="connsiteX80" fmla="*/ 322245 w 548501"/>
                <a:gd name="connsiteY80" fmla="*/ 377095 h 431944"/>
                <a:gd name="connsiteX81" fmla="*/ 322245 w 548501"/>
                <a:gd name="connsiteY81" fmla="*/ 349670 h 431944"/>
                <a:gd name="connsiteX82" fmla="*/ 349670 w 548501"/>
                <a:gd name="connsiteY82" fmla="*/ 349670 h 431944"/>
                <a:gd name="connsiteX83" fmla="*/ 349670 w 548501"/>
                <a:gd name="connsiteY83" fmla="*/ 377095 h 431944"/>
                <a:gd name="connsiteX84" fmla="*/ 404520 w 548501"/>
                <a:gd name="connsiteY84" fmla="*/ 377095 h 431944"/>
                <a:gd name="connsiteX85" fmla="*/ 377095 w 548501"/>
                <a:gd name="connsiteY85" fmla="*/ 377095 h 431944"/>
                <a:gd name="connsiteX86" fmla="*/ 377095 w 548501"/>
                <a:gd name="connsiteY86" fmla="*/ 349670 h 431944"/>
                <a:gd name="connsiteX87" fmla="*/ 404520 w 548501"/>
                <a:gd name="connsiteY87" fmla="*/ 349670 h 431944"/>
                <a:gd name="connsiteX88" fmla="*/ 404520 w 548501"/>
                <a:gd name="connsiteY88" fmla="*/ 377095 h 431944"/>
                <a:gd name="connsiteX89" fmla="*/ 459370 w 548501"/>
                <a:gd name="connsiteY89" fmla="*/ 377095 h 431944"/>
                <a:gd name="connsiteX90" fmla="*/ 431945 w 548501"/>
                <a:gd name="connsiteY90" fmla="*/ 377095 h 431944"/>
                <a:gd name="connsiteX91" fmla="*/ 431945 w 548501"/>
                <a:gd name="connsiteY91" fmla="*/ 349670 h 431944"/>
                <a:gd name="connsiteX92" fmla="*/ 459370 w 548501"/>
                <a:gd name="connsiteY92" fmla="*/ 349670 h 431944"/>
                <a:gd name="connsiteX93" fmla="*/ 459370 w 548501"/>
                <a:gd name="connsiteY93" fmla="*/ 377095 h 43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48501" h="431944">
                  <a:moveTo>
                    <a:pt x="493651" y="322245"/>
                  </a:moveTo>
                  <a:lnTo>
                    <a:pt x="493651" y="113128"/>
                  </a:lnTo>
                  <a:cubicBezTo>
                    <a:pt x="493651" y="96056"/>
                    <a:pt x="479870" y="82275"/>
                    <a:pt x="462798" y="82275"/>
                  </a:cubicBezTo>
                  <a:cubicBezTo>
                    <a:pt x="445726" y="82275"/>
                    <a:pt x="431945" y="96056"/>
                    <a:pt x="431945" y="113128"/>
                  </a:cubicBezTo>
                  <a:lnTo>
                    <a:pt x="431945" y="239969"/>
                  </a:lnTo>
                  <a:lnTo>
                    <a:pt x="356526" y="239969"/>
                  </a:lnTo>
                  <a:lnTo>
                    <a:pt x="356526" y="205688"/>
                  </a:lnTo>
                  <a:lnTo>
                    <a:pt x="383951" y="205688"/>
                  </a:lnTo>
                  <a:lnTo>
                    <a:pt x="383951" y="178263"/>
                  </a:lnTo>
                  <a:lnTo>
                    <a:pt x="356526" y="178263"/>
                  </a:lnTo>
                  <a:lnTo>
                    <a:pt x="356526" y="150838"/>
                  </a:lnTo>
                  <a:lnTo>
                    <a:pt x="383951" y="150838"/>
                  </a:lnTo>
                  <a:lnTo>
                    <a:pt x="383951" y="123413"/>
                  </a:lnTo>
                  <a:lnTo>
                    <a:pt x="356526" y="123413"/>
                  </a:lnTo>
                  <a:lnTo>
                    <a:pt x="356526" y="95988"/>
                  </a:lnTo>
                  <a:lnTo>
                    <a:pt x="383951" y="95988"/>
                  </a:lnTo>
                  <a:lnTo>
                    <a:pt x="383951" y="68563"/>
                  </a:lnTo>
                  <a:lnTo>
                    <a:pt x="356526" y="68563"/>
                  </a:lnTo>
                  <a:lnTo>
                    <a:pt x="356526" y="30853"/>
                  </a:lnTo>
                  <a:cubicBezTo>
                    <a:pt x="356526" y="13781"/>
                    <a:pt x="342745" y="0"/>
                    <a:pt x="325673" y="0"/>
                  </a:cubicBezTo>
                  <a:cubicBezTo>
                    <a:pt x="308601" y="0"/>
                    <a:pt x="294819" y="13781"/>
                    <a:pt x="294819" y="30853"/>
                  </a:cubicBezTo>
                  <a:lnTo>
                    <a:pt x="294819" y="239969"/>
                  </a:lnTo>
                  <a:lnTo>
                    <a:pt x="219401" y="239969"/>
                  </a:lnTo>
                  <a:lnTo>
                    <a:pt x="219401" y="102844"/>
                  </a:lnTo>
                  <a:cubicBezTo>
                    <a:pt x="219401" y="95302"/>
                    <a:pt x="213230" y="89131"/>
                    <a:pt x="205688" y="89131"/>
                  </a:cubicBezTo>
                  <a:cubicBezTo>
                    <a:pt x="198146" y="89131"/>
                    <a:pt x="191975" y="95302"/>
                    <a:pt x="191975" y="102844"/>
                  </a:cubicBezTo>
                  <a:lnTo>
                    <a:pt x="191975" y="239969"/>
                  </a:lnTo>
                  <a:lnTo>
                    <a:pt x="164550" y="239969"/>
                  </a:lnTo>
                  <a:lnTo>
                    <a:pt x="164550" y="78847"/>
                  </a:lnTo>
                  <a:cubicBezTo>
                    <a:pt x="164550" y="61775"/>
                    <a:pt x="150769" y="47994"/>
                    <a:pt x="133697" y="47994"/>
                  </a:cubicBezTo>
                  <a:cubicBezTo>
                    <a:pt x="116625" y="47994"/>
                    <a:pt x="102844" y="61775"/>
                    <a:pt x="102844" y="78847"/>
                  </a:cubicBezTo>
                  <a:lnTo>
                    <a:pt x="102844" y="239969"/>
                  </a:lnTo>
                  <a:lnTo>
                    <a:pt x="54850" y="239969"/>
                  </a:lnTo>
                  <a:lnTo>
                    <a:pt x="54850" y="322245"/>
                  </a:lnTo>
                  <a:lnTo>
                    <a:pt x="0" y="322245"/>
                  </a:lnTo>
                  <a:lnTo>
                    <a:pt x="0" y="431945"/>
                  </a:lnTo>
                  <a:lnTo>
                    <a:pt x="548501" y="431945"/>
                  </a:lnTo>
                  <a:lnTo>
                    <a:pt x="548501" y="322245"/>
                  </a:lnTo>
                  <a:lnTo>
                    <a:pt x="493651" y="322245"/>
                  </a:lnTo>
                  <a:close/>
                  <a:moveTo>
                    <a:pt x="130269" y="377095"/>
                  </a:moveTo>
                  <a:lnTo>
                    <a:pt x="102844" y="377095"/>
                  </a:lnTo>
                  <a:lnTo>
                    <a:pt x="102844" y="349670"/>
                  </a:lnTo>
                  <a:lnTo>
                    <a:pt x="130269" y="349670"/>
                  </a:lnTo>
                  <a:lnTo>
                    <a:pt x="130269" y="377095"/>
                  </a:lnTo>
                  <a:close/>
                  <a:moveTo>
                    <a:pt x="130269" y="301676"/>
                  </a:moveTo>
                  <a:lnTo>
                    <a:pt x="102844" y="301676"/>
                  </a:lnTo>
                  <a:lnTo>
                    <a:pt x="102844" y="274251"/>
                  </a:lnTo>
                  <a:lnTo>
                    <a:pt x="130269" y="274251"/>
                  </a:lnTo>
                  <a:lnTo>
                    <a:pt x="130269" y="301676"/>
                  </a:lnTo>
                  <a:close/>
                  <a:moveTo>
                    <a:pt x="185119" y="377095"/>
                  </a:moveTo>
                  <a:lnTo>
                    <a:pt x="157694" y="377095"/>
                  </a:lnTo>
                  <a:lnTo>
                    <a:pt x="157694" y="349670"/>
                  </a:lnTo>
                  <a:lnTo>
                    <a:pt x="185119" y="349670"/>
                  </a:lnTo>
                  <a:lnTo>
                    <a:pt x="185119" y="377095"/>
                  </a:lnTo>
                  <a:close/>
                  <a:moveTo>
                    <a:pt x="185119" y="301676"/>
                  </a:moveTo>
                  <a:lnTo>
                    <a:pt x="157694" y="301676"/>
                  </a:lnTo>
                  <a:lnTo>
                    <a:pt x="157694" y="274251"/>
                  </a:lnTo>
                  <a:lnTo>
                    <a:pt x="185119" y="274251"/>
                  </a:lnTo>
                  <a:lnTo>
                    <a:pt x="185119" y="301676"/>
                  </a:lnTo>
                  <a:close/>
                  <a:moveTo>
                    <a:pt x="239969" y="377095"/>
                  </a:moveTo>
                  <a:lnTo>
                    <a:pt x="212544" y="377095"/>
                  </a:lnTo>
                  <a:lnTo>
                    <a:pt x="212544" y="349670"/>
                  </a:lnTo>
                  <a:lnTo>
                    <a:pt x="239969" y="349670"/>
                  </a:lnTo>
                  <a:lnTo>
                    <a:pt x="239969" y="377095"/>
                  </a:lnTo>
                  <a:close/>
                  <a:moveTo>
                    <a:pt x="239969" y="301676"/>
                  </a:moveTo>
                  <a:lnTo>
                    <a:pt x="212544" y="301676"/>
                  </a:lnTo>
                  <a:lnTo>
                    <a:pt x="212544" y="274251"/>
                  </a:lnTo>
                  <a:lnTo>
                    <a:pt x="239969" y="274251"/>
                  </a:lnTo>
                  <a:lnTo>
                    <a:pt x="239969" y="301676"/>
                  </a:lnTo>
                  <a:close/>
                  <a:moveTo>
                    <a:pt x="294819" y="377095"/>
                  </a:moveTo>
                  <a:lnTo>
                    <a:pt x="267394" y="377095"/>
                  </a:lnTo>
                  <a:lnTo>
                    <a:pt x="267394" y="349670"/>
                  </a:lnTo>
                  <a:lnTo>
                    <a:pt x="294819" y="349670"/>
                  </a:lnTo>
                  <a:lnTo>
                    <a:pt x="294819" y="377095"/>
                  </a:lnTo>
                  <a:close/>
                  <a:moveTo>
                    <a:pt x="294819" y="301676"/>
                  </a:moveTo>
                  <a:lnTo>
                    <a:pt x="267394" y="301676"/>
                  </a:lnTo>
                  <a:lnTo>
                    <a:pt x="267394" y="274251"/>
                  </a:lnTo>
                  <a:lnTo>
                    <a:pt x="294819" y="274251"/>
                  </a:lnTo>
                  <a:lnTo>
                    <a:pt x="294819" y="301676"/>
                  </a:lnTo>
                  <a:close/>
                  <a:moveTo>
                    <a:pt x="349670" y="377095"/>
                  </a:moveTo>
                  <a:lnTo>
                    <a:pt x="322245" y="377095"/>
                  </a:lnTo>
                  <a:lnTo>
                    <a:pt x="322245" y="349670"/>
                  </a:lnTo>
                  <a:lnTo>
                    <a:pt x="349670" y="349670"/>
                  </a:lnTo>
                  <a:lnTo>
                    <a:pt x="349670" y="377095"/>
                  </a:lnTo>
                  <a:close/>
                  <a:moveTo>
                    <a:pt x="404520" y="377095"/>
                  </a:moveTo>
                  <a:lnTo>
                    <a:pt x="377095" y="377095"/>
                  </a:lnTo>
                  <a:lnTo>
                    <a:pt x="377095" y="349670"/>
                  </a:lnTo>
                  <a:lnTo>
                    <a:pt x="404520" y="349670"/>
                  </a:lnTo>
                  <a:lnTo>
                    <a:pt x="404520" y="377095"/>
                  </a:lnTo>
                  <a:close/>
                  <a:moveTo>
                    <a:pt x="459370" y="377095"/>
                  </a:moveTo>
                  <a:lnTo>
                    <a:pt x="431945" y="377095"/>
                  </a:lnTo>
                  <a:lnTo>
                    <a:pt x="431945" y="349670"/>
                  </a:lnTo>
                  <a:lnTo>
                    <a:pt x="459370" y="349670"/>
                  </a:lnTo>
                  <a:lnTo>
                    <a:pt x="459370" y="377095"/>
                  </a:lnTo>
                  <a:close/>
                </a:path>
              </a:pathLst>
            </a:custGeom>
            <a:solidFill>
              <a:schemeClr val="accent6"/>
            </a:solidFill>
            <a:ln w="6794" cap="flat">
              <a:noFill/>
              <a:prstDash val="solid"/>
              <a:miter/>
            </a:ln>
          </p:spPr>
          <p:txBody>
            <a:bodyPr rtlCol="0" anchor="ctr"/>
            <a:lstStyle/>
            <a:p>
              <a:endParaRPr lang="en-US"/>
            </a:p>
          </p:txBody>
        </p:sp>
        <p:sp>
          <p:nvSpPr>
            <p:cNvPr id="51" name="Textfeld 50">
              <a:extLst>
                <a:ext uri="{FF2B5EF4-FFF2-40B4-BE49-F238E27FC236}">
                  <a16:creationId xmlns:a16="http://schemas.microsoft.com/office/drawing/2014/main" id="{2E0AF5FA-9137-A358-3C78-67E2F85C607F}"/>
                </a:ext>
              </a:extLst>
            </p:cNvPr>
            <p:cNvSpPr txBox="1"/>
            <p:nvPr/>
          </p:nvSpPr>
          <p:spPr>
            <a:xfrm>
              <a:off x="8967038" y="5275638"/>
              <a:ext cx="1575513" cy="276999"/>
            </a:xfrm>
            <a:prstGeom prst="rect">
              <a:avLst/>
            </a:prstGeom>
            <a:noFill/>
          </p:spPr>
          <p:txBody>
            <a:bodyPr wrap="square" lIns="0" tIns="0" rIns="0" bIns="0" rtlCol="0">
              <a:spAutoFit/>
            </a:bodyPr>
            <a:lstStyle/>
            <a:p>
              <a:pPr algn="r"/>
              <a:r>
                <a:rPr lang="en-US">
                  <a:solidFill>
                    <a:schemeClr val="accent6"/>
                  </a:solidFill>
                </a:rPr>
                <a:t>3</a:t>
              </a:r>
              <a:r>
                <a:rPr lang="en-US" baseline="30000">
                  <a:solidFill>
                    <a:schemeClr val="accent6"/>
                  </a:solidFill>
                </a:rPr>
                <a:t>rd</a:t>
              </a:r>
              <a:r>
                <a:rPr lang="en-US">
                  <a:solidFill>
                    <a:schemeClr val="accent6"/>
                  </a:solidFill>
                </a:rPr>
                <a:t>-Party-DCS</a:t>
              </a:r>
            </a:p>
          </p:txBody>
        </p:sp>
      </p:grpSp>
      <p:grpSp>
        <p:nvGrpSpPr>
          <p:cNvPr id="167" name="Gruppieren 166">
            <a:extLst>
              <a:ext uri="{FF2B5EF4-FFF2-40B4-BE49-F238E27FC236}">
                <a16:creationId xmlns:a16="http://schemas.microsoft.com/office/drawing/2014/main" id="{2BB53A57-8D21-C258-3415-16BE805AE477}"/>
              </a:ext>
            </a:extLst>
          </p:cNvPr>
          <p:cNvGrpSpPr/>
          <p:nvPr/>
        </p:nvGrpSpPr>
        <p:grpSpPr>
          <a:xfrm>
            <a:off x="5226582" y="4775200"/>
            <a:ext cx="3269446" cy="1031875"/>
            <a:chOff x="5226582" y="4775200"/>
            <a:chExt cx="3269446" cy="1031875"/>
          </a:xfrm>
        </p:grpSpPr>
        <p:sp>
          <p:nvSpPr>
            <p:cNvPr id="165" name="Rechteck 164">
              <a:extLst>
                <a:ext uri="{FF2B5EF4-FFF2-40B4-BE49-F238E27FC236}">
                  <a16:creationId xmlns:a16="http://schemas.microsoft.com/office/drawing/2014/main" id="{477DB246-FDBA-9F30-AAF6-C4DEBEF4EB4F}"/>
                </a:ext>
              </a:extLst>
            </p:cNvPr>
            <p:cNvSpPr>
              <a:spLocks/>
            </p:cNvSpPr>
            <p:nvPr/>
          </p:nvSpPr>
          <p:spPr>
            <a:xfrm>
              <a:off x="5226582" y="4775200"/>
              <a:ext cx="3269446" cy="1031875"/>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8" name="Freihandform: Form 47">
              <a:extLst>
                <a:ext uri="{FF2B5EF4-FFF2-40B4-BE49-F238E27FC236}">
                  <a16:creationId xmlns:a16="http://schemas.microsoft.com/office/drawing/2014/main" id="{5547E7E7-37A3-5B70-564A-562E23C637B3}"/>
                </a:ext>
              </a:extLst>
            </p:cNvPr>
            <p:cNvSpPr/>
            <p:nvPr/>
          </p:nvSpPr>
          <p:spPr bwMode="gray">
            <a:xfrm>
              <a:off x="5597569" y="5029200"/>
              <a:ext cx="668492" cy="526438"/>
            </a:xfrm>
            <a:custGeom>
              <a:avLst/>
              <a:gdLst>
                <a:gd name="connsiteX0" fmla="*/ 493651 w 548501"/>
                <a:gd name="connsiteY0" fmla="*/ 322245 h 431944"/>
                <a:gd name="connsiteX1" fmla="*/ 493651 w 548501"/>
                <a:gd name="connsiteY1" fmla="*/ 113128 h 431944"/>
                <a:gd name="connsiteX2" fmla="*/ 462798 w 548501"/>
                <a:gd name="connsiteY2" fmla="*/ 82275 h 431944"/>
                <a:gd name="connsiteX3" fmla="*/ 431945 w 548501"/>
                <a:gd name="connsiteY3" fmla="*/ 113128 h 431944"/>
                <a:gd name="connsiteX4" fmla="*/ 431945 w 548501"/>
                <a:gd name="connsiteY4" fmla="*/ 239969 h 431944"/>
                <a:gd name="connsiteX5" fmla="*/ 356526 w 548501"/>
                <a:gd name="connsiteY5" fmla="*/ 239969 h 431944"/>
                <a:gd name="connsiteX6" fmla="*/ 356526 w 548501"/>
                <a:gd name="connsiteY6" fmla="*/ 205688 h 431944"/>
                <a:gd name="connsiteX7" fmla="*/ 383951 w 548501"/>
                <a:gd name="connsiteY7" fmla="*/ 205688 h 431944"/>
                <a:gd name="connsiteX8" fmla="*/ 383951 w 548501"/>
                <a:gd name="connsiteY8" fmla="*/ 178263 h 431944"/>
                <a:gd name="connsiteX9" fmla="*/ 356526 w 548501"/>
                <a:gd name="connsiteY9" fmla="*/ 178263 h 431944"/>
                <a:gd name="connsiteX10" fmla="*/ 356526 w 548501"/>
                <a:gd name="connsiteY10" fmla="*/ 150838 h 431944"/>
                <a:gd name="connsiteX11" fmla="*/ 383951 w 548501"/>
                <a:gd name="connsiteY11" fmla="*/ 150838 h 431944"/>
                <a:gd name="connsiteX12" fmla="*/ 383951 w 548501"/>
                <a:gd name="connsiteY12" fmla="*/ 123413 h 431944"/>
                <a:gd name="connsiteX13" fmla="*/ 356526 w 548501"/>
                <a:gd name="connsiteY13" fmla="*/ 123413 h 431944"/>
                <a:gd name="connsiteX14" fmla="*/ 356526 w 548501"/>
                <a:gd name="connsiteY14" fmla="*/ 95988 h 431944"/>
                <a:gd name="connsiteX15" fmla="*/ 383951 w 548501"/>
                <a:gd name="connsiteY15" fmla="*/ 95988 h 431944"/>
                <a:gd name="connsiteX16" fmla="*/ 383951 w 548501"/>
                <a:gd name="connsiteY16" fmla="*/ 68563 h 431944"/>
                <a:gd name="connsiteX17" fmla="*/ 356526 w 548501"/>
                <a:gd name="connsiteY17" fmla="*/ 68563 h 431944"/>
                <a:gd name="connsiteX18" fmla="*/ 356526 w 548501"/>
                <a:gd name="connsiteY18" fmla="*/ 30853 h 431944"/>
                <a:gd name="connsiteX19" fmla="*/ 325673 w 548501"/>
                <a:gd name="connsiteY19" fmla="*/ 0 h 431944"/>
                <a:gd name="connsiteX20" fmla="*/ 294819 w 548501"/>
                <a:gd name="connsiteY20" fmla="*/ 30853 h 431944"/>
                <a:gd name="connsiteX21" fmla="*/ 294819 w 548501"/>
                <a:gd name="connsiteY21" fmla="*/ 239969 h 431944"/>
                <a:gd name="connsiteX22" fmla="*/ 219401 w 548501"/>
                <a:gd name="connsiteY22" fmla="*/ 239969 h 431944"/>
                <a:gd name="connsiteX23" fmla="*/ 219401 w 548501"/>
                <a:gd name="connsiteY23" fmla="*/ 102844 h 431944"/>
                <a:gd name="connsiteX24" fmla="*/ 205688 w 548501"/>
                <a:gd name="connsiteY24" fmla="*/ 89131 h 431944"/>
                <a:gd name="connsiteX25" fmla="*/ 191975 w 548501"/>
                <a:gd name="connsiteY25" fmla="*/ 102844 h 431944"/>
                <a:gd name="connsiteX26" fmla="*/ 191975 w 548501"/>
                <a:gd name="connsiteY26" fmla="*/ 239969 h 431944"/>
                <a:gd name="connsiteX27" fmla="*/ 164550 w 548501"/>
                <a:gd name="connsiteY27" fmla="*/ 239969 h 431944"/>
                <a:gd name="connsiteX28" fmla="*/ 164550 w 548501"/>
                <a:gd name="connsiteY28" fmla="*/ 78847 h 431944"/>
                <a:gd name="connsiteX29" fmla="*/ 133697 w 548501"/>
                <a:gd name="connsiteY29" fmla="*/ 47994 h 431944"/>
                <a:gd name="connsiteX30" fmla="*/ 102844 w 548501"/>
                <a:gd name="connsiteY30" fmla="*/ 78847 h 431944"/>
                <a:gd name="connsiteX31" fmla="*/ 102844 w 548501"/>
                <a:gd name="connsiteY31" fmla="*/ 239969 h 431944"/>
                <a:gd name="connsiteX32" fmla="*/ 54850 w 548501"/>
                <a:gd name="connsiteY32" fmla="*/ 239969 h 431944"/>
                <a:gd name="connsiteX33" fmla="*/ 54850 w 548501"/>
                <a:gd name="connsiteY33" fmla="*/ 322245 h 431944"/>
                <a:gd name="connsiteX34" fmla="*/ 0 w 548501"/>
                <a:gd name="connsiteY34" fmla="*/ 322245 h 431944"/>
                <a:gd name="connsiteX35" fmla="*/ 0 w 548501"/>
                <a:gd name="connsiteY35" fmla="*/ 431945 h 431944"/>
                <a:gd name="connsiteX36" fmla="*/ 548501 w 548501"/>
                <a:gd name="connsiteY36" fmla="*/ 431945 h 431944"/>
                <a:gd name="connsiteX37" fmla="*/ 548501 w 548501"/>
                <a:gd name="connsiteY37" fmla="*/ 322245 h 431944"/>
                <a:gd name="connsiteX38" fmla="*/ 493651 w 548501"/>
                <a:gd name="connsiteY38" fmla="*/ 322245 h 431944"/>
                <a:gd name="connsiteX39" fmla="*/ 130269 w 548501"/>
                <a:gd name="connsiteY39" fmla="*/ 377095 h 431944"/>
                <a:gd name="connsiteX40" fmla="*/ 102844 w 548501"/>
                <a:gd name="connsiteY40" fmla="*/ 377095 h 431944"/>
                <a:gd name="connsiteX41" fmla="*/ 102844 w 548501"/>
                <a:gd name="connsiteY41" fmla="*/ 349670 h 431944"/>
                <a:gd name="connsiteX42" fmla="*/ 130269 w 548501"/>
                <a:gd name="connsiteY42" fmla="*/ 349670 h 431944"/>
                <a:gd name="connsiteX43" fmla="*/ 130269 w 548501"/>
                <a:gd name="connsiteY43" fmla="*/ 377095 h 431944"/>
                <a:gd name="connsiteX44" fmla="*/ 130269 w 548501"/>
                <a:gd name="connsiteY44" fmla="*/ 301676 h 431944"/>
                <a:gd name="connsiteX45" fmla="*/ 102844 w 548501"/>
                <a:gd name="connsiteY45" fmla="*/ 301676 h 431944"/>
                <a:gd name="connsiteX46" fmla="*/ 102844 w 548501"/>
                <a:gd name="connsiteY46" fmla="*/ 274251 h 431944"/>
                <a:gd name="connsiteX47" fmla="*/ 130269 w 548501"/>
                <a:gd name="connsiteY47" fmla="*/ 274251 h 431944"/>
                <a:gd name="connsiteX48" fmla="*/ 130269 w 548501"/>
                <a:gd name="connsiteY48" fmla="*/ 301676 h 431944"/>
                <a:gd name="connsiteX49" fmla="*/ 185119 w 548501"/>
                <a:gd name="connsiteY49" fmla="*/ 377095 h 431944"/>
                <a:gd name="connsiteX50" fmla="*/ 157694 w 548501"/>
                <a:gd name="connsiteY50" fmla="*/ 377095 h 431944"/>
                <a:gd name="connsiteX51" fmla="*/ 157694 w 548501"/>
                <a:gd name="connsiteY51" fmla="*/ 349670 h 431944"/>
                <a:gd name="connsiteX52" fmla="*/ 185119 w 548501"/>
                <a:gd name="connsiteY52" fmla="*/ 349670 h 431944"/>
                <a:gd name="connsiteX53" fmla="*/ 185119 w 548501"/>
                <a:gd name="connsiteY53" fmla="*/ 377095 h 431944"/>
                <a:gd name="connsiteX54" fmla="*/ 185119 w 548501"/>
                <a:gd name="connsiteY54" fmla="*/ 301676 h 431944"/>
                <a:gd name="connsiteX55" fmla="*/ 157694 w 548501"/>
                <a:gd name="connsiteY55" fmla="*/ 301676 h 431944"/>
                <a:gd name="connsiteX56" fmla="*/ 157694 w 548501"/>
                <a:gd name="connsiteY56" fmla="*/ 274251 h 431944"/>
                <a:gd name="connsiteX57" fmla="*/ 185119 w 548501"/>
                <a:gd name="connsiteY57" fmla="*/ 274251 h 431944"/>
                <a:gd name="connsiteX58" fmla="*/ 185119 w 548501"/>
                <a:gd name="connsiteY58" fmla="*/ 301676 h 431944"/>
                <a:gd name="connsiteX59" fmla="*/ 239969 w 548501"/>
                <a:gd name="connsiteY59" fmla="*/ 377095 h 431944"/>
                <a:gd name="connsiteX60" fmla="*/ 212544 w 548501"/>
                <a:gd name="connsiteY60" fmla="*/ 377095 h 431944"/>
                <a:gd name="connsiteX61" fmla="*/ 212544 w 548501"/>
                <a:gd name="connsiteY61" fmla="*/ 349670 h 431944"/>
                <a:gd name="connsiteX62" fmla="*/ 239969 w 548501"/>
                <a:gd name="connsiteY62" fmla="*/ 349670 h 431944"/>
                <a:gd name="connsiteX63" fmla="*/ 239969 w 548501"/>
                <a:gd name="connsiteY63" fmla="*/ 377095 h 431944"/>
                <a:gd name="connsiteX64" fmla="*/ 239969 w 548501"/>
                <a:gd name="connsiteY64" fmla="*/ 301676 h 431944"/>
                <a:gd name="connsiteX65" fmla="*/ 212544 w 548501"/>
                <a:gd name="connsiteY65" fmla="*/ 301676 h 431944"/>
                <a:gd name="connsiteX66" fmla="*/ 212544 w 548501"/>
                <a:gd name="connsiteY66" fmla="*/ 274251 h 431944"/>
                <a:gd name="connsiteX67" fmla="*/ 239969 w 548501"/>
                <a:gd name="connsiteY67" fmla="*/ 274251 h 431944"/>
                <a:gd name="connsiteX68" fmla="*/ 239969 w 548501"/>
                <a:gd name="connsiteY68" fmla="*/ 301676 h 431944"/>
                <a:gd name="connsiteX69" fmla="*/ 294819 w 548501"/>
                <a:gd name="connsiteY69" fmla="*/ 377095 h 431944"/>
                <a:gd name="connsiteX70" fmla="*/ 267394 w 548501"/>
                <a:gd name="connsiteY70" fmla="*/ 377095 h 431944"/>
                <a:gd name="connsiteX71" fmla="*/ 267394 w 548501"/>
                <a:gd name="connsiteY71" fmla="*/ 349670 h 431944"/>
                <a:gd name="connsiteX72" fmla="*/ 294819 w 548501"/>
                <a:gd name="connsiteY72" fmla="*/ 349670 h 431944"/>
                <a:gd name="connsiteX73" fmla="*/ 294819 w 548501"/>
                <a:gd name="connsiteY73" fmla="*/ 377095 h 431944"/>
                <a:gd name="connsiteX74" fmla="*/ 294819 w 548501"/>
                <a:gd name="connsiteY74" fmla="*/ 301676 h 431944"/>
                <a:gd name="connsiteX75" fmla="*/ 267394 w 548501"/>
                <a:gd name="connsiteY75" fmla="*/ 301676 h 431944"/>
                <a:gd name="connsiteX76" fmla="*/ 267394 w 548501"/>
                <a:gd name="connsiteY76" fmla="*/ 274251 h 431944"/>
                <a:gd name="connsiteX77" fmla="*/ 294819 w 548501"/>
                <a:gd name="connsiteY77" fmla="*/ 274251 h 431944"/>
                <a:gd name="connsiteX78" fmla="*/ 294819 w 548501"/>
                <a:gd name="connsiteY78" fmla="*/ 301676 h 431944"/>
                <a:gd name="connsiteX79" fmla="*/ 349670 w 548501"/>
                <a:gd name="connsiteY79" fmla="*/ 377095 h 431944"/>
                <a:gd name="connsiteX80" fmla="*/ 322245 w 548501"/>
                <a:gd name="connsiteY80" fmla="*/ 377095 h 431944"/>
                <a:gd name="connsiteX81" fmla="*/ 322245 w 548501"/>
                <a:gd name="connsiteY81" fmla="*/ 349670 h 431944"/>
                <a:gd name="connsiteX82" fmla="*/ 349670 w 548501"/>
                <a:gd name="connsiteY82" fmla="*/ 349670 h 431944"/>
                <a:gd name="connsiteX83" fmla="*/ 349670 w 548501"/>
                <a:gd name="connsiteY83" fmla="*/ 377095 h 431944"/>
                <a:gd name="connsiteX84" fmla="*/ 404520 w 548501"/>
                <a:gd name="connsiteY84" fmla="*/ 377095 h 431944"/>
                <a:gd name="connsiteX85" fmla="*/ 377095 w 548501"/>
                <a:gd name="connsiteY85" fmla="*/ 377095 h 431944"/>
                <a:gd name="connsiteX86" fmla="*/ 377095 w 548501"/>
                <a:gd name="connsiteY86" fmla="*/ 349670 h 431944"/>
                <a:gd name="connsiteX87" fmla="*/ 404520 w 548501"/>
                <a:gd name="connsiteY87" fmla="*/ 349670 h 431944"/>
                <a:gd name="connsiteX88" fmla="*/ 404520 w 548501"/>
                <a:gd name="connsiteY88" fmla="*/ 377095 h 431944"/>
                <a:gd name="connsiteX89" fmla="*/ 459370 w 548501"/>
                <a:gd name="connsiteY89" fmla="*/ 377095 h 431944"/>
                <a:gd name="connsiteX90" fmla="*/ 431945 w 548501"/>
                <a:gd name="connsiteY90" fmla="*/ 377095 h 431944"/>
                <a:gd name="connsiteX91" fmla="*/ 431945 w 548501"/>
                <a:gd name="connsiteY91" fmla="*/ 349670 h 431944"/>
                <a:gd name="connsiteX92" fmla="*/ 459370 w 548501"/>
                <a:gd name="connsiteY92" fmla="*/ 349670 h 431944"/>
                <a:gd name="connsiteX93" fmla="*/ 459370 w 548501"/>
                <a:gd name="connsiteY93" fmla="*/ 377095 h 43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48501" h="431944">
                  <a:moveTo>
                    <a:pt x="493651" y="322245"/>
                  </a:moveTo>
                  <a:lnTo>
                    <a:pt x="493651" y="113128"/>
                  </a:lnTo>
                  <a:cubicBezTo>
                    <a:pt x="493651" y="96056"/>
                    <a:pt x="479870" y="82275"/>
                    <a:pt x="462798" y="82275"/>
                  </a:cubicBezTo>
                  <a:cubicBezTo>
                    <a:pt x="445726" y="82275"/>
                    <a:pt x="431945" y="96056"/>
                    <a:pt x="431945" y="113128"/>
                  </a:cubicBezTo>
                  <a:lnTo>
                    <a:pt x="431945" y="239969"/>
                  </a:lnTo>
                  <a:lnTo>
                    <a:pt x="356526" y="239969"/>
                  </a:lnTo>
                  <a:lnTo>
                    <a:pt x="356526" y="205688"/>
                  </a:lnTo>
                  <a:lnTo>
                    <a:pt x="383951" y="205688"/>
                  </a:lnTo>
                  <a:lnTo>
                    <a:pt x="383951" y="178263"/>
                  </a:lnTo>
                  <a:lnTo>
                    <a:pt x="356526" y="178263"/>
                  </a:lnTo>
                  <a:lnTo>
                    <a:pt x="356526" y="150838"/>
                  </a:lnTo>
                  <a:lnTo>
                    <a:pt x="383951" y="150838"/>
                  </a:lnTo>
                  <a:lnTo>
                    <a:pt x="383951" y="123413"/>
                  </a:lnTo>
                  <a:lnTo>
                    <a:pt x="356526" y="123413"/>
                  </a:lnTo>
                  <a:lnTo>
                    <a:pt x="356526" y="95988"/>
                  </a:lnTo>
                  <a:lnTo>
                    <a:pt x="383951" y="95988"/>
                  </a:lnTo>
                  <a:lnTo>
                    <a:pt x="383951" y="68563"/>
                  </a:lnTo>
                  <a:lnTo>
                    <a:pt x="356526" y="68563"/>
                  </a:lnTo>
                  <a:lnTo>
                    <a:pt x="356526" y="30853"/>
                  </a:lnTo>
                  <a:cubicBezTo>
                    <a:pt x="356526" y="13781"/>
                    <a:pt x="342745" y="0"/>
                    <a:pt x="325673" y="0"/>
                  </a:cubicBezTo>
                  <a:cubicBezTo>
                    <a:pt x="308601" y="0"/>
                    <a:pt x="294819" y="13781"/>
                    <a:pt x="294819" y="30853"/>
                  </a:cubicBezTo>
                  <a:lnTo>
                    <a:pt x="294819" y="239969"/>
                  </a:lnTo>
                  <a:lnTo>
                    <a:pt x="219401" y="239969"/>
                  </a:lnTo>
                  <a:lnTo>
                    <a:pt x="219401" y="102844"/>
                  </a:lnTo>
                  <a:cubicBezTo>
                    <a:pt x="219401" y="95302"/>
                    <a:pt x="213230" y="89131"/>
                    <a:pt x="205688" y="89131"/>
                  </a:cubicBezTo>
                  <a:cubicBezTo>
                    <a:pt x="198146" y="89131"/>
                    <a:pt x="191975" y="95302"/>
                    <a:pt x="191975" y="102844"/>
                  </a:cubicBezTo>
                  <a:lnTo>
                    <a:pt x="191975" y="239969"/>
                  </a:lnTo>
                  <a:lnTo>
                    <a:pt x="164550" y="239969"/>
                  </a:lnTo>
                  <a:lnTo>
                    <a:pt x="164550" y="78847"/>
                  </a:lnTo>
                  <a:cubicBezTo>
                    <a:pt x="164550" y="61775"/>
                    <a:pt x="150769" y="47994"/>
                    <a:pt x="133697" y="47994"/>
                  </a:cubicBezTo>
                  <a:cubicBezTo>
                    <a:pt x="116625" y="47994"/>
                    <a:pt x="102844" y="61775"/>
                    <a:pt x="102844" y="78847"/>
                  </a:cubicBezTo>
                  <a:lnTo>
                    <a:pt x="102844" y="239969"/>
                  </a:lnTo>
                  <a:lnTo>
                    <a:pt x="54850" y="239969"/>
                  </a:lnTo>
                  <a:lnTo>
                    <a:pt x="54850" y="322245"/>
                  </a:lnTo>
                  <a:lnTo>
                    <a:pt x="0" y="322245"/>
                  </a:lnTo>
                  <a:lnTo>
                    <a:pt x="0" y="431945"/>
                  </a:lnTo>
                  <a:lnTo>
                    <a:pt x="548501" y="431945"/>
                  </a:lnTo>
                  <a:lnTo>
                    <a:pt x="548501" y="322245"/>
                  </a:lnTo>
                  <a:lnTo>
                    <a:pt x="493651" y="322245"/>
                  </a:lnTo>
                  <a:close/>
                  <a:moveTo>
                    <a:pt x="130269" y="377095"/>
                  </a:moveTo>
                  <a:lnTo>
                    <a:pt x="102844" y="377095"/>
                  </a:lnTo>
                  <a:lnTo>
                    <a:pt x="102844" y="349670"/>
                  </a:lnTo>
                  <a:lnTo>
                    <a:pt x="130269" y="349670"/>
                  </a:lnTo>
                  <a:lnTo>
                    <a:pt x="130269" y="377095"/>
                  </a:lnTo>
                  <a:close/>
                  <a:moveTo>
                    <a:pt x="130269" y="301676"/>
                  </a:moveTo>
                  <a:lnTo>
                    <a:pt x="102844" y="301676"/>
                  </a:lnTo>
                  <a:lnTo>
                    <a:pt x="102844" y="274251"/>
                  </a:lnTo>
                  <a:lnTo>
                    <a:pt x="130269" y="274251"/>
                  </a:lnTo>
                  <a:lnTo>
                    <a:pt x="130269" y="301676"/>
                  </a:lnTo>
                  <a:close/>
                  <a:moveTo>
                    <a:pt x="185119" y="377095"/>
                  </a:moveTo>
                  <a:lnTo>
                    <a:pt x="157694" y="377095"/>
                  </a:lnTo>
                  <a:lnTo>
                    <a:pt x="157694" y="349670"/>
                  </a:lnTo>
                  <a:lnTo>
                    <a:pt x="185119" y="349670"/>
                  </a:lnTo>
                  <a:lnTo>
                    <a:pt x="185119" y="377095"/>
                  </a:lnTo>
                  <a:close/>
                  <a:moveTo>
                    <a:pt x="185119" y="301676"/>
                  </a:moveTo>
                  <a:lnTo>
                    <a:pt x="157694" y="301676"/>
                  </a:lnTo>
                  <a:lnTo>
                    <a:pt x="157694" y="274251"/>
                  </a:lnTo>
                  <a:lnTo>
                    <a:pt x="185119" y="274251"/>
                  </a:lnTo>
                  <a:lnTo>
                    <a:pt x="185119" y="301676"/>
                  </a:lnTo>
                  <a:close/>
                  <a:moveTo>
                    <a:pt x="239969" y="377095"/>
                  </a:moveTo>
                  <a:lnTo>
                    <a:pt x="212544" y="377095"/>
                  </a:lnTo>
                  <a:lnTo>
                    <a:pt x="212544" y="349670"/>
                  </a:lnTo>
                  <a:lnTo>
                    <a:pt x="239969" y="349670"/>
                  </a:lnTo>
                  <a:lnTo>
                    <a:pt x="239969" y="377095"/>
                  </a:lnTo>
                  <a:close/>
                  <a:moveTo>
                    <a:pt x="239969" y="301676"/>
                  </a:moveTo>
                  <a:lnTo>
                    <a:pt x="212544" y="301676"/>
                  </a:lnTo>
                  <a:lnTo>
                    <a:pt x="212544" y="274251"/>
                  </a:lnTo>
                  <a:lnTo>
                    <a:pt x="239969" y="274251"/>
                  </a:lnTo>
                  <a:lnTo>
                    <a:pt x="239969" y="301676"/>
                  </a:lnTo>
                  <a:close/>
                  <a:moveTo>
                    <a:pt x="294819" y="377095"/>
                  </a:moveTo>
                  <a:lnTo>
                    <a:pt x="267394" y="377095"/>
                  </a:lnTo>
                  <a:lnTo>
                    <a:pt x="267394" y="349670"/>
                  </a:lnTo>
                  <a:lnTo>
                    <a:pt x="294819" y="349670"/>
                  </a:lnTo>
                  <a:lnTo>
                    <a:pt x="294819" y="377095"/>
                  </a:lnTo>
                  <a:close/>
                  <a:moveTo>
                    <a:pt x="294819" y="301676"/>
                  </a:moveTo>
                  <a:lnTo>
                    <a:pt x="267394" y="301676"/>
                  </a:lnTo>
                  <a:lnTo>
                    <a:pt x="267394" y="274251"/>
                  </a:lnTo>
                  <a:lnTo>
                    <a:pt x="294819" y="274251"/>
                  </a:lnTo>
                  <a:lnTo>
                    <a:pt x="294819" y="301676"/>
                  </a:lnTo>
                  <a:close/>
                  <a:moveTo>
                    <a:pt x="349670" y="377095"/>
                  </a:moveTo>
                  <a:lnTo>
                    <a:pt x="322245" y="377095"/>
                  </a:lnTo>
                  <a:lnTo>
                    <a:pt x="322245" y="349670"/>
                  </a:lnTo>
                  <a:lnTo>
                    <a:pt x="349670" y="349670"/>
                  </a:lnTo>
                  <a:lnTo>
                    <a:pt x="349670" y="377095"/>
                  </a:lnTo>
                  <a:close/>
                  <a:moveTo>
                    <a:pt x="404520" y="377095"/>
                  </a:moveTo>
                  <a:lnTo>
                    <a:pt x="377095" y="377095"/>
                  </a:lnTo>
                  <a:lnTo>
                    <a:pt x="377095" y="349670"/>
                  </a:lnTo>
                  <a:lnTo>
                    <a:pt x="404520" y="349670"/>
                  </a:lnTo>
                  <a:lnTo>
                    <a:pt x="404520" y="377095"/>
                  </a:lnTo>
                  <a:close/>
                  <a:moveTo>
                    <a:pt x="459370" y="377095"/>
                  </a:moveTo>
                  <a:lnTo>
                    <a:pt x="431945" y="377095"/>
                  </a:lnTo>
                  <a:lnTo>
                    <a:pt x="431945" y="349670"/>
                  </a:lnTo>
                  <a:lnTo>
                    <a:pt x="459370" y="349670"/>
                  </a:lnTo>
                  <a:lnTo>
                    <a:pt x="459370" y="377095"/>
                  </a:lnTo>
                  <a:close/>
                </a:path>
              </a:pathLst>
            </a:custGeom>
            <a:solidFill>
              <a:schemeClr val="accent6"/>
            </a:solidFill>
            <a:ln w="6794" cap="flat">
              <a:noFill/>
              <a:prstDash val="solid"/>
              <a:miter/>
            </a:ln>
          </p:spPr>
          <p:txBody>
            <a:bodyPr rtlCol="0" anchor="ctr"/>
            <a:lstStyle/>
            <a:p>
              <a:endParaRPr lang="en-US"/>
            </a:p>
          </p:txBody>
        </p:sp>
        <p:sp>
          <p:nvSpPr>
            <p:cNvPr id="50" name="Textfeld 49">
              <a:extLst>
                <a:ext uri="{FF2B5EF4-FFF2-40B4-BE49-F238E27FC236}">
                  <a16:creationId xmlns:a16="http://schemas.microsoft.com/office/drawing/2014/main" id="{896EC969-74E5-E692-3CC3-862BED20E5D3}"/>
                </a:ext>
              </a:extLst>
            </p:cNvPr>
            <p:cNvSpPr txBox="1"/>
            <p:nvPr/>
          </p:nvSpPr>
          <p:spPr>
            <a:xfrm>
              <a:off x="6443109" y="5275638"/>
              <a:ext cx="1656763" cy="276999"/>
            </a:xfrm>
            <a:prstGeom prst="rect">
              <a:avLst/>
            </a:prstGeom>
            <a:noFill/>
          </p:spPr>
          <p:txBody>
            <a:bodyPr wrap="square" lIns="0" tIns="0" rIns="0" bIns="0" rtlCol="0">
              <a:spAutoFit/>
            </a:bodyPr>
            <a:lstStyle/>
            <a:p>
              <a:pPr algn="l"/>
              <a:r>
                <a:rPr lang="en-US">
                  <a:solidFill>
                    <a:schemeClr val="accent6"/>
                  </a:solidFill>
                </a:rPr>
                <a:t>PCS 7/PCS neo</a:t>
              </a:r>
            </a:p>
          </p:txBody>
        </p:sp>
      </p:grpSp>
      <p:sp>
        <p:nvSpPr>
          <p:cNvPr id="39" name="Ellipse 38">
            <a:extLst>
              <a:ext uri="{FF2B5EF4-FFF2-40B4-BE49-F238E27FC236}">
                <a16:creationId xmlns:a16="http://schemas.microsoft.com/office/drawing/2014/main" id="{F853E275-98E3-5232-F34B-265ECFCEC45C}"/>
              </a:ext>
            </a:extLst>
          </p:cNvPr>
          <p:cNvSpPr/>
          <p:nvPr/>
        </p:nvSpPr>
        <p:spPr>
          <a:xfrm>
            <a:off x="7332926" y="2928937"/>
            <a:ext cx="2362200" cy="2362200"/>
          </a:xfrm>
          <a:prstGeom prst="ellipse">
            <a:avLst/>
          </a:prstGeom>
          <a:gradFill flip="none" rotWithShape="1">
            <a:gsLst>
              <a:gs pos="69000">
                <a:srgbClr val="000028">
                  <a:alpha val="0"/>
                </a:srgbClr>
              </a:gs>
              <a:gs pos="45000">
                <a:srgbClr val="00002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6" name="Fußzeilenplatzhalter 1">
            <a:extLst>
              <a:ext uri="{FF2B5EF4-FFF2-40B4-BE49-F238E27FC236}">
                <a16:creationId xmlns:a16="http://schemas.microsoft.com/office/drawing/2014/main" id="{9092EF50-6D8B-E6FE-FED6-1682575B315B}"/>
              </a:ext>
            </a:extLst>
          </p:cNvPr>
          <p:cNvSpPr>
            <a:spLocks noGrp="1"/>
          </p:cNvSpPr>
          <p:nvPr>
            <p:ph type="ftr" sz="quarter" idx="10"/>
          </p:nvPr>
        </p:nvSpPr>
        <p:spPr/>
        <p:txBody>
          <a:bodyPr/>
          <a:lstStyle/>
          <a:p>
            <a:pPr rtl="0">
              <a:lnSpc>
                <a:spcPct val="100000"/>
              </a:lnSpc>
            </a:pPr>
            <a:r>
              <a:rPr lang="en-US"/>
              <a:t>Unrestricted | © Siemens 2025 | Raghav Tripathi</a:t>
            </a:r>
          </a:p>
        </p:txBody>
      </p:sp>
      <p:sp>
        <p:nvSpPr>
          <p:cNvPr id="26" name="Textfeld 25">
            <a:extLst>
              <a:ext uri="{FF2B5EF4-FFF2-40B4-BE49-F238E27FC236}">
                <a16:creationId xmlns:a16="http://schemas.microsoft.com/office/drawing/2014/main" id="{7B0468E0-EC76-53CB-EF11-F1ED9A5E9360}"/>
              </a:ext>
            </a:extLst>
          </p:cNvPr>
          <p:cNvSpPr txBox="1"/>
          <p:nvPr/>
        </p:nvSpPr>
        <p:spPr>
          <a:xfrm>
            <a:off x="631736" y="2493687"/>
            <a:ext cx="3591122" cy="1723549"/>
          </a:xfrm>
          <a:prstGeom prst="rect">
            <a:avLst/>
          </a:prstGeom>
          <a:noFill/>
        </p:spPr>
        <p:txBody>
          <a:bodyPr wrap="square" lIns="0" tIns="0" rIns="0" bIns="0" rtlCol="0">
            <a:spAutoFit/>
          </a:bodyPr>
          <a:lstStyle/>
          <a:p>
            <a:pPr algn="l" rtl="0"/>
            <a:r>
              <a:rPr lang="en-US" sz="2800" b="1">
                <a:solidFill>
                  <a:srgbClr val="00C1B6"/>
                </a:solidFill>
              </a:rPr>
              <a:t>DCS Co-Pilot </a:t>
            </a:r>
            <a:br>
              <a:rPr lang="en-US" sz="2800" b="1">
                <a:solidFill>
                  <a:srgbClr val="00C1B6"/>
                </a:solidFill>
              </a:rPr>
            </a:br>
            <a:r>
              <a:rPr lang="en-US" sz="2800">
                <a:solidFill>
                  <a:schemeClr val="tx1"/>
                </a:solidFill>
              </a:rPr>
              <a:t>with agents in the background for data-driven applications</a:t>
            </a:r>
          </a:p>
        </p:txBody>
      </p:sp>
      <p:grpSp>
        <p:nvGrpSpPr>
          <p:cNvPr id="37" name="Gruppieren 36">
            <a:extLst>
              <a:ext uri="{FF2B5EF4-FFF2-40B4-BE49-F238E27FC236}">
                <a16:creationId xmlns:a16="http://schemas.microsoft.com/office/drawing/2014/main" id="{EA87D086-132F-8C62-3F47-0FADE8A3B3C2}"/>
              </a:ext>
            </a:extLst>
          </p:cNvPr>
          <p:cNvGrpSpPr>
            <a:grpSpLocks/>
          </p:cNvGrpSpPr>
          <p:nvPr/>
        </p:nvGrpSpPr>
        <p:grpSpPr>
          <a:xfrm>
            <a:off x="7421828" y="2928871"/>
            <a:ext cx="2184400" cy="2184400"/>
            <a:chOff x="6413500" y="2282825"/>
            <a:chExt cx="2438400" cy="2438400"/>
          </a:xfrm>
        </p:grpSpPr>
        <p:sp>
          <p:nvSpPr>
            <p:cNvPr id="34" name="Ellipse 33">
              <a:extLst>
                <a:ext uri="{FF2B5EF4-FFF2-40B4-BE49-F238E27FC236}">
                  <a16:creationId xmlns:a16="http://schemas.microsoft.com/office/drawing/2014/main" id="{0F715DD1-4D38-2042-35F7-71B27E14DDAB}"/>
                </a:ext>
              </a:extLst>
            </p:cNvPr>
            <p:cNvSpPr/>
            <p:nvPr/>
          </p:nvSpPr>
          <p:spPr>
            <a:xfrm>
              <a:off x="6413500" y="2282825"/>
              <a:ext cx="2438400" cy="2438400"/>
            </a:xfrm>
            <a:prstGeom prst="ellipse">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3" name="Freihandform: Form 32">
              <a:extLst>
                <a:ext uri="{FF2B5EF4-FFF2-40B4-BE49-F238E27FC236}">
                  <a16:creationId xmlns:a16="http://schemas.microsoft.com/office/drawing/2014/main" id="{073A6327-5BF5-FE8B-EFC1-69C6ED3ADF65}"/>
                </a:ext>
              </a:extLst>
            </p:cNvPr>
            <p:cNvSpPr/>
            <p:nvPr/>
          </p:nvSpPr>
          <p:spPr>
            <a:xfrm>
              <a:off x="7157944" y="3060700"/>
              <a:ext cx="949512" cy="984250"/>
            </a:xfrm>
            <a:custGeom>
              <a:avLst/>
              <a:gdLst>
                <a:gd name="connsiteX0" fmla="*/ 425089 w 562213"/>
                <a:gd name="connsiteY0" fmla="*/ 157694 h 582782"/>
                <a:gd name="connsiteX1" fmla="*/ 370238 w 562213"/>
                <a:gd name="connsiteY1" fmla="*/ 212544 h 582782"/>
                <a:gd name="connsiteX2" fmla="*/ 315388 w 562213"/>
                <a:gd name="connsiteY2" fmla="*/ 157694 h 582782"/>
                <a:gd name="connsiteX3" fmla="*/ 370238 w 562213"/>
                <a:gd name="connsiteY3" fmla="*/ 102844 h 582782"/>
                <a:gd name="connsiteX4" fmla="*/ 425089 w 562213"/>
                <a:gd name="connsiteY4" fmla="*/ 157694 h 582782"/>
                <a:gd name="connsiteX5" fmla="*/ 425089 w 562213"/>
                <a:gd name="connsiteY5" fmla="*/ 363382 h 582782"/>
                <a:gd name="connsiteX6" fmla="*/ 370238 w 562213"/>
                <a:gd name="connsiteY6" fmla="*/ 418232 h 582782"/>
                <a:gd name="connsiteX7" fmla="*/ 425089 w 562213"/>
                <a:gd name="connsiteY7" fmla="*/ 473082 h 582782"/>
                <a:gd name="connsiteX8" fmla="*/ 479939 w 562213"/>
                <a:gd name="connsiteY8" fmla="*/ 418232 h 582782"/>
                <a:gd name="connsiteX9" fmla="*/ 425089 w 562213"/>
                <a:gd name="connsiteY9" fmla="*/ 363382 h 582782"/>
                <a:gd name="connsiteX10" fmla="*/ 123413 w 562213"/>
                <a:gd name="connsiteY10" fmla="*/ 157694 h 582782"/>
                <a:gd name="connsiteX11" fmla="*/ 68563 w 562213"/>
                <a:gd name="connsiteY11" fmla="*/ 212544 h 582782"/>
                <a:gd name="connsiteX12" fmla="*/ 123413 w 562213"/>
                <a:gd name="connsiteY12" fmla="*/ 267394 h 582782"/>
                <a:gd name="connsiteX13" fmla="*/ 178263 w 562213"/>
                <a:gd name="connsiteY13" fmla="*/ 212544 h 582782"/>
                <a:gd name="connsiteX14" fmla="*/ 123413 w 562213"/>
                <a:gd name="connsiteY14" fmla="*/ 157694 h 582782"/>
                <a:gd name="connsiteX15" fmla="*/ 41138 w 562213"/>
                <a:gd name="connsiteY15" fmla="*/ 20569 h 582782"/>
                <a:gd name="connsiteX16" fmla="*/ 13713 w 562213"/>
                <a:gd name="connsiteY16" fmla="*/ 47994 h 582782"/>
                <a:gd name="connsiteX17" fmla="*/ 41138 w 562213"/>
                <a:gd name="connsiteY17" fmla="*/ 75419 h 582782"/>
                <a:gd name="connsiteX18" fmla="*/ 68563 w 562213"/>
                <a:gd name="connsiteY18" fmla="*/ 47994 h 582782"/>
                <a:gd name="connsiteX19" fmla="*/ 41138 w 562213"/>
                <a:gd name="connsiteY19" fmla="*/ 20569 h 582782"/>
                <a:gd name="connsiteX20" fmla="*/ 493651 w 562213"/>
                <a:gd name="connsiteY20" fmla="*/ 0 h 582782"/>
                <a:gd name="connsiteX21" fmla="*/ 466226 w 562213"/>
                <a:gd name="connsiteY21" fmla="*/ 27425 h 582782"/>
                <a:gd name="connsiteX22" fmla="*/ 493651 w 562213"/>
                <a:gd name="connsiteY22" fmla="*/ 54850 h 582782"/>
                <a:gd name="connsiteX23" fmla="*/ 521076 w 562213"/>
                <a:gd name="connsiteY23" fmla="*/ 27425 h 582782"/>
                <a:gd name="connsiteX24" fmla="*/ 493651 w 562213"/>
                <a:gd name="connsiteY24" fmla="*/ 0 h 582782"/>
                <a:gd name="connsiteX25" fmla="*/ 534789 w 562213"/>
                <a:gd name="connsiteY25" fmla="*/ 527933 h 582782"/>
                <a:gd name="connsiteX26" fmla="*/ 507364 w 562213"/>
                <a:gd name="connsiteY26" fmla="*/ 555358 h 582782"/>
                <a:gd name="connsiteX27" fmla="*/ 534789 w 562213"/>
                <a:gd name="connsiteY27" fmla="*/ 582783 h 582782"/>
                <a:gd name="connsiteX28" fmla="*/ 562214 w 562213"/>
                <a:gd name="connsiteY28" fmla="*/ 555358 h 582782"/>
                <a:gd name="connsiteX29" fmla="*/ 534789 w 562213"/>
                <a:gd name="connsiteY29" fmla="*/ 527933 h 582782"/>
                <a:gd name="connsiteX30" fmla="*/ 27425 w 562213"/>
                <a:gd name="connsiteY30" fmla="*/ 335957 h 582782"/>
                <a:gd name="connsiteX31" fmla="*/ 0 w 562213"/>
                <a:gd name="connsiteY31" fmla="*/ 363382 h 582782"/>
                <a:gd name="connsiteX32" fmla="*/ 27425 w 562213"/>
                <a:gd name="connsiteY32" fmla="*/ 390807 h 582782"/>
                <a:gd name="connsiteX33" fmla="*/ 54850 w 562213"/>
                <a:gd name="connsiteY33" fmla="*/ 363382 h 582782"/>
                <a:gd name="connsiteX34" fmla="*/ 27425 w 562213"/>
                <a:gd name="connsiteY34" fmla="*/ 335957 h 582782"/>
                <a:gd name="connsiteX35" fmla="*/ 297699 w 562213"/>
                <a:gd name="connsiteY35" fmla="*/ 184845 h 582782"/>
                <a:gd name="connsiteX36" fmla="*/ 291940 w 562213"/>
                <a:gd name="connsiteY36" fmla="*/ 158037 h 582782"/>
                <a:gd name="connsiteX37" fmla="*/ 195952 w 562213"/>
                <a:gd name="connsiteY37" fmla="*/ 178606 h 582782"/>
                <a:gd name="connsiteX38" fmla="*/ 201711 w 562213"/>
                <a:gd name="connsiteY38" fmla="*/ 205414 h 582782"/>
                <a:gd name="connsiteX39" fmla="*/ 297699 w 562213"/>
                <a:gd name="connsiteY39" fmla="*/ 184845 h 582782"/>
                <a:gd name="connsiteX40" fmla="*/ 101404 w 562213"/>
                <a:gd name="connsiteY40" fmla="*/ 137880 h 582782"/>
                <a:gd name="connsiteX41" fmla="*/ 73979 w 562213"/>
                <a:gd name="connsiteY41" fmla="*/ 83029 h 582782"/>
                <a:gd name="connsiteX42" fmla="*/ 49434 w 562213"/>
                <a:gd name="connsiteY42" fmla="*/ 95302 h 582782"/>
                <a:gd name="connsiteX43" fmla="*/ 76859 w 562213"/>
                <a:gd name="connsiteY43" fmla="*/ 150152 h 582782"/>
                <a:gd name="connsiteX44" fmla="*/ 101404 w 562213"/>
                <a:gd name="connsiteY44" fmla="*/ 137880 h 582782"/>
                <a:gd name="connsiteX45" fmla="*/ 469449 w 562213"/>
                <a:gd name="connsiteY45" fmla="*/ 71099 h 582782"/>
                <a:gd name="connsiteX46" fmla="*/ 449360 w 562213"/>
                <a:gd name="connsiteY46" fmla="*/ 52450 h 582782"/>
                <a:gd name="connsiteX47" fmla="*/ 411102 w 562213"/>
                <a:gd name="connsiteY47" fmla="*/ 93588 h 582782"/>
                <a:gd name="connsiteX48" fmla="*/ 431191 w 562213"/>
                <a:gd name="connsiteY48" fmla="*/ 112237 h 582782"/>
                <a:gd name="connsiteX49" fmla="*/ 469449 w 562213"/>
                <a:gd name="connsiteY49" fmla="*/ 71099 h 582782"/>
                <a:gd name="connsiteX50" fmla="*/ 418027 w 562213"/>
                <a:gd name="connsiteY50" fmla="*/ 340345 h 582782"/>
                <a:gd name="connsiteX51" fmla="*/ 397458 w 562213"/>
                <a:gd name="connsiteY51" fmla="*/ 230645 h 582782"/>
                <a:gd name="connsiteX52" fmla="*/ 370513 w 562213"/>
                <a:gd name="connsiteY52" fmla="*/ 235718 h 582782"/>
                <a:gd name="connsiteX53" fmla="*/ 391081 w 562213"/>
                <a:gd name="connsiteY53" fmla="*/ 345419 h 582782"/>
                <a:gd name="connsiteX54" fmla="*/ 418027 w 562213"/>
                <a:gd name="connsiteY54" fmla="*/ 340345 h 582782"/>
                <a:gd name="connsiteX55" fmla="*/ 511272 w 562213"/>
                <a:gd name="connsiteY55" fmla="*/ 505718 h 582782"/>
                <a:gd name="connsiteX56" fmla="*/ 483847 w 562213"/>
                <a:gd name="connsiteY56" fmla="*/ 471437 h 582782"/>
                <a:gd name="connsiteX57" fmla="*/ 462455 w 562213"/>
                <a:gd name="connsiteY57" fmla="*/ 488578 h 582782"/>
                <a:gd name="connsiteX58" fmla="*/ 489880 w 562213"/>
                <a:gd name="connsiteY58" fmla="*/ 522859 h 582782"/>
                <a:gd name="connsiteX59" fmla="*/ 511272 w 562213"/>
                <a:gd name="connsiteY59" fmla="*/ 505718 h 582782"/>
                <a:gd name="connsiteX60" fmla="*/ 94205 w 562213"/>
                <a:gd name="connsiteY60" fmla="*/ 281107 h 582782"/>
                <a:gd name="connsiteX61" fmla="*/ 70414 w 562213"/>
                <a:gd name="connsiteY61" fmla="*/ 267532 h 582782"/>
                <a:gd name="connsiteX62" fmla="*/ 42989 w 562213"/>
                <a:gd name="connsiteY62" fmla="*/ 315525 h 582782"/>
                <a:gd name="connsiteX63" fmla="*/ 66780 w 562213"/>
                <a:gd name="connsiteY63" fmla="*/ 329101 h 582782"/>
                <a:gd name="connsiteX64" fmla="*/ 94205 w 562213"/>
                <a:gd name="connsiteY64" fmla="*/ 281107 h 582782"/>
                <a:gd name="connsiteX65" fmla="*/ 364273 w 562213"/>
                <a:gd name="connsiteY65" fmla="*/ 365782 h 582782"/>
                <a:gd name="connsiteX66" fmla="*/ 192867 w 562213"/>
                <a:gd name="connsiteY66" fmla="*/ 249225 h 582782"/>
                <a:gd name="connsiteX67" fmla="*/ 177440 w 562213"/>
                <a:gd name="connsiteY67" fmla="*/ 271920 h 582782"/>
                <a:gd name="connsiteX68" fmla="*/ 348847 w 562213"/>
                <a:gd name="connsiteY68" fmla="*/ 388476 h 582782"/>
                <a:gd name="connsiteX69" fmla="*/ 364273 w 562213"/>
                <a:gd name="connsiteY69" fmla="*/ 365782 h 5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2213" h="582782">
                  <a:moveTo>
                    <a:pt x="425089" y="157694"/>
                  </a:moveTo>
                  <a:cubicBezTo>
                    <a:pt x="425089" y="187999"/>
                    <a:pt x="400543" y="212544"/>
                    <a:pt x="370238" y="212544"/>
                  </a:cubicBezTo>
                  <a:cubicBezTo>
                    <a:pt x="339934" y="212544"/>
                    <a:pt x="315388" y="187999"/>
                    <a:pt x="315388" y="157694"/>
                  </a:cubicBezTo>
                  <a:cubicBezTo>
                    <a:pt x="315388" y="127389"/>
                    <a:pt x="339934" y="102844"/>
                    <a:pt x="370238" y="102844"/>
                  </a:cubicBezTo>
                  <a:cubicBezTo>
                    <a:pt x="400543" y="102844"/>
                    <a:pt x="425089" y="127389"/>
                    <a:pt x="425089" y="157694"/>
                  </a:cubicBezTo>
                  <a:close/>
                  <a:moveTo>
                    <a:pt x="425089" y="363382"/>
                  </a:moveTo>
                  <a:cubicBezTo>
                    <a:pt x="394784" y="363382"/>
                    <a:pt x="370238" y="387928"/>
                    <a:pt x="370238" y="418232"/>
                  </a:cubicBezTo>
                  <a:cubicBezTo>
                    <a:pt x="370238" y="448537"/>
                    <a:pt x="394784" y="473082"/>
                    <a:pt x="425089" y="473082"/>
                  </a:cubicBezTo>
                  <a:cubicBezTo>
                    <a:pt x="455393" y="473082"/>
                    <a:pt x="479939" y="448537"/>
                    <a:pt x="479939" y="418232"/>
                  </a:cubicBezTo>
                  <a:cubicBezTo>
                    <a:pt x="479939" y="387928"/>
                    <a:pt x="455393" y="363382"/>
                    <a:pt x="425089" y="363382"/>
                  </a:cubicBezTo>
                  <a:close/>
                  <a:moveTo>
                    <a:pt x="123413" y="157694"/>
                  </a:moveTo>
                  <a:cubicBezTo>
                    <a:pt x="93108" y="157694"/>
                    <a:pt x="68563" y="182240"/>
                    <a:pt x="68563" y="212544"/>
                  </a:cubicBezTo>
                  <a:cubicBezTo>
                    <a:pt x="68563" y="242849"/>
                    <a:pt x="93108" y="267394"/>
                    <a:pt x="123413" y="267394"/>
                  </a:cubicBezTo>
                  <a:cubicBezTo>
                    <a:pt x="153717" y="267394"/>
                    <a:pt x="178263" y="242849"/>
                    <a:pt x="178263" y="212544"/>
                  </a:cubicBezTo>
                  <a:cubicBezTo>
                    <a:pt x="178263" y="182240"/>
                    <a:pt x="153717" y="157694"/>
                    <a:pt x="123413" y="157694"/>
                  </a:cubicBezTo>
                  <a:close/>
                  <a:moveTo>
                    <a:pt x="41138" y="20569"/>
                  </a:moveTo>
                  <a:cubicBezTo>
                    <a:pt x="25985" y="20569"/>
                    <a:pt x="13713" y="32842"/>
                    <a:pt x="13713" y="47994"/>
                  </a:cubicBezTo>
                  <a:cubicBezTo>
                    <a:pt x="13713" y="63146"/>
                    <a:pt x="25985" y="75419"/>
                    <a:pt x="41138" y="75419"/>
                  </a:cubicBezTo>
                  <a:cubicBezTo>
                    <a:pt x="56290" y="75419"/>
                    <a:pt x="68563" y="63146"/>
                    <a:pt x="68563" y="47994"/>
                  </a:cubicBezTo>
                  <a:cubicBezTo>
                    <a:pt x="68563" y="32842"/>
                    <a:pt x="56290" y="20569"/>
                    <a:pt x="41138" y="20569"/>
                  </a:cubicBezTo>
                  <a:close/>
                  <a:moveTo>
                    <a:pt x="493651" y="0"/>
                  </a:moveTo>
                  <a:cubicBezTo>
                    <a:pt x="478499" y="0"/>
                    <a:pt x="466226" y="12273"/>
                    <a:pt x="466226" y="27425"/>
                  </a:cubicBezTo>
                  <a:cubicBezTo>
                    <a:pt x="466226" y="42577"/>
                    <a:pt x="478499" y="54850"/>
                    <a:pt x="493651" y="54850"/>
                  </a:cubicBezTo>
                  <a:cubicBezTo>
                    <a:pt x="508804" y="54850"/>
                    <a:pt x="521076" y="42577"/>
                    <a:pt x="521076" y="27425"/>
                  </a:cubicBezTo>
                  <a:cubicBezTo>
                    <a:pt x="521076" y="12273"/>
                    <a:pt x="508804" y="0"/>
                    <a:pt x="493651" y="0"/>
                  </a:cubicBezTo>
                  <a:close/>
                  <a:moveTo>
                    <a:pt x="534789" y="527933"/>
                  </a:moveTo>
                  <a:cubicBezTo>
                    <a:pt x="519636" y="527933"/>
                    <a:pt x="507364" y="540205"/>
                    <a:pt x="507364" y="555358"/>
                  </a:cubicBezTo>
                  <a:cubicBezTo>
                    <a:pt x="507364" y="570510"/>
                    <a:pt x="519636" y="582783"/>
                    <a:pt x="534789" y="582783"/>
                  </a:cubicBezTo>
                  <a:cubicBezTo>
                    <a:pt x="549941" y="582783"/>
                    <a:pt x="562214" y="570510"/>
                    <a:pt x="562214" y="555358"/>
                  </a:cubicBezTo>
                  <a:cubicBezTo>
                    <a:pt x="562214" y="540205"/>
                    <a:pt x="549941" y="527933"/>
                    <a:pt x="534789" y="527933"/>
                  </a:cubicBezTo>
                  <a:close/>
                  <a:moveTo>
                    <a:pt x="27425" y="335957"/>
                  </a:moveTo>
                  <a:cubicBezTo>
                    <a:pt x="12273" y="335957"/>
                    <a:pt x="0" y="348230"/>
                    <a:pt x="0" y="363382"/>
                  </a:cubicBezTo>
                  <a:cubicBezTo>
                    <a:pt x="0" y="378534"/>
                    <a:pt x="12273" y="390807"/>
                    <a:pt x="27425" y="390807"/>
                  </a:cubicBezTo>
                  <a:cubicBezTo>
                    <a:pt x="42577" y="390807"/>
                    <a:pt x="54850" y="378534"/>
                    <a:pt x="54850" y="363382"/>
                  </a:cubicBezTo>
                  <a:cubicBezTo>
                    <a:pt x="54850" y="348230"/>
                    <a:pt x="42577" y="335957"/>
                    <a:pt x="27425" y="335957"/>
                  </a:cubicBezTo>
                  <a:close/>
                  <a:moveTo>
                    <a:pt x="297699" y="184845"/>
                  </a:moveTo>
                  <a:lnTo>
                    <a:pt x="291940" y="158037"/>
                  </a:lnTo>
                  <a:lnTo>
                    <a:pt x="195952" y="178606"/>
                  </a:lnTo>
                  <a:lnTo>
                    <a:pt x="201711" y="205414"/>
                  </a:lnTo>
                  <a:lnTo>
                    <a:pt x="297699" y="184845"/>
                  </a:lnTo>
                  <a:close/>
                  <a:moveTo>
                    <a:pt x="101404" y="137880"/>
                  </a:moveTo>
                  <a:lnTo>
                    <a:pt x="73979" y="83029"/>
                  </a:lnTo>
                  <a:lnTo>
                    <a:pt x="49434" y="95302"/>
                  </a:lnTo>
                  <a:lnTo>
                    <a:pt x="76859" y="150152"/>
                  </a:lnTo>
                  <a:lnTo>
                    <a:pt x="101404" y="137880"/>
                  </a:lnTo>
                  <a:close/>
                  <a:moveTo>
                    <a:pt x="469449" y="71099"/>
                  </a:moveTo>
                  <a:lnTo>
                    <a:pt x="449360" y="52450"/>
                  </a:lnTo>
                  <a:lnTo>
                    <a:pt x="411102" y="93588"/>
                  </a:lnTo>
                  <a:lnTo>
                    <a:pt x="431191" y="112237"/>
                  </a:lnTo>
                  <a:lnTo>
                    <a:pt x="469449" y="71099"/>
                  </a:lnTo>
                  <a:close/>
                  <a:moveTo>
                    <a:pt x="418027" y="340345"/>
                  </a:moveTo>
                  <a:lnTo>
                    <a:pt x="397458" y="230645"/>
                  </a:lnTo>
                  <a:lnTo>
                    <a:pt x="370513" y="235718"/>
                  </a:lnTo>
                  <a:lnTo>
                    <a:pt x="391081" y="345419"/>
                  </a:lnTo>
                  <a:lnTo>
                    <a:pt x="418027" y="340345"/>
                  </a:lnTo>
                  <a:close/>
                  <a:moveTo>
                    <a:pt x="511272" y="505718"/>
                  </a:moveTo>
                  <a:lnTo>
                    <a:pt x="483847" y="471437"/>
                  </a:lnTo>
                  <a:lnTo>
                    <a:pt x="462455" y="488578"/>
                  </a:lnTo>
                  <a:lnTo>
                    <a:pt x="489880" y="522859"/>
                  </a:lnTo>
                  <a:lnTo>
                    <a:pt x="511272" y="505718"/>
                  </a:lnTo>
                  <a:close/>
                  <a:moveTo>
                    <a:pt x="94205" y="281107"/>
                  </a:moveTo>
                  <a:lnTo>
                    <a:pt x="70414" y="267532"/>
                  </a:lnTo>
                  <a:lnTo>
                    <a:pt x="42989" y="315525"/>
                  </a:lnTo>
                  <a:lnTo>
                    <a:pt x="66780" y="329101"/>
                  </a:lnTo>
                  <a:lnTo>
                    <a:pt x="94205" y="281107"/>
                  </a:lnTo>
                  <a:close/>
                  <a:moveTo>
                    <a:pt x="364273" y="365782"/>
                  </a:moveTo>
                  <a:lnTo>
                    <a:pt x="192867" y="249225"/>
                  </a:lnTo>
                  <a:lnTo>
                    <a:pt x="177440" y="271920"/>
                  </a:lnTo>
                  <a:lnTo>
                    <a:pt x="348847" y="388476"/>
                  </a:lnTo>
                  <a:lnTo>
                    <a:pt x="364273" y="365782"/>
                  </a:lnTo>
                  <a:close/>
                </a:path>
              </a:pathLst>
            </a:custGeom>
            <a:solidFill>
              <a:srgbClr val="00C1B6"/>
            </a:solidFill>
            <a:ln w="6794" cap="flat">
              <a:noFill/>
              <a:prstDash val="solid"/>
              <a:miter/>
            </a:ln>
          </p:spPr>
          <p:txBody>
            <a:bodyPr rtlCol="0" anchor="ctr"/>
            <a:lstStyle/>
            <a:p>
              <a:endParaRPr lang="en-US"/>
            </a:p>
          </p:txBody>
        </p:sp>
        <p:sp>
          <p:nvSpPr>
            <p:cNvPr id="36" name="Textfeld 35">
              <a:extLst>
                <a:ext uri="{FF2B5EF4-FFF2-40B4-BE49-F238E27FC236}">
                  <a16:creationId xmlns:a16="http://schemas.microsoft.com/office/drawing/2014/main" id="{20589FA3-B4DD-DFEC-86BB-DCBB35FD3950}"/>
                </a:ext>
              </a:extLst>
            </p:cNvPr>
            <p:cNvSpPr txBox="1">
              <a:spLocks/>
            </p:cNvSpPr>
            <p:nvPr/>
          </p:nvSpPr>
          <p:spPr>
            <a:xfrm rot="1535310">
              <a:off x="6721475" y="2590800"/>
              <a:ext cx="1822449" cy="1822449"/>
            </a:xfrm>
            <a:prstGeom prst="rect">
              <a:avLst/>
            </a:prstGeom>
            <a:noFill/>
          </p:spPr>
          <p:txBody>
            <a:bodyPr wrap="square" lIns="0" tIns="0" rIns="0" bIns="0" rtlCol="0">
              <a:prstTxWarp prst="textCircle">
                <a:avLst>
                  <a:gd name="adj" fmla="val 11298914"/>
                </a:avLst>
              </a:prstTxWarp>
              <a:spAutoFit/>
            </a:bodyPr>
            <a:lstStyle/>
            <a:p>
              <a:pPr algn="l"/>
              <a:r>
                <a:rPr lang="en-US" sz="2000" b="1">
                  <a:solidFill>
                    <a:schemeClr val="tx1"/>
                  </a:solidFill>
                </a:rPr>
                <a:t>DCS Connect</a:t>
              </a:r>
            </a:p>
          </p:txBody>
        </p:sp>
      </p:grpSp>
      <p:grpSp>
        <p:nvGrpSpPr>
          <p:cNvPr id="40" name="siemens, arrow, pfeil, direction, richtung, both, beide">
            <a:extLst>
              <a:ext uri="{FF2B5EF4-FFF2-40B4-BE49-F238E27FC236}">
                <a16:creationId xmlns:a16="http://schemas.microsoft.com/office/drawing/2014/main" id="{CD6BF895-8BEC-1FAA-791E-F17DAE515BCD}"/>
              </a:ext>
            </a:extLst>
          </p:cNvPr>
          <p:cNvGrpSpPr>
            <a:grpSpLocks/>
          </p:cNvGrpSpPr>
          <p:nvPr/>
        </p:nvGrpSpPr>
        <p:grpSpPr bwMode="gray">
          <a:xfrm rot="16200000">
            <a:off x="7529735" y="4605051"/>
            <a:ext cx="340298" cy="340298"/>
            <a:chOff x="7309298" y="1638752"/>
            <a:chExt cx="1028440" cy="1028440"/>
          </a:xfrm>
        </p:grpSpPr>
        <p:sp>
          <p:nvSpPr>
            <p:cNvPr id="41" name="Ellipse 40">
              <a:extLst>
                <a:ext uri="{FF2B5EF4-FFF2-40B4-BE49-F238E27FC236}">
                  <a16:creationId xmlns:a16="http://schemas.microsoft.com/office/drawing/2014/main" id="{BF50C1BA-6078-1805-8019-DB2AE28322F3}"/>
                </a:ext>
              </a:extLst>
            </p:cNvPr>
            <p:cNvSpPr/>
            <p:nvPr/>
          </p:nvSpPr>
          <p:spPr bwMode="gray">
            <a:xfrm>
              <a:off x="7309298" y="1638752"/>
              <a:ext cx="1028440" cy="1028440"/>
            </a:xfrm>
            <a:prstGeom prst="ellipse">
              <a:avLst/>
            </a:prstGeom>
            <a:solidFill>
              <a:srgbClr val="FFFFFF"/>
            </a:solidFill>
            <a:ln w="6794" cap="flat">
              <a:noFill/>
              <a:prstDash val="solid"/>
              <a:miter/>
            </a:ln>
          </p:spPr>
          <p:txBody>
            <a:bodyPr rtlCol="0" anchor="ctr"/>
            <a:lstStyle/>
            <a:p>
              <a:endParaRPr lang="en-US"/>
            </a:p>
          </p:txBody>
        </p:sp>
        <p:sp>
          <p:nvSpPr>
            <p:cNvPr id="42" name="Freihandform: Form 41">
              <a:extLst>
                <a:ext uri="{FF2B5EF4-FFF2-40B4-BE49-F238E27FC236}">
                  <a16:creationId xmlns:a16="http://schemas.microsoft.com/office/drawing/2014/main" id="{7C58DC34-3201-A58A-CF97-B680D5AF3110}"/>
                </a:ext>
              </a:extLst>
            </p:cNvPr>
            <p:cNvSpPr/>
            <p:nvPr/>
          </p:nvSpPr>
          <p:spPr bwMode="gray">
            <a:xfrm>
              <a:off x="7562979" y="2043271"/>
              <a:ext cx="521076" cy="219400"/>
            </a:xfrm>
            <a:custGeom>
              <a:avLst/>
              <a:gdLst>
                <a:gd name="connsiteX0" fmla="*/ 426666 w 521076"/>
                <a:gd name="connsiteY0" fmla="*/ 0 h 219400"/>
                <a:gd name="connsiteX1" fmla="*/ 389162 w 521076"/>
                <a:gd name="connsiteY1" fmla="*/ 32224 h 219400"/>
                <a:gd name="connsiteX2" fmla="*/ 432768 w 521076"/>
                <a:gd name="connsiteY2" fmla="*/ 83372 h 219400"/>
                <a:gd name="connsiteX3" fmla="*/ 88309 w 521076"/>
                <a:gd name="connsiteY3" fmla="*/ 83372 h 219400"/>
                <a:gd name="connsiteX4" fmla="*/ 131915 w 521076"/>
                <a:gd name="connsiteY4" fmla="*/ 32224 h 219400"/>
                <a:gd name="connsiteX5" fmla="*/ 94411 w 521076"/>
                <a:gd name="connsiteY5" fmla="*/ 0 h 219400"/>
                <a:gd name="connsiteX6" fmla="*/ 0 w 521076"/>
                <a:gd name="connsiteY6" fmla="*/ 109700 h 219400"/>
                <a:gd name="connsiteX7" fmla="*/ 94411 w 521076"/>
                <a:gd name="connsiteY7" fmla="*/ 219401 h 219400"/>
                <a:gd name="connsiteX8" fmla="*/ 131915 w 521076"/>
                <a:gd name="connsiteY8" fmla="*/ 187176 h 219400"/>
                <a:gd name="connsiteX9" fmla="*/ 88309 w 521076"/>
                <a:gd name="connsiteY9" fmla="*/ 136028 h 219400"/>
                <a:gd name="connsiteX10" fmla="*/ 432768 w 521076"/>
                <a:gd name="connsiteY10" fmla="*/ 136028 h 219400"/>
                <a:gd name="connsiteX11" fmla="*/ 389162 w 521076"/>
                <a:gd name="connsiteY11" fmla="*/ 187176 h 219400"/>
                <a:gd name="connsiteX12" fmla="*/ 426666 w 521076"/>
                <a:gd name="connsiteY12" fmla="*/ 219401 h 219400"/>
                <a:gd name="connsiteX13" fmla="*/ 521076 w 521076"/>
                <a:gd name="connsiteY13" fmla="*/ 109700 h 219400"/>
                <a:gd name="connsiteX14" fmla="*/ 426666 w 521076"/>
                <a:gd name="connsiteY14" fmla="*/ 0 h 2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1076" h="219400">
                  <a:moveTo>
                    <a:pt x="426666" y="0"/>
                  </a:moveTo>
                  <a:lnTo>
                    <a:pt x="389162" y="32224"/>
                  </a:lnTo>
                  <a:lnTo>
                    <a:pt x="432768" y="83372"/>
                  </a:lnTo>
                  <a:lnTo>
                    <a:pt x="88309" y="83372"/>
                  </a:lnTo>
                  <a:lnTo>
                    <a:pt x="131915" y="32224"/>
                  </a:lnTo>
                  <a:lnTo>
                    <a:pt x="94411" y="0"/>
                  </a:lnTo>
                  <a:lnTo>
                    <a:pt x="0" y="109700"/>
                  </a:lnTo>
                  <a:lnTo>
                    <a:pt x="94411" y="219401"/>
                  </a:lnTo>
                  <a:lnTo>
                    <a:pt x="131915" y="187176"/>
                  </a:lnTo>
                  <a:lnTo>
                    <a:pt x="88309" y="136028"/>
                  </a:lnTo>
                  <a:lnTo>
                    <a:pt x="432768" y="136028"/>
                  </a:lnTo>
                  <a:lnTo>
                    <a:pt x="389162" y="187176"/>
                  </a:lnTo>
                  <a:lnTo>
                    <a:pt x="426666" y="219401"/>
                  </a:lnTo>
                  <a:lnTo>
                    <a:pt x="521076" y="109700"/>
                  </a:lnTo>
                  <a:lnTo>
                    <a:pt x="426666" y="0"/>
                  </a:lnTo>
                  <a:close/>
                </a:path>
              </a:pathLst>
            </a:custGeom>
            <a:solidFill>
              <a:srgbClr val="000028"/>
            </a:solidFill>
            <a:ln w="6794" cap="flat">
              <a:noFill/>
              <a:prstDash val="solid"/>
              <a:miter/>
            </a:ln>
          </p:spPr>
          <p:txBody>
            <a:bodyPr rtlCol="0" anchor="ctr"/>
            <a:lstStyle/>
            <a:p>
              <a:endParaRPr lang="en-US"/>
            </a:p>
          </p:txBody>
        </p:sp>
      </p:grpSp>
      <p:grpSp>
        <p:nvGrpSpPr>
          <p:cNvPr id="58" name="siemens, arrow, pfeil, direction, richtung, both, beide">
            <a:extLst>
              <a:ext uri="{FF2B5EF4-FFF2-40B4-BE49-F238E27FC236}">
                <a16:creationId xmlns:a16="http://schemas.microsoft.com/office/drawing/2014/main" id="{BBD9FC70-9F35-3444-54D1-A1586ADD9769}"/>
              </a:ext>
            </a:extLst>
          </p:cNvPr>
          <p:cNvGrpSpPr>
            <a:grpSpLocks/>
          </p:cNvGrpSpPr>
          <p:nvPr/>
        </p:nvGrpSpPr>
        <p:grpSpPr bwMode="gray">
          <a:xfrm rot="16200000">
            <a:off x="9186375" y="4605051"/>
            <a:ext cx="340298" cy="340298"/>
            <a:chOff x="7309298" y="1638752"/>
            <a:chExt cx="1028440" cy="1028440"/>
          </a:xfrm>
        </p:grpSpPr>
        <p:sp>
          <p:nvSpPr>
            <p:cNvPr id="59" name="Ellipse 58">
              <a:extLst>
                <a:ext uri="{FF2B5EF4-FFF2-40B4-BE49-F238E27FC236}">
                  <a16:creationId xmlns:a16="http://schemas.microsoft.com/office/drawing/2014/main" id="{43863EBE-9C4E-110D-F4BB-4AF693ED98A7}"/>
                </a:ext>
              </a:extLst>
            </p:cNvPr>
            <p:cNvSpPr/>
            <p:nvPr/>
          </p:nvSpPr>
          <p:spPr bwMode="gray">
            <a:xfrm>
              <a:off x="7309298" y="1638752"/>
              <a:ext cx="1028440" cy="1028440"/>
            </a:xfrm>
            <a:prstGeom prst="ellipse">
              <a:avLst/>
            </a:prstGeom>
            <a:solidFill>
              <a:srgbClr val="FFFFFF"/>
            </a:solidFill>
            <a:ln w="6794" cap="flat">
              <a:noFill/>
              <a:prstDash val="solid"/>
              <a:miter/>
            </a:ln>
          </p:spPr>
          <p:txBody>
            <a:bodyPr rtlCol="0" anchor="ctr"/>
            <a:lstStyle/>
            <a:p>
              <a:endParaRPr lang="en-US"/>
            </a:p>
          </p:txBody>
        </p:sp>
        <p:sp>
          <p:nvSpPr>
            <p:cNvPr id="60" name="Freihandform: Form 59">
              <a:extLst>
                <a:ext uri="{FF2B5EF4-FFF2-40B4-BE49-F238E27FC236}">
                  <a16:creationId xmlns:a16="http://schemas.microsoft.com/office/drawing/2014/main" id="{C61FDE2B-C12C-D0C3-21F2-C16E18B1069C}"/>
                </a:ext>
              </a:extLst>
            </p:cNvPr>
            <p:cNvSpPr/>
            <p:nvPr/>
          </p:nvSpPr>
          <p:spPr bwMode="gray">
            <a:xfrm>
              <a:off x="7562979" y="2043271"/>
              <a:ext cx="521076" cy="219400"/>
            </a:xfrm>
            <a:custGeom>
              <a:avLst/>
              <a:gdLst>
                <a:gd name="connsiteX0" fmla="*/ 426666 w 521076"/>
                <a:gd name="connsiteY0" fmla="*/ 0 h 219400"/>
                <a:gd name="connsiteX1" fmla="*/ 389162 w 521076"/>
                <a:gd name="connsiteY1" fmla="*/ 32224 h 219400"/>
                <a:gd name="connsiteX2" fmla="*/ 432768 w 521076"/>
                <a:gd name="connsiteY2" fmla="*/ 83372 h 219400"/>
                <a:gd name="connsiteX3" fmla="*/ 88309 w 521076"/>
                <a:gd name="connsiteY3" fmla="*/ 83372 h 219400"/>
                <a:gd name="connsiteX4" fmla="*/ 131915 w 521076"/>
                <a:gd name="connsiteY4" fmla="*/ 32224 h 219400"/>
                <a:gd name="connsiteX5" fmla="*/ 94411 w 521076"/>
                <a:gd name="connsiteY5" fmla="*/ 0 h 219400"/>
                <a:gd name="connsiteX6" fmla="*/ 0 w 521076"/>
                <a:gd name="connsiteY6" fmla="*/ 109700 h 219400"/>
                <a:gd name="connsiteX7" fmla="*/ 94411 w 521076"/>
                <a:gd name="connsiteY7" fmla="*/ 219401 h 219400"/>
                <a:gd name="connsiteX8" fmla="*/ 131915 w 521076"/>
                <a:gd name="connsiteY8" fmla="*/ 187176 h 219400"/>
                <a:gd name="connsiteX9" fmla="*/ 88309 w 521076"/>
                <a:gd name="connsiteY9" fmla="*/ 136028 h 219400"/>
                <a:gd name="connsiteX10" fmla="*/ 432768 w 521076"/>
                <a:gd name="connsiteY10" fmla="*/ 136028 h 219400"/>
                <a:gd name="connsiteX11" fmla="*/ 389162 w 521076"/>
                <a:gd name="connsiteY11" fmla="*/ 187176 h 219400"/>
                <a:gd name="connsiteX12" fmla="*/ 426666 w 521076"/>
                <a:gd name="connsiteY12" fmla="*/ 219401 h 219400"/>
                <a:gd name="connsiteX13" fmla="*/ 521076 w 521076"/>
                <a:gd name="connsiteY13" fmla="*/ 109700 h 219400"/>
                <a:gd name="connsiteX14" fmla="*/ 426666 w 521076"/>
                <a:gd name="connsiteY14" fmla="*/ 0 h 2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1076" h="219400">
                  <a:moveTo>
                    <a:pt x="426666" y="0"/>
                  </a:moveTo>
                  <a:lnTo>
                    <a:pt x="389162" y="32224"/>
                  </a:lnTo>
                  <a:lnTo>
                    <a:pt x="432768" y="83372"/>
                  </a:lnTo>
                  <a:lnTo>
                    <a:pt x="88309" y="83372"/>
                  </a:lnTo>
                  <a:lnTo>
                    <a:pt x="131915" y="32224"/>
                  </a:lnTo>
                  <a:lnTo>
                    <a:pt x="94411" y="0"/>
                  </a:lnTo>
                  <a:lnTo>
                    <a:pt x="0" y="109700"/>
                  </a:lnTo>
                  <a:lnTo>
                    <a:pt x="94411" y="219401"/>
                  </a:lnTo>
                  <a:lnTo>
                    <a:pt x="131915" y="187176"/>
                  </a:lnTo>
                  <a:lnTo>
                    <a:pt x="88309" y="136028"/>
                  </a:lnTo>
                  <a:lnTo>
                    <a:pt x="432768" y="136028"/>
                  </a:lnTo>
                  <a:lnTo>
                    <a:pt x="389162" y="187176"/>
                  </a:lnTo>
                  <a:lnTo>
                    <a:pt x="426666" y="219401"/>
                  </a:lnTo>
                  <a:lnTo>
                    <a:pt x="521076" y="109700"/>
                  </a:lnTo>
                  <a:lnTo>
                    <a:pt x="426666" y="0"/>
                  </a:lnTo>
                  <a:close/>
                </a:path>
              </a:pathLst>
            </a:custGeom>
            <a:solidFill>
              <a:srgbClr val="000028"/>
            </a:solidFill>
            <a:ln w="6794" cap="flat">
              <a:noFill/>
              <a:prstDash val="solid"/>
              <a:miter/>
            </a:ln>
          </p:spPr>
          <p:txBody>
            <a:bodyPr rtlCol="0" anchor="ctr"/>
            <a:lstStyle/>
            <a:p>
              <a:endParaRPr lang="en-US"/>
            </a:p>
          </p:txBody>
        </p:sp>
      </p:grpSp>
      <p:sp>
        <p:nvSpPr>
          <p:cNvPr id="61" name="Bogen 60">
            <a:extLst>
              <a:ext uri="{FF2B5EF4-FFF2-40B4-BE49-F238E27FC236}">
                <a16:creationId xmlns:a16="http://schemas.microsoft.com/office/drawing/2014/main" id="{A5CD9C1A-1AA2-4372-EA4E-7F3F56423D12}"/>
              </a:ext>
            </a:extLst>
          </p:cNvPr>
          <p:cNvSpPr>
            <a:spLocks/>
          </p:cNvSpPr>
          <p:nvPr/>
        </p:nvSpPr>
        <p:spPr>
          <a:xfrm>
            <a:off x="7133398" y="2659380"/>
            <a:ext cx="2761614" cy="2761614"/>
          </a:xfrm>
          <a:prstGeom prst="arc">
            <a:avLst>
              <a:gd name="adj1" fmla="val 9850731"/>
              <a:gd name="adj2" fmla="val 850064"/>
            </a:avLst>
          </a:prstGeom>
          <a:ln w="38100">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68" name="Gruppieren 167">
            <a:extLst>
              <a:ext uri="{FF2B5EF4-FFF2-40B4-BE49-F238E27FC236}">
                <a16:creationId xmlns:a16="http://schemas.microsoft.com/office/drawing/2014/main" id="{6D0605C3-994A-FA52-ACA9-4A7C70E97E17}"/>
              </a:ext>
            </a:extLst>
          </p:cNvPr>
          <p:cNvGrpSpPr/>
          <p:nvPr/>
        </p:nvGrpSpPr>
        <p:grpSpPr>
          <a:xfrm>
            <a:off x="8894227" y="2498984"/>
            <a:ext cx="2461586" cy="448584"/>
            <a:chOff x="8894227" y="2498984"/>
            <a:chExt cx="2461586" cy="448584"/>
          </a:xfrm>
        </p:grpSpPr>
        <p:grpSp>
          <p:nvGrpSpPr>
            <p:cNvPr id="128" name="Gruppieren 127">
              <a:extLst>
                <a:ext uri="{FF2B5EF4-FFF2-40B4-BE49-F238E27FC236}">
                  <a16:creationId xmlns:a16="http://schemas.microsoft.com/office/drawing/2014/main" id="{C66253EC-2A21-4547-3687-9FE9E2B14EF3}"/>
                </a:ext>
              </a:extLst>
            </p:cNvPr>
            <p:cNvGrpSpPr>
              <a:grpSpLocks/>
            </p:cNvGrpSpPr>
            <p:nvPr/>
          </p:nvGrpSpPr>
          <p:grpSpPr>
            <a:xfrm>
              <a:off x="8894227" y="2498984"/>
              <a:ext cx="448586" cy="448584"/>
              <a:chOff x="9076860" y="2226468"/>
              <a:chExt cx="600075" cy="600075"/>
            </a:xfrm>
          </p:grpSpPr>
          <p:sp>
            <p:nvSpPr>
              <p:cNvPr id="62" name="Ellipse 61">
                <a:extLst>
                  <a:ext uri="{FF2B5EF4-FFF2-40B4-BE49-F238E27FC236}">
                    <a16:creationId xmlns:a16="http://schemas.microsoft.com/office/drawing/2014/main" id="{9F4BFEA3-63C1-C562-AD09-C581E6601D82}"/>
                  </a:ext>
                </a:extLst>
              </p:cNvPr>
              <p:cNvSpPr>
                <a:spLocks/>
              </p:cNvSpPr>
              <p:nvPr/>
            </p:nvSpPr>
            <p:spPr>
              <a:xfrm>
                <a:off x="9076860" y="2226468"/>
                <a:ext cx="600075" cy="600075"/>
              </a:xfrm>
              <a:prstGeom prst="ellipse">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63" name="Grafik 1116" descr="Ein Bild, das Screenshot, Grafiken, Grafikdesign, Text enthält.&#10;&#10;Automatisch generierte Beschreibung">
                <a:extLst>
                  <a:ext uri="{FF2B5EF4-FFF2-40B4-BE49-F238E27FC236}">
                    <a16:creationId xmlns:a16="http://schemas.microsoft.com/office/drawing/2014/main" id="{949EBAE5-B5BE-2634-150B-91F8F4AD5C5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8970" b="73102" l="42569" r="57546">
                            <a14:foregroundMark x1="50049" y1="52130" x2="50220" y2="52130"/>
                          </a14:backgroundRemoval>
                        </a14:imgEffect>
                      </a14:imgLayer>
                    </a14:imgProps>
                  </a:ext>
                  <a:ext uri="{28A0092B-C50C-407E-A947-70E740481C1C}">
                    <a14:useLocalDpi xmlns:a14="http://schemas.microsoft.com/office/drawing/2010/main" val="0"/>
                  </a:ext>
                </a:extLst>
              </a:blip>
              <a:srcRect l="45033" t="43236" r="44330" b="32095"/>
              <a:stretch/>
            </p:blipFill>
            <p:spPr>
              <a:xfrm>
                <a:off x="9174259" y="2271775"/>
                <a:ext cx="424328" cy="518986"/>
              </a:xfrm>
              <a:prstGeom prst="rect">
                <a:avLst/>
              </a:prstGeom>
            </p:spPr>
          </p:pic>
        </p:grpSp>
        <p:sp>
          <p:nvSpPr>
            <p:cNvPr id="129" name="Textfeld 128">
              <a:extLst>
                <a:ext uri="{FF2B5EF4-FFF2-40B4-BE49-F238E27FC236}">
                  <a16:creationId xmlns:a16="http://schemas.microsoft.com/office/drawing/2014/main" id="{24DC78F8-C4E3-C211-9F10-479916BE78E7}"/>
                </a:ext>
              </a:extLst>
            </p:cNvPr>
            <p:cNvSpPr txBox="1">
              <a:spLocks/>
            </p:cNvSpPr>
            <p:nvPr/>
          </p:nvSpPr>
          <p:spPr>
            <a:xfrm>
              <a:off x="9450813" y="2523254"/>
              <a:ext cx="1905000" cy="369332"/>
            </a:xfrm>
            <a:prstGeom prst="rect">
              <a:avLst/>
            </a:prstGeom>
            <a:noFill/>
          </p:spPr>
          <p:txBody>
            <a:bodyPr wrap="square" lIns="0" tIns="0" rIns="0" bIns="0" rtlCol="0">
              <a:spAutoFit/>
            </a:bodyPr>
            <a:lstStyle/>
            <a:p>
              <a:pPr algn="l"/>
              <a:r>
                <a:rPr lang="en-US" sz="1200" b="1">
                  <a:solidFill>
                    <a:schemeClr val="tx1"/>
                  </a:solidFill>
                </a:rPr>
                <a:t>DCS Agent</a:t>
              </a:r>
            </a:p>
            <a:p>
              <a:pPr algn="l"/>
              <a:r>
                <a:rPr lang="en-US" sz="1200">
                  <a:solidFill>
                    <a:schemeClr val="tx1"/>
                  </a:solidFill>
                </a:rPr>
                <a:t>for Process Optimization</a:t>
              </a:r>
            </a:p>
          </p:txBody>
        </p:sp>
      </p:grpSp>
      <p:grpSp>
        <p:nvGrpSpPr>
          <p:cNvPr id="143" name="Gruppieren 142">
            <a:extLst>
              <a:ext uri="{FF2B5EF4-FFF2-40B4-BE49-F238E27FC236}">
                <a16:creationId xmlns:a16="http://schemas.microsoft.com/office/drawing/2014/main" id="{024ED803-4B3A-A5CE-D62E-83701EEB2688}"/>
              </a:ext>
            </a:extLst>
          </p:cNvPr>
          <p:cNvGrpSpPr>
            <a:grpSpLocks/>
          </p:cNvGrpSpPr>
          <p:nvPr/>
        </p:nvGrpSpPr>
        <p:grpSpPr>
          <a:xfrm>
            <a:off x="9457624" y="3017370"/>
            <a:ext cx="2081452" cy="448584"/>
            <a:chOff x="8208724" y="2997081"/>
            <a:chExt cx="2081452" cy="448584"/>
          </a:xfrm>
        </p:grpSpPr>
        <p:sp>
          <p:nvSpPr>
            <p:cNvPr id="130" name="Textfeld 129">
              <a:extLst>
                <a:ext uri="{FF2B5EF4-FFF2-40B4-BE49-F238E27FC236}">
                  <a16:creationId xmlns:a16="http://schemas.microsoft.com/office/drawing/2014/main" id="{3FC293C8-EF9A-D9C0-CB65-BCC79BAD4848}"/>
                </a:ext>
              </a:extLst>
            </p:cNvPr>
            <p:cNvSpPr txBox="1">
              <a:spLocks/>
            </p:cNvSpPr>
            <p:nvPr/>
          </p:nvSpPr>
          <p:spPr>
            <a:xfrm>
              <a:off x="8765310" y="3036707"/>
              <a:ext cx="1524866" cy="369332"/>
            </a:xfrm>
            <a:prstGeom prst="rect">
              <a:avLst/>
            </a:prstGeom>
            <a:noFill/>
          </p:spPr>
          <p:txBody>
            <a:bodyPr wrap="square" lIns="0" tIns="0" rIns="0" bIns="0" rtlCol="0">
              <a:spAutoFit/>
            </a:bodyPr>
            <a:lstStyle/>
            <a:p>
              <a:pPr algn="l"/>
              <a:r>
                <a:rPr lang="en-US" sz="1200" b="1">
                  <a:solidFill>
                    <a:schemeClr val="tx1"/>
                  </a:solidFill>
                </a:rPr>
                <a:t>DCS Agent</a:t>
              </a:r>
            </a:p>
            <a:p>
              <a:pPr algn="l"/>
              <a:r>
                <a:rPr lang="en-US" sz="1200">
                  <a:solidFill>
                    <a:schemeClr val="tx1"/>
                  </a:solidFill>
                </a:rPr>
                <a:t>for Operator Guidance</a:t>
              </a:r>
            </a:p>
          </p:txBody>
        </p:sp>
        <p:grpSp>
          <p:nvGrpSpPr>
            <p:cNvPr id="135" name="Gruppieren 134">
              <a:extLst>
                <a:ext uri="{FF2B5EF4-FFF2-40B4-BE49-F238E27FC236}">
                  <a16:creationId xmlns:a16="http://schemas.microsoft.com/office/drawing/2014/main" id="{0E639A1A-C38C-0ECD-CC4E-BDF24FE18CC3}"/>
                </a:ext>
              </a:extLst>
            </p:cNvPr>
            <p:cNvGrpSpPr>
              <a:grpSpLocks/>
            </p:cNvGrpSpPr>
            <p:nvPr/>
          </p:nvGrpSpPr>
          <p:grpSpPr>
            <a:xfrm>
              <a:off x="8208724" y="2997081"/>
              <a:ext cx="448586" cy="448584"/>
              <a:chOff x="9076860" y="2226468"/>
              <a:chExt cx="600075" cy="600075"/>
            </a:xfrm>
          </p:grpSpPr>
          <p:sp>
            <p:nvSpPr>
              <p:cNvPr id="137" name="Ellipse 136">
                <a:extLst>
                  <a:ext uri="{FF2B5EF4-FFF2-40B4-BE49-F238E27FC236}">
                    <a16:creationId xmlns:a16="http://schemas.microsoft.com/office/drawing/2014/main" id="{96F0E350-0743-7049-5927-79671BF3537C}"/>
                  </a:ext>
                </a:extLst>
              </p:cNvPr>
              <p:cNvSpPr>
                <a:spLocks/>
              </p:cNvSpPr>
              <p:nvPr/>
            </p:nvSpPr>
            <p:spPr>
              <a:xfrm>
                <a:off x="9076860" y="2226468"/>
                <a:ext cx="600075" cy="600075"/>
              </a:xfrm>
              <a:prstGeom prst="ellipse">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38" name="Grafik 1116" descr="Ein Bild, das Screenshot, Grafiken, Grafikdesign, Text enthält.&#10;&#10;Automatisch generierte Beschreibung">
                <a:extLst>
                  <a:ext uri="{FF2B5EF4-FFF2-40B4-BE49-F238E27FC236}">
                    <a16:creationId xmlns:a16="http://schemas.microsoft.com/office/drawing/2014/main" id="{0AF1A242-E8C0-515F-F0C0-297329723E3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8970" b="73102" l="42569" r="57546">
                            <a14:foregroundMark x1="50049" y1="52130" x2="50220" y2="52130"/>
                          </a14:backgroundRemoval>
                        </a14:imgEffect>
                      </a14:imgLayer>
                    </a14:imgProps>
                  </a:ext>
                  <a:ext uri="{28A0092B-C50C-407E-A947-70E740481C1C}">
                    <a14:useLocalDpi xmlns:a14="http://schemas.microsoft.com/office/drawing/2010/main" val="0"/>
                  </a:ext>
                </a:extLst>
              </a:blip>
              <a:srcRect l="45033" t="43236" r="44330" b="32095"/>
              <a:stretch/>
            </p:blipFill>
            <p:spPr>
              <a:xfrm>
                <a:off x="9174259" y="2271775"/>
                <a:ext cx="424328" cy="518986"/>
              </a:xfrm>
              <a:prstGeom prst="rect">
                <a:avLst/>
              </a:prstGeom>
            </p:spPr>
          </p:pic>
        </p:grpSp>
      </p:grpSp>
      <p:grpSp>
        <p:nvGrpSpPr>
          <p:cNvPr id="142" name="Gruppieren 141">
            <a:extLst>
              <a:ext uri="{FF2B5EF4-FFF2-40B4-BE49-F238E27FC236}">
                <a16:creationId xmlns:a16="http://schemas.microsoft.com/office/drawing/2014/main" id="{2F8FEE9D-66D8-421F-773F-4503D85C0BC4}"/>
              </a:ext>
            </a:extLst>
          </p:cNvPr>
          <p:cNvGrpSpPr/>
          <p:nvPr/>
        </p:nvGrpSpPr>
        <p:grpSpPr>
          <a:xfrm>
            <a:off x="9673782" y="3672916"/>
            <a:ext cx="1757023" cy="448584"/>
            <a:chOff x="8497181" y="3611358"/>
            <a:chExt cx="1757023" cy="448584"/>
          </a:xfrm>
        </p:grpSpPr>
        <p:sp>
          <p:nvSpPr>
            <p:cNvPr id="134" name="Textfeld 133">
              <a:extLst>
                <a:ext uri="{FF2B5EF4-FFF2-40B4-BE49-F238E27FC236}">
                  <a16:creationId xmlns:a16="http://schemas.microsoft.com/office/drawing/2014/main" id="{04315E8E-837F-7A2E-D6F5-411841B441E2}"/>
                </a:ext>
              </a:extLst>
            </p:cNvPr>
            <p:cNvSpPr txBox="1">
              <a:spLocks/>
            </p:cNvSpPr>
            <p:nvPr/>
          </p:nvSpPr>
          <p:spPr>
            <a:xfrm>
              <a:off x="9053768" y="3650984"/>
              <a:ext cx="1200436" cy="369332"/>
            </a:xfrm>
            <a:prstGeom prst="rect">
              <a:avLst/>
            </a:prstGeom>
            <a:noFill/>
          </p:spPr>
          <p:txBody>
            <a:bodyPr wrap="square" lIns="0" tIns="0" rIns="0" bIns="0" rtlCol="0">
              <a:spAutoFit/>
            </a:bodyPr>
            <a:lstStyle/>
            <a:p>
              <a:pPr algn="l"/>
              <a:r>
                <a:rPr lang="en-US" sz="1200" b="1">
                  <a:solidFill>
                    <a:schemeClr val="tx1"/>
                  </a:solidFill>
                </a:rPr>
                <a:t>DCS Agent</a:t>
              </a:r>
            </a:p>
            <a:p>
              <a:pPr algn="l"/>
              <a:r>
                <a:rPr lang="en-US" sz="1200">
                  <a:solidFill>
                    <a:schemeClr val="tx1"/>
                  </a:solidFill>
                </a:rPr>
                <a:t>for …</a:t>
              </a:r>
            </a:p>
          </p:txBody>
        </p:sp>
        <p:grpSp>
          <p:nvGrpSpPr>
            <p:cNvPr id="139" name="Gruppieren 138">
              <a:extLst>
                <a:ext uri="{FF2B5EF4-FFF2-40B4-BE49-F238E27FC236}">
                  <a16:creationId xmlns:a16="http://schemas.microsoft.com/office/drawing/2014/main" id="{D43C9145-80B3-0FA0-CF5D-D90E9AB97415}"/>
                </a:ext>
              </a:extLst>
            </p:cNvPr>
            <p:cNvGrpSpPr>
              <a:grpSpLocks/>
            </p:cNvGrpSpPr>
            <p:nvPr/>
          </p:nvGrpSpPr>
          <p:grpSpPr>
            <a:xfrm>
              <a:off x="8497181" y="3611358"/>
              <a:ext cx="448586" cy="448584"/>
              <a:chOff x="9076860" y="2226468"/>
              <a:chExt cx="600075" cy="600075"/>
            </a:xfrm>
          </p:grpSpPr>
          <p:sp>
            <p:nvSpPr>
              <p:cNvPr id="140" name="Ellipse 139">
                <a:extLst>
                  <a:ext uri="{FF2B5EF4-FFF2-40B4-BE49-F238E27FC236}">
                    <a16:creationId xmlns:a16="http://schemas.microsoft.com/office/drawing/2014/main" id="{5DC8201E-1729-092D-7EEB-F9C10480C36F}"/>
                  </a:ext>
                </a:extLst>
              </p:cNvPr>
              <p:cNvSpPr>
                <a:spLocks/>
              </p:cNvSpPr>
              <p:nvPr/>
            </p:nvSpPr>
            <p:spPr>
              <a:xfrm>
                <a:off x="9076860" y="2226468"/>
                <a:ext cx="600075" cy="600075"/>
              </a:xfrm>
              <a:prstGeom prst="ellipse">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41" name="Grafik 1116" descr="Ein Bild, das Screenshot, Grafiken, Grafikdesign, Text enthält.&#10;&#10;Automatisch generierte Beschreibung">
                <a:extLst>
                  <a:ext uri="{FF2B5EF4-FFF2-40B4-BE49-F238E27FC236}">
                    <a16:creationId xmlns:a16="http://schemas.microsoft.com/office/drawing/2014/main" id="{AFC1F591-6CA4-FB0E-D92B-956A74476A0D}"/>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8970" b="73102" l="42569" r="57546">
                            <a14:foregroundMark x1="50049" y1="52130" x2="50220" y2="52130"/>
                          </a14:backgroundRemoval>
                        </a14:imgEffect>
                      </a14:imgLayer>
                    </a14:imgProps>
                  </a:ext>
                  <a:ext uri="{28A0092B-C50C-407E-A947-70E740481C1C}">
                    <a14:useLocalDpi xmlns:a14="http://schemas.microsoft.com/office/drawing/2010/main" val="0"/>
                  </a:ext>
                </a:extLst>
              </a:blip>
              <a:srcRect l="45033" t="43236" r="44330" b="32095"/>
              <a:stretch/>
            </p:blipFill>
            <p:spPr>
              <a:xfrm>
                <a:off x="9174259" y="2271775"/>
                <a:ext cx="424328" cy="518986"/>
              </a:xfrm>
              <a:prstGeom prst="rect">
                <a:avLst/>
              </a:prstGeom>
            </p:spPr>
          </p:pic>
        </p:grpSp>
      </p:grpSp>
      <p:sp>
        <p:nvSpPr>
          <p:cNvPr id="145" name="Bogen 144">
            <a:extLst>
              <a:ext uri="{FF2B5EF4-FFF2-40B4-BE49-F238E27FC236}">
                <a16:creationId xmlns:a16="http://schemas.microsoft.com/office/drawing/2014/main" id="{77DD09E9-74AB-AF30-CEC9-6DCF0DB77273}"/>
              </a:ext>
            </a:extLst>
          </p:cNvPr>
          <p:cNvSpPr>
            <a:spLocks/>
          </p:cNvSpPr>
          <p:nvPr/>
        </p:nvSpPr>
        <p:spPr>
          <a:xfrm>
            <a:off x="6994515" y="2524125"/>
            <a:ext cx="3018410" cy="3018410"/>
          </a:xfrm>
          <a:prstGeom prst="arc">
            <a:avLst>
              <a:gd name="adj1" fmla="val 10817618"/>
              <a:gd name="adj2" fmla="val 15311866"/>
            </a:avLst>
          </a:prstGeom>
          <a:ln w="38100">
            <a:solidFill>
              <a:srgbClr val="00C1B6"/>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69" name="Gruppieren 168">
            <a:extLst>
              <a:ext uri="{FF2B5EF4-FFF2-40B4-BE49-F238E27FC236}">
                <a16:creationId xmlns:a16="http://schemas.microsoft.com/office/drawing/2014/main" id="{EDA62CA0-A2FB-9532-1CA3-830D7ADDDF86}"/>
              </a:ext>
            </a:extLst>
          </p:cNvPr>
          <p:cNvGrpSpPr/>
          <p:nvPr/>
        </p:nvGrpSpPr>
        <p:grpSpPr>
          <a:xfrm>
            <a:off x="5258418" y="2330669"/>
            <a:ext cx="2240101" cy="1603987"/>
            <a:chOff x="5258418" y="2330669"/>
            <a:chExt cx="2240101" cy="1603987"/>
          </a:xfrm>
        </p:grpSpPr>
        <p:grpSp>
          <p:nvGrpSpPr>
            <p:cNvPr id="152" name="Gruppieren 151">
              <a:extLst>
                <a:ext uri="{FF2B5EF4-FFF2-40B4-BE49-F238E27FC236}">
                  <a16:creationId xmlns:a16="http://schemas.microsoft.com/office/drawing/2014/main" id="{17894DB8-0578-F269-B430-E9DC78094190}"/>
                </a:ext>
              </a:extLst>
            </p:cNvPr>
            <p:cNvGrpSpPr/>
            <p:nvPr/>
          </p:nvGrpSpPr>
          <p:grpSpPr>
            <a:xfrm>
              <a:off x="5661446" y="2510343"/>
              <a:ext cx="1370614" cy="979074"/>
              <a:chOff x="3243148" y="2672112"/>
              <a:chExt cx="1967931" cy="1405757"/>
            </a:xfrm>
          </p:grpSpPr>
          <p:pic>
            <p:nvPicPr>
              <p:cNvPr id="149" name="Grafik 2">
                <a:extLst>
                  <a:ext uri="{FF2B5EF4-FFF2-40B4-BE49-F238E27FC236}">
                    <a16:creationId xmlns:a16="http://schemas.microsoft.com/office/drawing/2014/main" id="{D244DDF7-946D-4BF9-CF0F-EF9E68FECD69}"/>
                  </a:ext>
                </a:extLst>
              </p:cNvPr>
              <p:cNvPicPr>
                <a:picLocks noChangeAspect="1"/>
              </p:cNvPicPr>
              <p:nvPr/>
            </p:nvPicPr>
            <p:blipFill>
              <a:blip r:embed="rId8">
                <a:alphaModFix/>
              </a:blip>
              <a:srcRect l="28689"/>
              <a:stretch/>
            </p:blipFill>
            <p:spPr>
              <a:xfrm>
                <a:off x="3428922" y="2672112"/>
                <a:ext cx="1782157" cy="1405757"/>
              </a:xfrm>
              <a:prstGeom prst="rect">
                <a:avLst/>
              </a:prstGeom>
              <a:effectLst>
                <a:softEdge rad="114300"/>
              </a:effectLst>
            </p:spPr>
          </p:pic>
          <p:pic>
            <p:nvPicPr>
              <p:cNvPr id="150" name="Grafik 56">
                <a:extLst>
                  <a:ext uri="{FF2B5EF4-FFF2-40B4-BE49-F238E27FC236}">
                    <a16:creationId xmlns:a16="http://schemas.microsoft.com/office/drawing/2014/main" id="{84DF57C9-173E-B974-FD2B-C7571AA824E8}"/>
                  </a:ext>
                </a:extLst>
              </p:cNvPr>
              <p:cNvPicPr>
                <a:picLocks noChangeAspect="1"/>
              </p:cNvPicPr>
              <p:nvPr/>
            </p:nvPicPr>
            <p:blipFill>
              <a:blip r:embed="rId9">
                <a:alphaModFix/>
                <a:extLst>
                  <a:ext uri="{96DAC541-7B7A-43D3-8B79-37D633B846F1}">
                    <asvg:svgBlip xmlns:asvg="http://schemas.microsoft.com/office/drawing/2016/SVG/main" r:embed="rId10"/>
                  </a:ext>
                </a:extLst>
              </a:blip>
              <a:stretch>
                <a:fillRect/>
              </a:stretch>
            </p:blipFill>
            <p:spPr>
              <a:xfrm>
                <a:off x="3243148" y="2853793"/>
                <a:ext cx="371547" cy="371547"/>
              </a:xfrm>
              <a:prstGeom prst="rect">
                <a:avLst/>
              </a:prstGeom>
            </p:spPr>
          </p:pic>
          <p:pic>
            <p:nvPicPr>
              <p:cNvPr id="151" name="Grafik 52">
                <a:extLst>
                  <a:ext uri="{FF2B5EF4-FFF2-40B4-BE49-F238E27FC236}">
                    <a16:creationId xmlns:a16="http://schemas.microsoft.com/office/drawing/2014/main" id="{9DAFED39-2791-62B6-DDF8-1824134B79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4430" y="2922844"/>
                <a:ext cx="740561" cy="1028964"/>
              </a:xfrm>
              <a:prstGeom prst="rect">
                <a:avLst/>
              </a:prstGeom>
            </p:spPr>
          </p:pic>
        </p:grpSp>
        <p:sp>
          <p:nvSpPr>
            <p:cNvPr id="153" name="TextBox 11">
              <a:extLst>
                <a:ext uri="{FF2B5EF4-FFF2-40B4-BE49-F238E27FC236}">
                  <a16:creationId xmlns:a16="http://schemas.microsoft.com/office/drawing/2014/main" id="{F4338EF5-B9BD-483A-8D56-8FA12E8B596A}"/>
                </a:ext>
              </a:extLst>
            </p:cNvPr>
            <p:cNvSpPr txBox="1"/>
            <p:nvPr/>
          </p:nvSpPr>
          <p:spPr>
            <a:xfrm>
              <a:off x="6388762" y="2330669"/>
              <a:ext cx="1109757" cy="184666"/>
            </a:xfrm>
            <a:prstGeom prst="rect">
              <a:avLst/>
            </a:prstGeom>
            <a:noFill/>
          </p:spPr>
          <p:txBody>
            <a:bodyPr wrap="square" lIns="0" tIns="0" rIns="0" bIns="0" rtlCol="0">
              <a:spAutoFit/>
            </a:bodyPr>
            <a:lstStyle/>
            <a:p>
              <a:pPr algn="r"/>
              <a:r>
                <a:rPr lang="en-US" sz="1200">
                  <a:solidFill>
                    <a:schemeClr val="tx1"/>
                  </a:solidFill>
                </a:rPr>
                <a:t>SIMATIC </a:t>
              </a:r>
              <a:r>
                <a:rPr lang="en-US" sz="1200" err="1">
                  <a:solidFill>
                    <a:schemeClr val="tx1"/>
                  </a:solidFill>
                </a:rPr>
                <a:t>eaSie</a:t>
              </a:r>
              <a:r>
                <a:rPr lang="en-US" sz="1200">
                  <a:solidFill>
                    <a:schemeClr val="tx1"/>
                  </a:solidFill>
                </a:rPr>
                <a:t> </a:t>
              </a:r>
            </a:p>
          </p:txBody>
        </p:sp>
        <p:sp>
          <p:nvSpPr>
            <p:cNvPr id="154" name="TextBox 12">
              <a:extLst>
                <a:ext uri="{FF2B5EF4-FFF2-40B4-BE49-F238E27FC236}">
                  <a16:creationId xmlns:a16="http://schemas.microsoft.com/office/drawing/2014/main" id="{355D8E75-AEF6-F89E-3910-CA45F7620E37}"/>
                </a:ext>
              </a:extLst>
            </p:cNvPr>
            <p:cNvSpPr txBox="1"/>
            <p:nvPr/>
          </p:nvSpPr>
          <p:spPr>
            <a:xfrm>
              <a:off x="5258418" y="3565324"/>
              <a:ext cx="1583582" cy="369332"/>
            </a:xfrm>
            <a:prstGeom prst="rect">
              <a:avLst/>
            </a:prstGeom>
            <a:noFill/>
          </p:spPr>
          <p:txBody>
            <a:bodyPr wrap="square" lIns="0" tIns="0" rIns="0" bIns="0" rtlCol="0">
              <a:spAutoFit/>
            </a:bodyPr>
            <a:lstStyle/>
            <a:p>
              <a:pPr algn="r"/>
              <a:r>
                <a:rPr lang="en-US" sz="1200" b="1">
                  <a:solidFill>
                    <a:schemeClr val="tx1"/>
                  </a:solidFill>
                </a:rPr>
                <a:t>DCS Agent</a:t>
              </a:r>
            </a:p>
            <a:p>
              <a:pPr algn="r"/>
              <a:r>
                <a:rPr lang="en-US" sz="1200">
                  <a:solidFill>
                    <a:schemeClr val="tx1"/>
                  </a:solidFill>
                </a:rPr>
                <a:t>for </a:t>
              </a:r>
              <a:r>
                <a:rPr lang="en-US" sz="1200" err="1">
                  <a:solidFill>
                    <a:schemeClr val="tx1"/>
                  </a:solidFill>
                </a:rPr>
                <a:t>Maintenace</a:t>
              </a:r>
              <a:r>
                <a:rPr lang="en-US" sz="1200">
                  <a:solidFill>
                    <a:schemeClr val="tx1"/>
                  </a:solidFill>
                </a:rPr>
                <a:t> Advice</a:t>
              </a:r>
            </a:p>
          </p:txBody>
        </p:sp>
      </p:grpSp>
      <p:grpSp>
        <p:nvGrpSpPr>
          <p:cNvPr id="155" name="siemens, arrow, pfeil, direction, richtung, both, beide">
            <a:extLst>
              <a:ext uri="{FF2B5EF4-FFF2-40B4-BE49-F238E27FC236}">
                <a16:creationId xmlns:a16="http://schemas.microsoft.com/office/drawing/2014/main" id="{114862F4-5264-F188-B817-D422DA7971C8}"/>
              </a:ext>
            </a:extLst>
          </p:cNvPr>
          <p:cNvGrpSpPr>
            <a:grpSpLocks/>
          </p:cNvGrpSpPr>
          <p:nvPr/>
        </p:nvGrpSpPr>
        <p:grpSpPr bwMode="gray">
          <a:xfrm rot="13108198">
            <a:off x="7104815" y="2946297"/>
            <a:ext cx="448586" cy="448584"/>
            <a:chOff x="7309298" y="1638752"/>
            <a:chExt cx="1028440" cy="1028440"/>
          </a:xfrm>
        </p:grpSpPr>
        <p:sp>
          <p:nvSpPr>
            <p:cNvPr id="156" name="Ellipse 155">
              <a:extLst>
                <a:ext uri="{FF2B5EF4-FFF2-40B4-BE49-F238E27FC236}">
                  <a16:creationId xmlns:a16="http://schemas.microsoft.com/office/drawing/2014/main" id="{A1F8CB00-1386-E393-FFA2-A0ABBEACF6D6}"/>
                </a:ext>
              </a:extLst>
            </p:cNvPr>
            <p:cNvSpPr/>
            <p:nvPr/>
          </p:nvSpPr>
          <p:spPr bwMode="gray">
            <a:xfrm>
              <a:off x="7309298" y="1638752"/>
              <a:ext cx="1028440" cy="1028440"/>
            </a:xfrm>
            <a:prstGeom prst="ellipse">
              <a:avLst/>
            </a:prstGeom>
            <a:solidFill>
              <a:srgbClr val="FFFFFF"/>
            </a:solidFill>
            <a:ln w="6794" cap="flat">
              <a:noFill/>
              <a:prstDash val="solid"/>
              <a:miter/>
            </a:ln>
          </p:spPr>
          <p:txBody>
            <a:bodyPr rtlCol="0" anchor="ctr"/>
            <a:lstStyle/>
            <a:p>
              <a:endParaRPr lang="en-US"/>
            </a:p>
          </p:txBody>
        </p:sp>
        <p:sp>
          <p:nvSpPr>
            <p:cNvPr id="157" name="Freihandform: Form 156">
              <a:extLst>
                <a:ext uri="{FF2B5EF4-FFF2-40B4-BE49-F238E27FC236}">
                  <a16:creationId xmlns:a16="http://schemas.microsoft.com/office/drawing/2014/main" id="{66F3E133-657E-1623-58CD-3DED1EEC1135}"/>
                </a:ext>
              </a:extLst>
            </p:cNvPr>
            <p:cNvSpPr/>
            <p:nvPr/>
          </p:nvSpPr>
          <p:spPr bwMode="gray">
            <a:xfrm>
              <a:off x="7562979" y="2043271"/>
              <a:ext cx="521076" cy="219400"/>
            </a:xfrm>
            <a:custGeom>
              <a:avLst/>
              <a:gdLst>
                <a:gd name="connsiteX0" fmla="*/ 426666 w 521076"/>
                <a:gd name="connsiteY0" fmla="*/ 0 h 219400"/>
                <a:gd name="connsiteX1" fmla="*/ 389162 w 521076"/>
                <a:gd name="connsiteY1" fmla="*/ 32224 h 219400"/>
                <a:gd name="connsiteX2" fmla="*/ 432768 w 521076"/>
                <a:gd name="connsiteY2" fmla="*/ 83372 h 219400"/>
                <a:gd name="connsiteX3" fmla="*/ 88309 w 521076"/>
                <a:gd name="connsiteY3" fmla="*/ 83372 h 219400"/>
                <a:gd name="connsiteX4" fmla="*/ 131915 w 521076"/>
                <a:gd name="connsiteY4" fmla="*/ 32224 h 219400"/>
                <a:gd name="connsiteX5" fmla="*/ 94411 w 521076"/>
                <a:gd name="connsiteY5" fmla="*/ 0 h 219400"/>
                <a:gd name="connsiteX6" fmla="*/ 0 w 521076"/>
                <a:gd name="connsiteY6" fmla="*/ 109700 h 219400"/>
                <a:gd name="connsiteX7" fmla="*/ 94411 w 521076"/>
                <a:gd name="connsiteY7" fmla="*/ 219401 h 219400"/>
                <a:gd name="connsiteX8" fmla="*/ 131915 w 521076"/>
                <a:gd name="connsiteY8" fmla="*/ 187176 h 219400"/>
                <a:gd name="connsiteX9" fmla="*/ 88309 w 521076"/>
                <a:gd name="connsiteY9" fmla="*/ 136028 h 219400"/>
                <a:gd name="connsiteX10" fmla="*/ 432768 w 521076"/>
                <a:gd name="connsiteY10" fmla="*/ 136028 h 219400"/>
                <a:gd name="connsiteX11" fmla="*/ 389162 w 521076"/>
                <a:gd name="connsiteY11" fmla="*/ 187176 h 219400"/>
                <a:gd name="connsiteX12" fmla="*/ 426666 w 521076"/>
                <a:gd name="connsiteY12" fmla="*/ 219401 h 219400"/>
                <a:gd name="connsiteX13" fmla="*/ 521076 w 521076"/>
                <a:gd name="connsiteY13" fmla="*/ 109700 h 219400"/>
                <a:gd name="connsiteX14" fmla="*/ 426666 w 521076"/>
                <a:gd name="connsiteY14" fmla="*/ 0 h 2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1076" h="219400">
                  <a:moveTo>
                    <a:pt x="426666" y="0"/>
                  </a:moveTo>
                  <a:lnTo>
                    <a:pt x="389162" y="32224"/>
                  </a:lnTo>
                  <a:lnTo>
                    <a:pt x="432768" y="83372"/>
                  </a:lnTo>
                  <a:lnTo>
                    <a:pt x="88309" y="83372"/>
                  </a:lnTo>
                  <a:lnTo>
                    <a:pt x="131915" y="32224"/>
                  </a:lnTo>
                  <a:lnTo>
                    <a:pt x="94411" y="0"/>
                  </a:lnTo>
                  <a:lnTo>
                    <a:pt x="0" y="109700"/>
                  </a:lnTo>
                  <a:lnTo>
                    <a:pt x="94411" y="219401"/>
                  </a:lnTo>
                  <a:lnTo>
                    <a:pt x="131915" y="187176"/>
                  </a:lnTo>
                  <a:lnTo>
                    <a:pt x="88309" y="136028"/>
                  </a:lnTo>
                  <a:lnTo>
                    <a:pt x="432768" y="136028"/>
                  </a:lnTo>
                  <a:lnTo>
                    <a:pt x="389162" y="187176"/>
                  </a:lnTo>
                  <a:lnTo>
                    <a:pt x="426666" y="219401"/>
                  </a:lnTo>
                  <a:lnTo>
                    <a:pt x="521076" y="109700"/>
                  </a:lnTo>
                  <a:lnTo>
                    <a:pt x="426666" y="0"/>
                  </a:lnTo>
                  <a:close/>
                </a:path>
              </a:pathLst>
            </a:custGeom>
            <a:solidFill>
              <a:srgbClr val="000028"/>
            </a:solidFill>
            <a:ln w="6794" cap="flat">
              <a:noFill/>
              <a:prstDash val="solid"/>
              <a:miter/>
            </a:ln>
          </p:spPr>
          <p:txBody>
            <a:bodyPr rtlCol="0" anchor="ctr"/>
            <a:lstStyle/>
            <a:p>
              <a:endParaRPr lang="en-US"/>
            </a:p>
          </p:txBody>
        </p:sp>
      </p:grpSp>
      <p:grpSp>
        <p:nvGrpSpPr>
          <p:cNvPr id="158" name="siemens, arrow, pfeil, direction, richtung, both, beide">
            <a:extLst>
              <a:ext uri="{FF2B5EF4-FFF2-40B4-BE49-F238E27FC236}">
                <a16:creationId xmlns:a16="http://schemas.microsoft.com/office/drawing/2014/main" id="{82F0062B-6F09-35B2-2A8D-EFDBB74372F2}"/>
              </a:ext>
            </a:extLst>
          </p:cNvPr>
          <p:cNvGrpSpPr>
            <a:grpSpLocks/>
          </p:cNvGrpSpPr>
          <p:nvPr/>
        </p:nvGrpSpPr>
        <p:grpSpPr bwMode="gray">
          <a:xfrm rot="16200000">
            <a:off x="8356447" y="1885951"/>
            <a:ext cx="370388" cy="370386"/>
            <a:chOff x="7309298" y="1638752"/>
            <a:chExt cx="1028440" cy="1028440"/>
          </a:xfrm>
        </p:grpSpPr>
        <p:sp>
          <p:nvSpPr>
            <p:cNvPr id="159" name="Ellipse 158">
              <a:extLst>
                <a:ext uri="{FF2B5EF4-FFF2-40B4-BE49-F238E27FC236}">
                  <a16:creationId xmlns:a16="http://schemas.microsoft.com/office/drawing/2014/main" id="{987E00AE-67C9-65C0-3045-F8DC18B402F6}"/>
                </a:ext>
              </a:extLst>
            </p:cNvPr>
            <p:cNvSpPr/>
            <p:nvPr/>
          </p:nvSpPr>
          <p:spPr bwMode="gray">
            <a:xfrm>
              <a:off x="7309298" y="1638752"/>
              <a:ext cx="1028440" cy="1028440"/>
            </a:xfrm>
            <a:prstGeom prst="ellipse">
              <a:avLst/>
            </a:prstGeom>
            <a:solidFill>
              <a:srgbClr val="FFFFFF"/>
            </a:solidFill>
            <a:ln w="6794" cap="flat">
              <a:noFill/>
              <a:prstDash val="solid"/>
              <a:miter/>
            </a:ln>
          </p:spPr>
          <p:txBody>
            <a:bodyPr rtlCol="0" anchor="ctr"/>
            <a:lstStyle/>
            <a:p>
              <a:endParaRPr lang="en-US"/>
            </a:p>
          </p:txBody>
        </p:sp>
        <p:sp>
          <p:nvSpPr>
            <p:cNvPr id="160" name="Freihandform: Form 159">
              <a:extLst>
                <a:ext uri="{FF2B5EF4-FFF2-40B4-BE49-F238E27FC236}">
                  <a16:creationId xmlns:a16="http://schemas.microsoft.com/office/drawing/2014/main" id="{AE4194C8-79C5-B9BC-F997-A0E256E7B817}"/>
                </a:ext>
              </a:extLst>
            </p:cNvPr>
            <p:cNvSpPr/>
            <p:nvPr/>
          </p:nvSpPr>
          <p:spPr bwMode="gray">
            <a:xfrm>
              <a:off x="7562979" y="2043271"/>
              <a:ext cx="521076" cy="219400"/>
            </a:xfrm>
            <a:custGeom>
              <a:avLst/>
              <a:gdLst>
                <a:gd name="connsiteX0" fmla="*/ 426666 w 521076"/>
                <a:gd name="connsiteY0" fmla="*/ 0 h 219400"/>
                <a:gd name="connsiteX1" fmla="*/ 389162 w 521076"/>
                <a:gd name="connsiteY1" fmla="*/ 32224 h 219400"/>
                <a:gd name="connsiteX2" fmla="*/ 432768 w 521076"/>
                <a:gd name="connsiteY2" fmla="*/ 83372 h 219400"/>
                <a:gd name="connsiteX3" fmla="*/ 88309 w 521076"/>
                <a:gd name="connsiteY3" fmla="*/ 83372 h 219400"/>
                <a:gd name="connsiteX4" fmla="*/ 131915 w 521076"/>
                <a:gd name="connsiteY4" fmla="*/ 32224 h 219400"/>
                <a:gd name="connsiteX5" fmla="*/ 94411 w 521076"/>
                <a:gd name="connsiteY5" fmla="*/ 0 h 219400"/>
                <a:gd name="connsiteX6" fmla="*/ 0 w 521076"/>
                <a:gd name="connsiteY6" fmla="*/ 109700 h 219400"/>
                <a:gd name="connsiteX7" fmla="*/ 94411 w 521076"/>
                <a:gd name="connsiteY7" fmla="*/ 219401 h 219400"/>
                <a:gd name="connsiteX8" fmla="*/ 131915 w 521076"/>
                <a:gd name="connsiteY8" fmla="*/ 187176 h 219400"/>
                <a:gd name="connsiteX9" fmla="*/ 88309 w 521076"/>
                <a:gd name="connsiteY9" fmla="*/ 136028 h 219400"/>
                <a:gd name="connsiteX10" fmla="*/ 432768 w 521076"/>
                <a:gd name="connsiteY10" fmla="*/ 136028 h 219400"/>
                <a:gd name="connsiteX11" fmla="*/ 389162 w 521076"/>
                <a:gd name="connsiteY11" fmla="*/ 187176 h 219400"/>
                <a:gd name="connsiteX12" fmla="*/ 426666 w 521076"/>
                <a:gd name="connsiteY12" fmla="*/ 219401 h 219400"/>
                <a:gd name="connsiteX13" fmla="*/ 521076 w 521076"/>
                <a:gd name="connsiteY13" fmla="*/ 109700 h 219400"/>
                <a:gd name="connsiteX14" fmla="*/ 426666 w 521076"/>
                <a:gd name="connsiteY14" fmla="*/ 0 h 2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1076" h="219400">
                  <a:moveTo>
                    <a:pt x="426666" y="0"/>
                  </a:moveTo>
                  <a:lnTo>
                    <a:pt x="389162" y="32224"/>
                  </a:lnTo>
                  <a:lnTo>
                    <a:pt x="432768" y="83372"/>
                  </a:lnTo>
                  <a:lnTo>
                    <a:pt x="88309" y="83372"/>
                  </a:lnTo>
                  <a:lnTo>
                    <a:pt x="131915" y="32224"/>
                  </a:lnTo>
                  <a:lnTo>
                    <a:pt x="94411" y="0"/>
                  </a:lnTo>
                  <a:lnTo>
                    <a:pt x="0" y="109700"/>
                  </a:lnTo>
                  <a:lnTo>
                    <a:pt x="94411" y="219401"/>
                  </a:lnTo>
                  <a:lnTo>
                    <a:pt x="131915" y="187176"/>
                  </a:lnTo>
                  <a:lnTo>
                    <a:pt x="88309" y="136028"/>
                  </a:lnTo>
                  <a:lnTo>
                    <a:pt x="432768" y="136028"/>
                  </a:lnTo>
                  <a:lnTo>
                    <a:pt x="389162" y="187176"/>
                  </a:lnTo>
                  <a:lnTo>
                    <a:pt x="426666" y="219401"/>
                  </a:lnTo>
                  <a:lnTo>
                    <a:pt x="521076" y="109700"/>
                  </a:lnTo>
                  <a:lnTo>
                    <a:pt x="426666" y="0"/>
                  </a:lnTo>
                  <a:close/>
                </a:path>
              </a:pathLst>
            </a:custGeom>
            <a:solidFill>
              <a:srgbClr val="000028"/>
            </a:solidFill>
            <a:ln w="6794"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3EBB51E2-2A3F-73BA-05F8-36693A10E128}"/>
              </a:ext>
            </a:extLst>
          </p:cNvPr>
          <p:cNvSpPr>
            <a:spLocks noGrp="1"/>
          </p:cNvSpPr>
          <p:nvPr>
            <p:ph type="title"/>
          </p:nvPr>
        </p:nvSpPr>
        <p:spPr>
          <a:xfrm>
            <a:off x="410400" y="478800"/>
            <a:ext cx="10571636" cy="576000"/>
          </a:xfrm>
        </p:spPr>
        <p:txBody>
          <a:bodyPr/>
          <a:lstStyle/>
          <a:p>
            <a:r>
              <a:rPr lang="de-DE"/>
              <a:t>DCS Connect &amp; DCS </a:t>
            </a:r>
            <a:r>
              <a:rPr lang="de-DE" err="1"/>
              <a:t>Agents</a:t>
            </a:r>
            <a:r>
              <a:rPr lang="de-DE"/>
              <a:t> will</a:t>
            </a:r>
            <a:br>
              <a:rPr lang="de-DE"/>
            </a:br>
            <a:r>
              <a:rPr lang="de-DE" err="1"/>
              <a:t>Enable</a:t>
            </a:r>
            <a:r>
              <a:rPr lang="de-DE"/>
              <a:t> AI and </a:t>
            </a:r>
            <a:r>
              <a:rPr lang="de-DE" err="1"/>
              <a:t>data-driven</a:t>
            </a:r>
            <a:r>
              <a:rPr lang="de-DE"/>
              <a:t> </a:t>
            </a:r>
            <a:r>
              <a:rPr lang="de-DE" err="1"/>
              <a:t>applications</a:t>
            </a:r>
            <a:endParaRPr lang="en-US"/>
          </a:p>
        </p:txBody>
      </p:sp>
    </p:spTree>
    <p:extLst>
      <p:ext uri="{BB962C8B-B14F-4D97-AF65-F5344CB8AC3E}">
        <p14:creationId xmlns:p14="http://schemas.microsoft.com/office/powerpoint/2010/main" val="185691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fade">
                                      <p:cBhvr>
                                        <p:cTn id="7" dur="500"/>
                                        <p:tgtEl>
                                          <p:spTgt spid="167"/>
                                        </p:tgtEl>
                                      </p:cBhvr>
                                    </p:animEffect>
                                  </p:childTnLst>
                                </p:cTn>
                              </p:par>
                              <p:par>
                                <p:cTn id="8" presetID="10" presetClass="entr" presetSubtype="0" fill="hold" nodeType="withEffect">
                                  <p:stCondLst>
                                    <p:cond delay="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37"/>
                                        </p:tgtEl>
                                        <p:attrNameLst>
                                          <p:attrName>style.visibility</p:attrName>
                                        </p:attrNameLst>
                                      </p:cBhvr>
                                      <p:to>
                                        <p:strVal val="visible"/>
                                      </p:to>
                                    </p:set>
                                    <p:anim calcmode="lin" valueType="num">
                                      <p:cBhvr>
                                        <p:cTn id="15" dur="500" fill="hold"/>
                                        <p:tgtEl>
                                          <p:spTgt spid="37"/>
                                        </p:tgtEl>
                                        <p:attrNameLst>
                                          <p:attrName>ppt_w</p:attrName>
                                        </p:attrNameLst>
                                      </p:cBhvr>
                                      <p:tavLst>
                                        <p:tav tm="0">
                                          <p:val>
                                            <p:fltVal val="0"/>
                                          </p:val>
                                        </p:tav>
                                        <p:tav tm="100000">
                                          <p:val>
                                            <p:strVal val="#ppt_w"/>
                                          </p:val>
                                        </p:tav>
                                      </p:tavLst>
                                    </p:anim>
                                    <p:anim calcmode="lin" valueType="num">
                                      <p:cBhvr>
                                        <p:cTn id="16" dur="500" fill="hold"/>
                                        <p:tgtEl>
                                          <p:spTgt spid="37"/>
                                        </p:tgtEl>
                                        <p:attrNameLst>
                                          <p:attrName>ppt_h</p:attrName>
                                        </p:attrNameLst>
                                      </p:cBhvr>
                                      <p:tavLst>
                                        <p:tav tm="0">
                                          <p:val>
                                            <p:fltVal val="0"/>
                                          </p:val>
                                        </p:tav>
                                        <p:tav tm="100000">
                                          <p:val>
                                            <p:strVal val="#ppt_h"/>
                                          </p:val>
                                        </p:tav>
                                      </p:tavLst>
                                    </p:anim>
                                    <p:animEffect transition="in" filter="fade">
                                      <p:cBhvr>
                                        <p:cTn id="17" dur="500"/>
                                        <p:tgtEl>
                                          <p:spTgt spid="37"/>
                                        </p:tgtEl>
                                      </p:cBhvr>
                                    </p:animEffect>
                                  </p:childTnLst>
                                </p:cTn>
                              </p:par>
                            </p:childTnLst>
                          </p:cTn>
                        </p:par>
                        <p:par>
                          <p:cTn id="18" fill="hold">
                            <p:stCondLst>
                              <p:cond delay="500"/>
                            </p:stCondLst>
                            <p:childTnLst>
                              <p:par>
                                <p:cTn id="19" presetID="1" presetClass="entr" presetSubtype="0" fill="hold" grpId="0" nodeType="after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par>
                          <p:cTn id="21" fill="hold">
                            <p:stCondLst>
                              <p:cond delay="500"/>
                            </p:stCondLst>
                            <p:childTnLst>
                              <p:par>
                                <p:cTn id="22" presetID="53" presetClass="entr" presetSubtype="16"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 calcmode="lin" valueType="num">
                                      <p:cBhvr>
                                        <p:cTn id="24" dur="500" fill="hold"/>
                                        <p:tgtEl>
                                          <p:spTgt spid="40"/>
                                        </p:tgtEl>
                                        <p:attrNameLst>
                                          <p:attrName>ppt_w</p:attrName>
                                        </p:attrNameLst>
                                      </p:cBhvr>
                                      <p:tavLst>
                                        <p:tav tm="0">
                                          <p:val>
                                            <p:fltVal val="0"/>
                                          </p:val>
                                        </p:tav>
                                        <p:tav tm="100000">
                                          <p:val>
                                            <p:strVal val="#ppt_w"/>
                                          </p:val>
                                        </p:tav>
                                      </p:tavLst>
                                    </p:anim>
                                    <p:anim calcmode="lin" valueType="num">
                                      <p:cBhvr>
                                        <p:cTn id="25" dur="500" fill="hold"/>
                                        <p:tgtEl>
                                          <p:spTgt spid="40"/>
                                        </p:tgtEl>
                                        <p:attrNameLst>
                                          <p:attrName>ppt_h</p:attrName>
                                        </p:attrNameLst>
                                      </p:cBhvr>
                                      <p:tavLst>
                                        <p:tav tm="0">
                                          <p:val>
                                            <p:fltVal val="0"/>
                                          </p:val>
                                        </p:tav>
                                        <p:tav tm="100000">
                                          <p:val>
                                            <p:strVal val="#ppt_h"/>
                                          </p:val>
                                        </p:tav>
                                      </p:tavLst>
                                    </p:anim>
                                    <p:animEffect transition="in" filter="fade">
                                      <p:cBhvr>
                                        <p:cTn id="26" dur="500"/>
                                        <p:tgtEl>
                                          <p:spTgt spid="40"/>
                                        </p:tgtEl>
                                      </p:cBhvr>
                                    </p:animEffect>
                                  </p:childTnLst>
                                </p:cTn>
                              </p:par>
                              <p:par>
                                <p:cTn id="27" presetID="53" presetClass="entr" presetSubtype="16" fill="hold" nodeType="withEffect">
                                  <p:stCondLst>
                                    <p:cond delay="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w</p:attrName>
                                        </p:attrNameLst>
                                      </p:cBhvr>
                                      <p:tavLst>
                                        <p:tav tm="0">
                                          <p:val>
                                            <p:fltVal val="0"/>
                                          </p:val>
                                        </p:tav>
                                        <p:tav tm="100000">
                                          <p:val>
                                            <p:strVal val="#ppt_w"/>
                                          </p:val>
                                        </p:tav>
                                      </p:tavLst>
                                    </p:anim>
                                    <p:anim calcmode="lin" valueType="num">
                                      <p:cBhvr>
                                        <p:cTn id="30" dur="500" fill="hold"/>
                                        <p:tgtEl>
                                          <p:spTgt spid="58"/>
                                        </p:tgtEl>
                                        <p:attrNameLst>
                                          <p:attrName>ppt_h</p:attrName>
                                        </p:attrNameLst>
                                      </p:cBhvr>
                                      <p:tavLst>
                                        <p:tav tm="0">
                                          <p:val>
                                            <p:fltVal val="0"/>
                                          </p:val>
                                        </p:tav>
                                        <p:tav tm="100000">
                                          <p:val>
                                            <p:strVal val="#ppt_h"/>
                                          </p:val>
                                        </p:tav>
                                      </p:tavLst>
                                    </p:anim>
                                    <p:animEffect transition="in" filter="fade">
                                      <p:cBhvr>
                                        <p:cTn id="31" dur="500"/>
                                        <p:tgtEl>
                                          <p:spTgt spid="58"/>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61"/>
                                        </p:tgtEl>
                                        <p:attrNameLst>
                                          <p:attrName>style.visibility</p:attrName>
                                        </p:attrNameLst>
                                      </p:cBhvr>
                                      <p:to>
                                        <p:strVal val="visible"/>
                                      </p:to>
                                    </p:set>
                                    <p:animEffect transition="in" filter="wipe(down)">
                                      <p:cBhvr>
                                        <p:cTn id="36" dur="750"/>
                                        <p:tgtEl>
                                          <p:spTgt spid="61"/>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145"/>
                                        </p:tgtEl>
                                        <p:attrNameLst>
                                          <p:attrName>style.visibility</p:attrName>
                                        </p:attrNameLst>
                                      </p:cBhvr>
                                      <p:to>
                                        <p:strVal val="visible"/>
                                      </p:to>
                                    </p:set>
                                    <p:animEffect transition="in" filter="wipe(down)">
                                      <p:cBhvr>
                                        <p:cTn id="39" dur="750"/>
                                        <p:tgtEl>
                                          <p:spTgt spid="145"/>
                                        </p:tgtEl>
                                      </p:cBhvr>
                                    </p:animEffect>
                                  </p:childTnLst>
                                </p:cTn>
                              </p:par>
                            </p:childTnLst>
                          </p:cTn>
                        </p:par>
                        <p:par>
                          <p:cTn id="40" fill="hold">
                            <p:stCondLst>
                              <p:cond delay="750"/>
                            </p:stCondLst>
                            <p:childTnLst>
                              <p:par>
                                <p:cTn id="41" presetID="10" presetClass="entr" presetSubtype="0" fill="hold" nodeType="afterEffect">
                                  <p:stCondLst>
                                    <p:cond delay="0"/>
                                  </p:stCondLst>
                                  <p:childTnLst>
                                    <p:set>
                                      <p:cBhvr>
                                        <p:cTn id="42" dur="1" fill="hold">
                                          <p:stCondLst>
                                            <p:cond delay="0"/>
                                          </p:stCondLst>
                                        </p:cTn>
                                        <p:tgtEl>
                                          <p:spTgt spid="142"/>
                                        </p:tgtEl>
                                        <p:attrNameLst>
                                          <p:attrName>style.visibility</p:attrName>
                                        </p:attrNameLst>
                                      </p:cBhvr>
                                      <p:to>
                                        <p:strVal val="visible"/>
                                      </p:to>
                                    </p:set>
                                    <p:animEffect transition="in" filter="fade">
                                      <p:cBhvr>
                                        <p:cTn id="43" dur="1000"/>
                                        <p:tgtEl>
                                          <p:spTgt spid="142"/>
                                        </p:tgtEl>
                                      </p:cBhvr>
                                    </p:animEffect>
                                  </p:childTnLst>
                                </p:cTn>
                              </p:par>
                              <p:par>
                                <p:cTn id="44" presetID="10" presetClass="entr" presetSubtype="0" fill="hold" nodeType="withEffect">
                                  <p:stCondLst>
                                    <p:cond delay="0"/>
                                  </p:stCondLst>
                                  <p:childTnLst>
                                    <p:set>
                                      <p:cBhvr>
                                        <p:cTn id="45" dur="1" fill="hold">
                                          <p:stCondLst>
                                            <p:cond delay="0"/>
                                          </p:stCondLst>
                                        </p:cTn>
                                        <p:tgtEl>
                                          <p:spTgt spid="143"/>
                                        </p:tgtEl>
                                        <p:attrNameLst>
                                          <p:attrName>style.visibility</p:attrName>
                                        </p:attrNameLst>
                                      </p:cBhvr>
                                      <p:to>
                                        <p:strVal val="visible"/>
                                      </p:to>
                                    </p:set>
                                    <p:animEffect transition="in" filter="fade">
                                      <p:cBhvr>
                                        <p:cTn id="46" dur="1000"/>
                                        <p:tgtEl>
                                          <p:spTgt spid="143"/>
                                        </p:tgtEl>
                                      </p:cBhvr>
                                    </p:animEffect>
                                  </p:childTnLst>
                                </p:cTn>
                              </p:par>
                              <p:par>
                                <p:cTn id="47" presetID="10" presetClass="entr" presetSubtype="0" fill="hold" nodeType="withEffect">
                                  <p:stCondLst>
                                    <p:cond delay="0"/>
                                  </p:stCondLst>
                                  <p:childTnLst>
                                    <p:set>
                                      <p:cBhvr>
                                        <p:cTn id="48" dur="1" fill="hold">
                                          <p:stCondLst>
                                            <p:cond delay="0"/>
                                          </p:stCondLst>
                                        </p:cTn>
                                        <p:tgtEl>
                                          <p:spTgt spid="168"/>
                                        </p:tgtEl>
                                        <p:attrNameLst>
                                          <p:attrName>style.visibility</p:attrName>
                                        </p:attrNameLst>
                                      </p:cBhvr>
                                      <p:to>
                                        <p:strVal val="visible"/>
                                      </p:to>
                                    </p:set>
                                    <p:animEffect transition="in" filter="fade">
                                      <p:cBhvr>
                                        <p:cTn id="49" dur="1000"/>
                                        <p:tgtEl>
                                          <p:spTgt spid="168"/>
                                        </p:tgtEl>
                                      </p:cBhvr>
                                    </p:animEffect>
                                  </p:childTnLst>
                                </p:cTn>
                              </p:par>
                              <p:par>
                                <p:cTn id="50" presetID="10" presetClass="entr" presetSubtype="0" fill="hold" nodeType="withEffect">
                                  <p:stCondLst>
                                    <p:cond delay="0"/>
                                  </p:stCondLst>
                                  <p:childTnLst>
                                    <p:set>
                                      <p:cBhvr>
                                        <p:cTn id="51" dur="1" fill="hold">
                                          <p:stCondLst>
                                            <p:cond delay="0"/>
                                          </p:stCondLst>
                                        </p:cTn>
                                        <p:tgtEl>
                                          <p:spTgt spid="169"/>
                                        </p:tgtEl>
                                        <p:attrNameLst>
                                          <p:attrName>style.visibility</p:attrName>
                                        </p:attrNameLst>
                                      </p:cBhvr>
                                      <p:to>
                                        <p:strVal val="visible"/>
                                      </p:to>
                                    </p:set>
                                    <p:animEffect transition="in" filter="fade">
                                      <p:cBhvr>
                                        <p:cTn id="52" dur="1000"/>
                                        <p:tgtEl>
                                          <p:spTgt spid="169"/>
                                        </p:tgtEl>
                                      </p:cBhvr>
                                    </p:animEffect>
                                  </p:childTnLst>
                                </p:cTn>
                              </p:par>
                              <p:par>
                                <p:cTn id="53" presetID="10" presetClass="entr" presetSubtype="0" fill="hold" nodeType="withEffect">
                                  <p:stCondLst>
                                    <p:cond delay="0"/>
                                  </p:stCondLst>
                                  <p:childTnLst>
                                    <p:set>
                                      <p:cBhvr>
                                        <p:cTn id="54" dur="1" fill="hold">
                                          <p:stCondLst>
                                            <p:cond delay="0"/>
                                          </p:stCondLst>
                                        </p:cTn>
                                        <p:tgtEl>
                                          <p:spTgt spid="155"/>
                                        </p:tgtEl>
                                        <p:attrNameLst>
                                          <p:attrName>style.visibility</p:attrName>
                                        </p:attrNameLst>
                                      </p:cBhvr>
                                      <p:to>
                                        <p:strVal val="visible"/>
                                      </p:to>
                                    </p:set>
                                    <p:animEffect transition="in" filter="fade">
                                      <p:cBhvr>
                                        <p:cTn id="55" dur="1000"/>
                                        <p:tgtEl>
                                          <p:spTgt spid="155"/>
                                        </p:tgtEl>
                                      </p:cBhvr>
                                    </p:animEffect>
                                  </p:childTnLst>
                                </p:cTn>
                              </p:par>
                            </p:childTnLst>
                          </p:cTn>
                        </p:par>
                      </p:childTnLst>
                    </p:cTn>
                  </p:par>
                  <p:par>
                    <p:cTn id="56" fill="hold">
                      <p:stCondLst>
                        <p:cond delay="indefinite"/>
                      </p:stCondLst>
                      <p:childTnLst>
                        <p:par>
                          <p:cTn id="57" fill="hold">
                            <p:stCondLst>
                              <p:cond delay="0"/>
                            </p:stCondLst>
                            <p:childTnLst>
                              <p:par>
                                <p:cTn id="58" presetID="53" presetClass="entr" presetSubtype="16" fill="hold" nodeType="clickEffect">
                                  <p:stCondLst>
                                    <p:cond delay="0"/>
                                  </p:stCondLst>
                                  <p:childTnLst>
                                    <p:set>
                                      <p:cBhvr>
                                        <p:cTn id="59" dur="1" fill="hold">
                                          <p:stCondLst>
                                            <p:cond delay="0"/>
                                          </p:stCondLst>
                                        </p:cTn>
                                        <p:tgtEl>
                                          <p:spTgt spid="158"/>
                                        </p:tgtEl>
                                        <p:attrNameLst>
                                          <p:attrName>style.visibility</p:attrName>
                                        </p:attrNameLst>
                                      </p:cBhvr>
                                      <p:to>
                                        <p:strVal val="visible"/>
                                      </p:to>
                                    </p:set>
                                    <p:anim calcmode="lin" valueType="num">
                                      <p:cBhvr>
                                        <p:cTn id="60" dur="750" fill="hold"/>
                                        <p:tgtEl>
                                          <p:spTgt spid="158"/>
                                        </p:tgtEl>
                                        <p:attrNameLst>
                                          <p:attrName>ppt_w</p:attrName>
                                        </p:attrNameLst>
                                      </p:cBhvr>
                                      <p:tavLst>
                                        <p:tav tm="0">
                                          <p:val>
                                            <p:fltVal val="0"/>
                                          </p:val>
                                        </p:tav>
                                        <p:tav tm="100000">
                                          <p:val>
                                            <p:strVal val="#ppt_w"/>
                                          </p:val>
                                        </p:tav>
                                      </p:tavLst>
                                    </p:anim>
                                    <p:anim calcmode="lin" valueType="num">
                                      <p:cBhvr>
                                        <p:cTn id="61" dur="750" fill="hold"/>
                                        <p:tgtEl>
                                          <p:spTgt spid="158"/>
                                        </p:tgtEl>
                                        <p:attrNameLst>
                                          <p:attrName>ppt_h</p:attrName>
                                        </p:attrNameLst>
                                      </p:cBhvr>
                                      <p:tavLst>
                                        <p:tav tm="0">
                                          <p:val>
                                            <p:fltVal val="0"/>
                                          </p:val>
                                        </p:tav>
                                        <p:tav tm="100000">
                                          <p:val>
                                            <p:strVal val="#ppt_h"/>
                                          </p:val>
                                        </p:tav>
                                      </p:tavLst>
                                    </p:anim>
                                    <p:animEffect transition="in" filter="fade">
                                      <p:cBhvr>
                                        <p:cTn id="62" dur="750"/>
                                        <p:tgtEl>
                                          <p:spTgt spid="158"/>
                                        </p:tgtEl>
                                      </p:cBhvr>
                                    </p:animEffect>
                                  </p:childTnLst>
                                </p:cTn>
                              </p:par>
                              <p:par>
                                <p:cTn id="63" presetID="10" presetClass="entr" presetSubtype="0" fill="hold" nodeType="withEffect">
                                  <p:stCondLst>
                                    <p:cond delay="0"/>
                                  </p:stCondLst>
                                  <p:childTnLst>
                                    <p:set>
                                      <p:cBhvr>
                                        <p:cTn id="64" dur="1" fill="hold">
                                          <p:stCondLst>
                                            <p:cond delay="0"/>
                                          </p:stCondLst>
                                        </p:cTn>
                                        <p:tgtEl>
                                          <p:spTgt spid="170"/>
                                        </p:tgtEl>
                                        <p:attrNameLst>
                                          <p:attrName>style.visibility</p:attrName>
                                        </p:attrNameLst>
                                      </p:cBhvr>
                                      <p:to>
                                        <p:strVal val="visible"/>
                                      </p:to>
                                    </p:set>
                                    <p:animEffect transition="in" filter="fade">
                                      <p:cBhvr>
                                        <p:cTn id="65" dur="1000"/>
                                        <p:tgtEl>
                                          <p:spTgt spid="170"/>
                                        </p:tgtEl>
                                      </p:cBhvr>
                                    </p:animEffect>
                                  </p:childTnLst>
                                </p:cTn>
                              </p:par>
                              <p:par>
                                <p:cTn id="66" presetID="53" presetClass="entr" presetSubtype="16" fill="hold" grpId="0" nodeType="withEffect">
                                  <p:stCondLst>
                                    <p:cond delay="0"/>
                                  </p:stCondLst>
                                  <p:childTnLst>
                                    <p:set>
                                      <p:cBhvr>
                                        <p:cTn id="67" dur="1" fill="hold">
                                          <p:stCondLst>
                                            <p:cond delay="0"/>
                                          </p:stCondLst>
                                        </p:cTn>
                                        <p:tgtEl>
                                          <p:spTgt spid="26"/>
                                        </p:tgtEl>
                                        <p:attrNameLst>
                                          <p:attrName>style.visibility</p:attrName>
                                        </p:attrNameLst>
                                      </p:cBhvr>
                                      <p:to>
                                        <p:strVal val="visible"/>
                                      </p:to>
                                    </p:set>
                                    <p:anim calcmode="lin" valueType="num">
                                      <p:cBhvr>
                                        <p:cTn id="68" dur="500" fill="hold"/>
                                        <p:tgtEl>
                                          <p:spTgt spid="26"/>
                                        </p:tgtEl>
                                        <p:attrNameLst>
                                          <p:attrName>ppt_w</p:attrName>
                                        </p:attrNameLst>
                                      </p:cBhvr>
                                      <p:tavLst>
                                        <p:tav tm="0">
                                          <p:val>
                                            <p:fltVal val="0"/>
                                          </p:val>
                                        </p:tav>
                                        <p:tav tm="100000">
                                          <p:val>
                                            <p:strVal val="#ppt_w"/>
                                          </p:val>
                                        </p:tav>
                                      </p:tavLst>
                                    </p:anim>
                                    <p:anim calcmode="lin" valueType="num">
                                      <p:cBhvr>
                                        <p:cTn id="69" dur="500" fill="hold"/>
                                        <p:tgtEl>
                                          <p:spTgt spid="26"/>
                                        </p:tgtEl>
                                        <p:attrNameLst>
                                          <p:attrName>ppt_h</p:attrName>
                                        </p:attrNameLst>
                                      </p:cBhvr>
                                      <p:tavLst>
                                        <p:tav tm="0">
                                          <p:val>
                                            <p:fltVal val="0"/>
                                          </p:val>
                                        </p:tav>
                                        <p:tav tm="100000">
                                          <p:val>
                                            <p:strVal val="#ppt_h"/>
                                          </p:val>
                                        </p:tav>
                                      </p:tavLst>
                                    </p:anim>
                                    <p:animEffect transition="in" filter="fade">
                                      <p:cBhvr>
                                        <p:cTn id="7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6" grpId="0"/>
      <p:bldP spid="61" grpId="0" animBg="1"/>
      <p:bldP spid="14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6F7E25-204C-6048-1297-9A863CC65240}"/>
              </a:ext>
            </a:extLst>
          </p:cNvPr>
          <p:cNvGraphicFramePr>
            <a:graphicFrameLocks noChangeAspect="1"/>
          </p:cNvGraphicFramePr>
          <p:nvPr>
            <p:custDataLst>
              <p:tags r:id="rId1"/>
            </p:custDataLst>
            <p:extLst>
              <p:ext uri="{D42A27DB-BD31-4B8C-83A1-F6EECF244321}">
                <p14:modId xmlns:p14="http://schemas.microsoft.com/office/powerpoint/2010/main" val="1618518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A26F7E25-204C-6048-1297-9A863CC652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CF6803-927F-F293-EA8C-70D69CA5E447}"/>
              </a:ext>
            </a:extLst>
          </p:cNvPr>
          <p:cNvSpPr>
            <a:spLocks noGrp="1"/>
          </p:cNvSpPr>
          <p:nvPr>
            <p:ph type="title"/>
          </p:nvPr>
        </p:nvSpPr>
        <p:spPr>
          <a:xfrm>
            <a:off x="410400" y="478800"/>
            <a:ext cx="11007568" cy="576000"/>
          </a:xfrm>
        </p:spPr>
        <p:txBody>
          <a:bodyPr vert="horz"/>
          <a:lstStyle/>
          <a:p>
            <a:r>
              <a:rPr lang="en-US"/>
              <a:t>Siemens’ pledge towards the process industries</a:t>
            </a:r>
            <a:br>
              <a:rPr lang="en-US"/>
            </a:br>
            <a:r>
              <a:rPr lang="en-US" b="0"/>
              <a:t>Driving the Software-Defined Automation journey together with our customers &amp; partners</a:t>
            </a:r>
            <a:br>
              <a:rPr lang="en-US"/>
            </a:br>
            <a:endParaRPr lang="en-US"/>
          </a:p>
        </p:txBody>
      </p:sp>
      <p:sp>
        <p:nvSpPr>
          <p:cNvPr id="3" name="Fußzeilenplatzhalter 2">
            <a:extLst>
              <a:ext uri="{FF2B5EF4-FFF2-40B4-BE49-F238E27FC236}">
                <a16:creationId xmlns:a16="http://schemas.microsoft.com/office/drawing/2014/main" id="{F60C728E-595E-8B38-28F8-9C2AA0147BD0}"/>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11" name="Overview map" descr="Overview world map (Europe-centered)">
            <a:extLst>
              <a:ext uri="{FF2B5EF4-FFF2-40B4-BE49-F238E27FC236}">
                <a16:creationId xmlns:a16="http://schemas.microsoft.com/office/drawing/2014/main" id="{E0A05AA5-3F21-15B2-43B7-0F1A67D59140}"/>
              </a:ext>
            </a:extLst>
          </p:cNvPr>
          <p:cNvSpPr>
            <a:spLocks/>
          </p:cNvSpPr>
          <p:nvPr/>
        </p:nvSpPr>
        <p:spPr bwMode="auto">
          <a:xfrm>
            <a:off x="411163" y="1137424"/>
            <a:ext cx="8167022" cy="5239824"/>
          </a:xfrm>
          <a:custGeom>
            <a:avLst/>
            <a:gdLst>
              <a:gd name="connsiteX0" fmla="*/ 2060994 w 7402822"/>
              <a:gd name="connsiteY0" fmla="*/ 4745373 h 4749526"/>
              <a:gd name="connsiteX1" fmla="*/ 2064348 w 7402822"/>
              <a:gd name="connsiteY1" fmla="*/ 4746491 h 4749526"/>
              <a:gd name="connsiteX2" fmla="*/ 2061312 w 7402822"/>
              <a:gd name="connsiteY2" fmla="*/ 4746491 h 4749526"/>
              <a:gd name="connsiteX3" fmla="*/ 2076492 w 7402822"/>
              <a:gd name="connsiteY3" fmla="*/ 4743454 h 4749526"/>
              <a:gd name="connsiteX4" fmla="*/ 2079527 w 7402822"/>
              <a:gd name="connsiteY4" fmla="*/ 4749526 h 4749526"/>
              <a:gd name="connsiteX5" fmla="*/ 2076492 w 7402822"/>
              <a:gd name="connsiteY5" fmla="*/ 4749526 h 4749526"/>
              <a:gd name="connsiteX6" fmla="*/ 2073456 w 7402822"/>
              <a:gd name="connsiteY6" fmla="*/ 4749526 h 4749526"/>
              <a:gd name="connsiteX7" fmla="*/ 2021847 w 7402822"/>
              <a:gd name="connsiteY7" fmla="*/ 4722204 h 4749526"/>
              <a:gd name="connsiteX8" fmla="*/ 2037026 w 7402822"/>
              <a:gd name="connsiteY8" fmla="*/ 4722204 h 4749526"/>
              <a:gd name="connsiteX9" fmla="*/ 2040062 w 7402822"/>
              <a:gd name="connsiteY9" fmla="*/ 4722204 h 4749526"/>
              <a:gd name="connsiteX10" fmla="*/ 2033991 w 7402822"/>
              <a:gd name="connsiteY10" fmla="*/ 4724228 h 4749526"/>
              <a:gd name="connsiteX11" fmla="*/ 2046133 w 7402822"/>
              <a:gd name="connsiteY11" fmla="*/ 4722204 h 4749526"/>
              <a:gd name="connsiteX12" fmla="*/ 2055241 w 7402822"/>
              <a:gd name="connsiteY12" fmla="*/ 4725240 h 4749526"/>
              <a:gd name="connsiteX13" fmla="*/ 2060994 w 7402822"/>
              <a:gd name="connsiteY13" fmla="*/ 4745373 h 4749526"/>
              <a:gd name="connsiteX14" fmla="*/ 2055241 w 7402822"/>
              <a:gd name="connsiteY14" fmla="*/ 4743454 h 4749526"/>
              <a:gd name="connsiteX15" fmla="*/ 2046133 w 7402822"/>
              <a:gd name="connsiteY15" fmla="*/ 4737384 h 4749526"/>
              <a:gd name="connsiteX16" fmla="*/ 2040062 w 7402822"/>
              <a:gd name="connsiteY16" fmla="*/ 4737384 h 4749526"/>
              <a:gd name="connsiteX17" fmla="*/ 2037026 w 7402822"/>
              <a:gd name="connsiteY17" fmla="*/ 4740419 h 4749526"/>
              <a:gd name="connsiteX18" fmla="*/ 2030954 w 7402822"/>
              <a:gd name="connsiteY18" fmla="*/ 4734347 h 4749526"/>
              <a:gd name="connsiteX19" fmla="*/ 2021847 w 7402822"/>
              <a:gd name="connsiteY19" fmla="*/ 4731312 h 4749526"/>
              <a:gd name="connsiteX20" fmla="*/ 2021847 w 7402822"/>
              <a:gd name="connsiteY20" fmla="*/ 4725240 h 4749526"/>
              <a:gd name="connsiteX21" fmla="*/ 2027919 w 7402822"/>
              <a:gd name="connsiteY21" fmla="*/ 4725240 h 4749526"/>
              <a:gd name="connsiteX22" fmla="*/ 2029943 w 7402822"/>
              <a:gd name="connsiteY22" fmla="*/ 4724902 h 4749526"/>
              <a:gd name="connsiteX23" fmla="*/ 2070420 w 7402822"/>
              <a:gd name="connsiteY23" fmla="*/ 4719168 h 4749526"/>
              <a:gd name="connsiteX24" fmla="*/ 2082563 w 7402822"/>
              <a:gd name="connsiteY24" fmla="*/ 4728276 h 4749526"/>
              <a:gd name="connsiteX25" fmla="*/ 2079527 w 7402822"/>
              <a:gd name="connsiteY25" fmla="*/ 4734347 h 4749526"/>
              <a:gd name="connsiteX26" fmla="*/ 2070420 w 7402822"/>
              <a:gd name="connsiteY26" fmla="*/ 4734347 h 4749526"/>
              <a:gd name="connsiteX27" fmla="*/ 2061312 w 7402822"/>
              <a:gd name="connsiteY27" fmla="*/ 4731312 h 4749526"/>
              <a:gd name="connsiteX28" fmla="*/ 2055241 w 7402822"/>
              <a:gd name="connsiteY28" fmla="*/ 4722204 h 4749526"/>
              <a:gd name="connsiteX29" fmla="*/ 2015775 w 7402822"/>
              <a:gd name="connsiteY29" fmla="*/ 4719168 h 4749526"/>
              <a:gd name="connsiteX30" fmla="*/ 2015775 w 7402822"/>
              <a:gd name="connsiteY30" fmla="*/ 4728276 h 4749526"/>
              <a:gd name="connsiteX31" fmla="*/ 2012740 w 7402822"/>
              <a:gd name="connsiteY31" fmla="*/ 4731312 h 4749526"/>
              <a:gd name="connsiteX32" fmla="*/ 2003633 w 7402822"/>
              <a:gd name="connsiteY32" fmla="*/ 4725240 h 4749526"/>
              <a:gd name="connsiteX33" fmla="*/ 2000596 w 7402822"/>
              <a:gd name="connsiteY33" fmla="*/ 4722204 h 4749526"/>
              <a:gd name="connsiteX34" fmla="*/ 2003633 w 7402822"/>
              <a:gd name="connsiteY34" fmla="*/ 4722204 h 4749526"/>
              <a:gd name="connsiteX35" fmla="*/ 1994524 w 7402822"/>
              <a:gd name="connsiteY35" fmla="*/ 4716133 h 4749526"/>
              <a:gd name="connsiteX36" fmla="*/ 2000596 w 7402822"/>
              <a:gd name="connsiteY36" fmla="*/ 4719168 h 4749526"/>
              <a:gd name="connsiteX37" fmla="*/ 1991489 w 7402822"/>
              <a:gd name="connsiteY37" fmla="*/ 4722204 h 4749526"/>
              <a:gd name="connsiteX38" fmla="*/ 2140244 w 7402822"/>
              <a:gd name="connsiteY38" fmla="*/ 4713097 h 4749526"/>
              <a:gd name="connsiteX39" fmla="*/ 2146316 w 7402822"/>
              <a:gd name="connsiteY39" fmla="*/ 4713097 h 4749526"/>
              <a:gd name="connsiteX40" fmla="*/ 2149352 w 7402822"/>
              <a:gd name="connsiteY40" fmla="*/ 4716133 h 4749526"/>
              <a:gd name="connsiteX41" fmla="*/ 2137209 w 7402822"/>
              <a:gd name="connsiteY41" fmla="*/ 4719168 h 4749526"/>
              <a:gd name="connsiteX42" fmla="*/ 2131137 w 7402822"/>
              <a:gd name="connsiteY42" fmla="*/ 4716133 h 4749526"/>
              <a:gd name="connsiteX43" fmla="*/ 2686690 w 7402822"/>
              <a:gd name="connsiteY43" fmla="*/ 4688810 h 4749526"/>
              <a:gd name="connsiteX44" fmla="*/ 2695797 w 7402822"/>
              <a:gd name="connsiteY44" fmla="*/ 4688810 h 4749526"/>
              <a:gd name="connsiteX45" fmla="*/ 2707941 w 7402822"/>
              <a:gd name="connsiteY45" fmla="*/ 4691846 h 4749526"/>
              <a:gd name="connsiteX46" fmla="*/ 2726155 w 7402822"/>
              <a:gd name="connsiteY46" fmla="*/ 4716133 h 4749526"/>
              <a:gd name="connsiteX47" fmla="*/ 2723120 w 7402822"/>
              <a:gd name="connsiteY47" fmla="*/ 4719168 h 4749526"/>
              <a:gd name="connsiteX48" fmla="*/ 2714012 w 7402822"/>
              <a:gd name="connsiteY48" fmla="*/ 4707025 h 4749526"/>
              <a:gd name="connsiteX49" fmla="*/ 2698833 w 7402822"/>
              <a:gd name="connsiteY49" fmla="*/ 4691846 h 4749526"/>
              <a:gd name="connsiteX50" fmla="*/ 2692762 w 7402822"/>
              <a:gd name="connsiteY50" fmla="*/ 4691846 h 4749526"/>
              <a:gd name="connsiteX51" fmla="*/ 1988453 w 7402822"/>
              <a:gd name="connsiteY51" fmla="*/ 4685774 h 4749526"/>
              <a:gd name="connsiteX52" fmla="*/ 1994524 w 7402822"/>
              <a:gd name="connsiteY52" fmla="*/ 4688810 h 4749526"/>
              <a:gd name="connsiteX53" fmla="*/ 2000596 w 7402822"/>
              <a:gd name="connsiteY53" fmla="*/ 4697918 h 4749526"/>
              <a:gd name="connsiteX54" fmla="*/ 1991489 w 7402822"/>
              <a:gd name="connsiteY54" fmla="*/ 4697918 h 4749526"/>
              <a:gd name="connsiteX55" fmla="*/ 1988453 w 7402822"/>
              <a:gd name="connsiteY55" fmla="*/ 4694882 h 4749526"/>
              <a:gd name="connsiteX56" fmla="*/ 1979346 w 7402822"/>
              <a:gd name="connsiteY56" fmla="*/ 4682739 h 4749526"/>
              <a:gd name="connsiteX57" fmla="*/ 1985417 w 7402822"/>
              <a:gd name="connsiteY57" fmla="*/ 4682739 h 4749526"/>
              <a:gd name="connsiteX58" fmla="*/ 1988453 w 7402822"/>
              <a:gd name="connsiteY58" fmla="*/ 4685774 h 4749526"/>
              <a:gd name="connsiteX59" fmla="*/ 1982382 w 7402822"/>
              <a:gd name="connsiteY59" fmla="*/ 4697918 h 4749526"/>
              <a:gd name="connsiteX60" fmla="*/ 1976310 w 7402822"/>
              <a:gd name="connsiteY60" fmla="*/ 4691846 h 4749526"/>
              <a:gd name="connsiteX61" fmla="*/ 1976310 w 7402822"/>
              <a:gd name="connsiteY61" fmla="*/ 4685774 h 4749526"/>
              <a:gd name="connsiteX62" fmla="*/ 2012740 w 7402822"/>
              <a:gd name="connsiteY62" fmla="*/ 4673631 h 4749526"/>
              <a:gd name="connsiteX63" fmla="*/ 2012740 w 7402822"/>
              <a:gd name="connsiteY63" fmla="*/ 4682739 h 4749526"/>
              <a:gd name="connsiteX64" fmla="*/ 2015775 w 7402822"/>
              <a:gd name="connsiteY64" fmla="*/ 4688810 h 4749526"/>
              <a:gd name="connsiteX65" fmla="*/ 2009703 w 7402822"/>
              <a:gd name="connsiteY65" fmla="*/ 4694882 h 4749526"/>
              <a:gd name="connsiteX66" fmla="*/ 2006668 w 7402822"/>
              <a:gd name="connsiteY66" fmla="*/ 4691846 h 4749526"/>
              <a:gd name="connsiteX67" fmla="*/ 2003633 w 7402822"/>
              <a:gd name="connsiteY67" fmla="*/ 4685774 h 4749526"/>
              <a:gd name="connsiteX68" fmla="*/ 2006668 w 7402822"/>
              <a:gd name="connsiteY68" fmla="*/ 4679703 h 4749526"/>
              <a:gd name="connsiteX69" fmla="*/ 1961131 w 7402822"/>
              <a:gd name="connsiteY69" fmla="*/ 4667560 h 4749526"/>
              <a:gd name="connsiteX70" fmla="*/ 1976310 w 7402822"/>
              <a:gd name="connsiteY70" fmla="*/ 4679703 h 4749526"/>
              <a:gd name="connsiteX71" fmla="*/ 1970238 w 7402822"/>
              <a:gd name="connsiteY71" fmla="*/ 4688810 h 4749526"/>
              <a:gd name="connsiteX72" fmla="*/ 1964167 w 7402822"/>
              <a:gd name="connsiteY72" fmla="*/ 4691846 h 4749526"/>
              <a:gd name="connsiteX73" fmla="*/ 1961131 w 7402822"/>
              <a:gd name="connsiteY73" fmla="*/ 4688810 h 4749526"/>
              <a:gd name="connsiteX74" fmla="*/ 1967203 w 7402822"/>
              <a:gd name="connsiteY74" fmla="*/ 4682739 h 4749526"/>
              <a:gd name="connsiteX75" fmla="*/ 1958095 w 7402822"/>
              <a:gd name="connsiteY75" fmla="*/ 4682739 h 4749526"/>
              <a:gd name="connsiteX76" fmla="*/ 1958095 w 7402822"/>
              <a:gd name="connsiteY76" fmla="*/ 4688810 h 4749526"/>
              <a:gd name="connsiteX77" fmla="*/ 1948988 w 7402822"/>
              <a:gd name="connsiteY77" fmla="*/ 4673631 h 4749526"/>
              <a:gd name="connsiteX78" fmla="*/ 1924701 w 7402822"/>
              <a:gd name="connsiteY78" fmla="*/ 4643274 h 4749526"/>
              <a:gd name="connsiteX79" fmla="*/ 1936844 w 7402822"/>
              <a:gd name="connsiteY79" fmla="*/ 4652381 h 4749526"/>
              <a:gd name="connsiteX80" fmla="*/ 1945952 w 7402822"/>
              <a:gd name="connsiteY80" fmla="*/ 4655416 h 4749526"/>
              <a:gd name="connsiteX81" fmla="*/ 1952023 w 7402822"/>
              <a:gd name="connsiteY81" fmla="*/ 4658453 h 4749526"/>
              <a:gd name="connsiteX82" fmla="*/ 1958095 w 7402822"/>
              <a:gd name="connsiteY82" fmla="*/ 4664524 h 4749526"/>
              <a:gd name="connsiteX83" fmla="*/ 1948988 w 7402822"/>
              <a:gd name="connsiteY83" fmla="*/ 4664524 h 4749526"/>
              <a:gd name="connsiteX84" fmla="*/ 1933809 w 7402822"/>
              <a:gd name="connsiteY84" fmla="*/ 4655416 h 4749526"/>
              <a:gd name="connsiteX85" fmla="*/ 1927737 w 7402822"/>
              <a:gd name="connsiteY85" fmla="*/ 4649344 h 4749526"/>
              <a:gd name="connsiteX86" fmla="*/ 2030954 w 7402822"/>
              <a:gd name="connsiteY86" fmla="*/ 4640237 h 4749526"/>
              <a:gd name="connsiteX87" fmla="*/ 2049169 w 7402822"/>
              <a:gd name="connsiteY87" fmla="*/ 4640237 h 4749526"/>
              <a:gd name="connsiteX88" fmla="*/ 2049169 w 7402822"/>
              <a:gd name="connsiteY88" fmla="*/ 4659558 h 4749526"/>
              <a:gd name="connsiteX89" fmla="*/ 2049170 w 7402822"/>
              <a:gd name="connsiteY89" fmla="*/ 4659559 h 4749526"/>
              <a:gd name="connsiteX90" fmla="*/ 2049170 w 7402822"/>
              <a:gd name="connsiteY90" fmla="*/ 4640237 h 4749526"/>
              <a:gd name="connsiteX91" fmla="*/ 2052206 w 7402822"/>
              <a:gd name="connsiteY91" fmla="*/ 4649344 h 4749526"/>
              <a:gd name="connsiteX92" fmla="*/ 2052206 w 7402822"/>
              <a:gd name="connsiteY92" fmla="*/ 4658453 h 4749526"/>
              <a:gd name="connsiteX93" fmla="*/ 2055242 w 7402822"/>
              <a:gd name="connsiteY93" fmla="*/ 4667560 h 4749526"/>
              <a:gd name="connsiteX94" fmla="*/ 2067385 w 7402822"/>
              <a:gd name="connsiteY94" fmla="*/ 4679703 h 4749526"/>
              <a:gd name="connsiteX95" fmla="*/ 2073457 w 7402822"/>
              <a:gd name="connsiteY95" fmla="*/ 4685774 h 4749526"/>
              <a:gd name="connsiteX96" fmla="*/ 2079528 w 7402822"/>
              <a:gd name="connsiteY96" fmla="*/ 4691846 h 4749526"/>
              <a:gd name="connsiteX97" fmla="*/ 2088636 w 7402822"/>
              <a:gd name="connsiteY97" fmla="*/ 4697918 h 4749526"/>
              <a:gd name="connsiteX98" fmla="*/ 2094707 w 7402822"/>
              <a:gd name="connsiteY98" fmla="*/ 4703989 h 4749526"/>
              <a:gd name="connsiteX99" fmla="*/ 2100779 w 7402822"/>
              <a:gd name="connsiteY99" fmla="*/ 4707025 h 4749526"/>
              <a:gd name="connsiteX100" fmla="*/ 2112923 w 7402822"/>
              <a:gd name="connsiteY100" fmla="*/ 4710061 h 4749526"/>
              <a:gd name="connsiteX101" fmla="*/ 2122030 w 7402822"/>
              <a:gd name="connsiteY101" fmla="*/ 4710061 h 4749526"/>
              <a:gd name="connsiteX102" fmla="*/ 2118993 w 7402822"/>
              <a:gd name="connsiteY102" fmla="*/ 4722204 h 4749526"/>
              <a:gd name="connsiteX103" fmla="*/ 2106851 w 7402822"/>
              <a:gd name="connsiteY103" fmla="*/ 4722204 h 4749526"/>
              <a:gd name="connsiteX104" fmla="*/ 2088636 w 7402822"/>
              <a:gd name="connsiteY104" fmla="*/ 4722204 h 4749526"/>
              <a:gd name="connsiteX105" fmla="*/ 2073457 w 7402822"/>
              <a:gd name="connsiteY105" fmla="*/ 4719168 h 4749526"/>
              <a:gd name="connsiteX106" fmla="*/ 2049170 w 7402822"/>
              <a:gd name="connsiteY106" fmla="*/ 4716133 h 4749526"/>
              <a:gd name="connsiteX107" fmla="*/ 2049170 w 7402822"/>
              <a:gd name="connsiteY107" fmla="*/ 4715373 h 4749526"/>
              <a:gd name="connsiteX108" fmla="*/ 2049169 w 7402822"/>
              <a:gd name="connsiteY108" fmla="*/ 4715370 h 4749526"/>
              <a:gd name="connsiteX109" fmla="*/ 2049169 w 7402822"/>
              <a:gd name="connsiteY109" fmla="*/ 4716133 h 4749526"/>
              <a:gd name="connsiteX110" fmla="*/ 2049169 w 7402822"/>
              <a:gd name="connsiteY110" fmla="*/ 4719168 h 4749526"/>
              <a:gd name="connsiteX111" fmla="*/ 2040062 w 7402822"/>
              <a:gd name="connsiteY111" fmla="*/ 4722204 h 4749526"/>
              <a:gd name="connsiteX112" fmla="*/ 2027919 w 7402822"/>
              <a:gd name="connsiteY112" fmla="*/ 4713097 h 4749526"/>
              <a:gd name="connsiteX113" fmla="*/ 2006668 w 7402822"/>
              <a:gd name="connsiteY113" fmla="*/ 4713097 h 4749526"/>
              <a:gd name="connsiteX114" fmla="*/ 2000596 w 7402822"/>
              <a:gd name="connsiteY114" fmla="*/ 4713097 h 4749526"/>
              <a:gd name="connsiteX115" fmla="*/ 1994524 w 7402822"/>
              <a:gd name="connsiteY115" fmla="*/ 4707025 h 4749526"/>
              <a:gd name="connsiteX116" fmla="*/ 1988453 w 7402822"/>
              <a:gd name="connsiteY116" fmla="*/ 4707025 h 4749526"/>
              <a:gd name="connsiteX117" fmla="*/ 1985417 w 7402822"/>
              <a:gd name="connsiteY117" fmla="*/ 4700954 h 4749526"/>
              <a:gd name="connsiteX118" fmla="*/ 2033991 w 7402822"/>
              <a:gd name="connsiteY118" fmla="*/ 4700954 h 4749526"/>
              <a:gd name="connsiteX119" fmla="*/ 2033991 w 7402822"/>
              <a:gd name="connsiteY119" fmla="*/ 4707025 h 4749526"/>
              <a:gd name="connsiteX120" fmla="*/ 2040062 w 7402822"/>
              <a:gd name="connsiteY120" fmla="*/ 4707025 h 4749526"/>
              <a:gd name="connsiteX121" fmla="*/ 2040062 w 7402822"/>
              <a:gd name="connsiteY121" fmla="*/ 4700954 h 4749526"/>
              <a:gd name="connsiteX122" fmla="*/ 2027919 w 7402822"/>
              <a:gd name="connsiteY122" fmla="*/ 4694882 h 4749526"/>
              <a:gd name="connsiteX123" fmla="*/ 2018812 w 7402822"/>
              <a:gd name="connsiteY123" fmla="*/ 4688810 h 4749526"/>
              <a:gd name="connsiteX124" fmla="*/ 2018812 w 7402822"/>
              <a:gd name="connsiteY124" fmla="*/ 4679703 h 4749526"/>
              <a:gd name="connsiteX125" fmla="*/ 2021847 w 7402822"/>
              <a:gd name="connsiteY125" fmla="*/ 4676667 h 4749526"/>
              <a:gd name="connsiteX126" fmla="*/ 2033991 w 7402822"/>
              <a:gd name="connsiteY126" fmla="*/ 4670595 h 4749526"/>
              <a:gd name="connsiteX127" fmla="*/ 2033991 w 7402822"/>
              <a:gd name="connsiteY127" fmla="*/ 4664524 h 4749526"/>
              <a:gd name="connsiteX128" fmla="*/ 2021847 w 7402822"/>
              <a:gd name="connsiteY128" fmla="*/ 4664524 h 4749526"/>
              <a:gd name="connsiteX129" fmla="*/ 2015775 w 7402822"/>
              <a:gd name="connsiteY129" fmla="*/ 4670595 h 4749526"/>
              <a:gd name="connsiteX130" fmla="*/ 2012740 w 7402822"/>
              <a:gd name="connsiteY130" fmla="*/ 4664524 h 4749526"/>
              <a:gd name="connsiteX131" fmla="*/ 2012740 w 7402822"/>
              <a:gd name="connsiteY131" fmla="*/ 4655416 h 4749526"/>
              <a:gd name="connsiteX132" fmla="*/ 2021847 w 7402822"/>
              <a:gd name="connsiteY132" fmla="*/ 4649344 h 4749526"/>
              <a:gd name="connsiteX133" fmla="*/ 1921665 w 7402822"/>
              <a:gd name="connsiteY133" fmla="*/ 4606844 h 4749526"/>
              <a:gd name="connsiteX134" fmla="*/ 1921665 w 7402822"/>
              <a:gd name="connsiteY134" fmla="*/ 4618986 h 4749526"/>
              <a:gd name="connsiteX135" fmla="*/ 1918630 w 7402822"/>
              <a:gd name="connsiteY135" fmla="*/ 4622023 h 4749526"/>
              <a:gd name="connsiteX136" fmla="*/ 1918630 w 7402822"/>
              <a:gd name="connsiteY136" fmla="*/ 4609879 h 4749526"/>
              <a:gd name="connsiteX137" fmla="*/ 2249533 w 7402822"/>
              <a:gd name="connsiteY137" fmla="*/ 4597736 h 4749526"/>
              <a:gd name="connsiteX138" fmla="*/ 2255605 w 7402822"/>
              <a:gd name="connsiteY138" fmla="*/ 4597736 h 4749526"/>
              <a:gd name="connsiteX139" fmla="*/ 2261677 w 7402822"/>
              <a:gd name="connsiteY139" fmla="*/ 4597736 h 4749526"/>
              <a:gd name="connsiteX140" fmla="*/ 2264712 w 7402822"/>
              <a:gd name="connsiteY140" fmla="*/ 4597736 h 4749526"/>
              <a:gd name="connsiteX141" fmla="*/ 2273820 w 7402822"/>
              <a:gd name="connsiteY141" fmla="*/ 4600772 h 4749526"/>
              <a:gd name="connsiteX142" fmla="*/ 2273820 w 7402822"/>
              <a:gd name="connsiteY142" fmla="*/ 4609879 h 4749526"/>
              <a:gd name="connsiteX143" fmla="*/ 2267748 w 7402822"/>
              <a:gd name="connsiteY143" fmla="*/ 4609879 h 4749526"/>
              <a:gd name="connsiteX144" fmla="*/ 2261677 w 7402822"/>
              <a:gd name="connsiteY144" fmla="*/ 4612915 h 4749526"/>
              <a:gd name="connsiteX145" fmla="*/ 2258641 w 7402822"/>
              <a:gd name="connsiteY145" fmla="*/ 4618986 h 4749526"/>
              <a:gd name="connsiteX146" fmla="*/ 2246498 w 7402822"/>
              <a:gd name="connsiteY146" fmla="*/ 4628095 h 4749526"/>
              <a:gd name="connsiteX147" fmla="*/ 2240426 w 7402822"/>
              <a:gd name="connsiteY147" fmla="*/ 4631130 h 4749526"/>
              <a:gd name="connsiteX148" fmla="*/ 2234354 w 7402822"/>
              <a:gd name="connsiteY148" fmla="*/ 4625058 h 4749526"/>
              <a:gd name="connsiteX149" fmla="*/ 2240426 w 7402822"/>
              <a:gd name="connsiteY149" fmla="*/ 4612915 h 4749526"/>
              <a:gd name="connsiteX150" fmla="*/ 2246498 w 7402822"/>
              <a:gd name="connsiteY150" fmla="*/ 4612915 h 4749526"/>
              <a:gd name="connsiteX151" fmla="*/ 2249533 w 7402822"/>
              <a:gd name="connsiteY151" fmla="*/ 4612915 h 4749526"/>
              <a:gd name="connsiteX152" fmla="*/ 2249533 w 7402822"/>
              <a:gd name="connsiteY152" fmla="*/ 4603807 h 4749526"/>
              <a:gd name="connsiteX153" fmla="*/ 2216140 w 7402822"/>
              <a:gd name="connsiteY153" fmla="*/ 4597736 h 4749526"/>
              <a:gd name="connsiteX154" fmla="*/ 2219175 w 7402822"/>
              <a:gd name="connsiteY154" fmla="*/ 4600772 h 4749526"/>
              <a:gd name="connsiteX155" fmla="*/ 2240426 w 7402822"/>
              <a:gd name="connsiteY155" fmla="*/ 4600772 h 4749526"/>
              <a:gd name="connsiteX156" fmla="*/ 2240426 w 7402822"/>
              <a:gd name="connsiteY156" fmla="*/ 4597736 h 4749526"/>
              <a:gd name="connsiteX157" fmla="*/ 2243462 w 7402822"/>
              <a:gd name="connsiteY157" fmla="*/ 4600772 h 4749526"/>
              <a:gd name="connsiteX158" fmla="*/ 2240426 w 7402822"/>
              <a:gd name="connsiteY158" fmla="*/ 4603807 h 4749526"/>
              <a:gd name="connsiteX159" fmla="*/ 2237391 w 7402822"/>
              <a:gd name="connsiteY159" fmla="*/ 4606844 h 4749526"/>
              <a:gd name="connsiteX160" fmla="*/ 2234354 w 7402822"/>
              <a:gd name="connsiteY160" fmla="*/ 4612915 h 4749526"/>
              <a:gd name="connsiteX161" fmla="*/ 2219175 w 7402822"/>
              <a:gd name="connsiteY161" fmla="*/ 4625058 h 4749526"/>
              <a:gd name="connsiteX162" fmla="*/ 2216140 w 7402822"/>
              <a:gd name="connsiteY162" fmla="*/ 4628095 h 4749526"/>
              <a:gd name="connsiteX163" fmla="*/ 2207033 w 7402822"/>
              <a:gd name="connsiteY163" fmla="*/ 4622023 h 4749526"/>
              <a:gd name="connsiteX164" fmla="*/ 2216140 w 7402822"/>
              <a:gd name="connsiteY164" fmla="*/ 4618986 h 4749526"/>
              <a:gd name="connsiteX165" fmla="*/ 2219175 w 7402822"/>
              <a:gd name="connsiteY165" fmla="*/ 4612915 h 4749526"/>
              <a:gd name="connsiteX166" fmla="*/ 2225247 w 7402822"/>
              <a:gd name="connsiteY166" fmla="*/ 4609879 h 4749526"/>
              <a:gd name="connsiteX167" fmla="*/ 2216140 w 7402822"/>
              <a:gd name="connsiteY167" fmla="*/ 4600772 h 4749526"/>
              <a:gd name="connsiteX168" fmla="*/ 1921665 w 7402822"/>
              <a:gd name="connsiteY168" fmla="*/ 4591664 h 4749526"/>
              <a:gd name="connsiteX169" fmla="*/ 1927737 w 7402822"/>
              <a:gd name="connsiteY169" fmla="*/ 4594700 h 4749526"/>
              <a:gd name="connsiteX170" fmla="*/ 1918630 w 7402822"/>
              <a:gd name="connsiteY170" fmla="*/ 4600772 h 4749526"/>
              <a:gd name="connsiteX171" fmla="*/ 1924701 w 7402822"/>
              <a:gd name="connsiteY171" fmla="*/ 4576485 h 4749526"/>
              <a:gd name="connsiteX172" fmla="*/ 1930772 w 7402822"/>
              <a:gd name="connsiteY172" fmla="*/ 4582557 h 4749526"/>
              <a:gd name="connsiteX173" fmla="*/ 1930772 w 7402822"/>
              <a:gd name="connsiteY173" fmla="*/ 4588629 h 4749526"/>
              <a:gd name="connsiteX174" fmla="*/ 1921665 w 7402822"/>
              <a:gd name="connsiteY174" fmla="*/ 4588629 h 4749526"/>
              <a:gd name="connsiteX175" fmla="*/ 6892807 w 7402822"/>
              <a:gd name="connsiteY175" fmla="*/ 4573449 h 4749526"/>
              <a:gd name="connsiteX176" fmla="*/ 6895842 w 7402822"/>
              <a:gd name="connsiteY176" fmla="*/ 4573449 h 4749526"/>
              <a:gd name="connsiteX177" fmla="*/ 6895842 w 7402822"/>
              <a:gd name="connsiteY177" fmla="*/ 4582556 h 4749526"/>
              <a:gd name="connsiteX178" fmla="*/ 6889770 w 7402822"/>
              <a:gd name="connsiteY178" fmla="*/ 4582556 h 4749526"/>
              <a:gd name="connsiteX179" fmla="*/ 1909523 w 7402822"/>
              <a:gd name="connsiteY179" fmla="*/ 4570414 h 4749526"/>
              <a:gd name="connsiteX180" fmla="*/ 1915593 w 7402822"/>
              <a:gd name="connsiteY180" fmla="*/ 4570414 h 4749526"/>
              <a:gd name="connsiteX181" fmla="*/ 1912558 w 7402822"/>
              <a:gd name="connsiteY181" fmla="*/ 4579521 h 4749526"/>
              <a:gd name="connsiteX182" fmla="*/ 1909523 w 7402822"/>
              <a:gd name="connsiteY182" fmla="*/ 4576485 h 4749526"/>
              <a:gd name="connsiteX183" fmla="*/ 1927737 w 7402822"/>
              <a:gd name="connsiteY183" fmla="*/ 4567378 h 4749526"/>
              <a:gd name="connsiteX184" fmla="*/ 1933809 w 7402822"/>
              <a:gd name="connsiteY184" fmla="*/ 4576485 h 4749526"/>
              <a:gd name="connsiteX185" fmla="*/ 1933809 w 7402822"/>
              <a:gd name="connsiteY185" fmla="*/ 4582557 h 4749526"/>
              <a:gd name="connsiteX186" fmla="*/ 1927737 w 7402822"/>
              <a:gd name="connsiteY186" fmla="*/ 4576485 h 4749526"/>
              <a:gd name="connsiteX187" fmla="*/ 1909523 w 7402822"/>
              <a:gd name="connsiteY187" fmla="*/ 4555234 h 4749526"/>
              <a:gd name="connsiteX188" fmla="*/ 1915593 w 7402822"/>
              <a:gd name="connsiteY188" fmla="*/ 4555234 h 4749526"/>
              <a:gd name="connsiteX189" fmla="*/ 1921665 w 7402822"/>
              <a:gd name="connsiteY189" fmla="*/ 4558271 h 4749526"/>
              <a:gd name="connsiteX190" fmla="*/ 1915593 w 7402822"/>
              <a:gd name="connsiteY190" fmla="*/ 4564342 h 4749526"/>
              <a:gd name="connsiteX191" fmla="*/ 1909523 w 7402822"/>
              <a:gd name="connsiteY191" fmla="*/ 4564342 h 4749526"/>
              <a:gd name="connsiteX192" fmla="*/ 1909523 w 7402822"/>
              <a:gd name="connsiteY192" fmla="*/ 4558271 h 4749526"/>
              <a:gd name="connsiteX193" fmla="*/ 1909523 w 7402822"/>
              <a:gd name="connsiteY193" fmla="*/ 4543092 h 4749526"/>
              <a:gd name="connsiteX194" fmla="*/ 1915593 w 7402822"/>
              <a:gd name="connsiteY194" fmla="*/ 4549163 h 4749526"/>
              <a:gd name="connsiteX195" fmla="*/ 1912558 w 7402822"/>
              <a:gd name="connsiteY195" fmla="*/ 4549163 h 4749526"/>
              <a:gd name="connsiteX196" fmla="*/ 1906486 w 7402822"/>
              <a:gd name="connsiteY196" fmla="*/ 4546127 h 4749526"/>
              <a:gd name="connsiteX197" fmla="*/ 1924701 w 7402822"/>
              <a:gd name="connsiteY197" fmla="*/ 4512734 h 4749526"/>
              <a:gd name="connsiteX198" fmla="*/ 1927737 w 7402822"/>
              <a:gd name="connsiteY198" fmla="*/ 4527913 h 4749526"/>
              <a:gd name="connsiteX199" fmla="*/ 1930772 w 7402822"/>
              <a:gd name="connsiteY199" fmla="*/ 4540055 h 4749526"/>
              <a:gd name="connsiteX200" fmla="*/ 1924701 w 7402822"/>
              <a:gd name="connsiteY200" fmla="*/ 4555234 h 4749526"/>
              <a:gd name="connsiteX201" fmla="*/ 1918630 w 7402822"/>
              <a:gd name="connsiteY201" fmla="*/ 4546127 h 4749526"/>
              <a:gd name="connsiteX202" fmla="*/ 1912558 w 7402822"/>
              <a:gd name="connsiteY202" fmla="*/ 4540055 h 4749526"/>
              <a:gd name="connsiteX203" fmla="*/ 1918630 w 7402822"/>
              <a:gd name="connsiteY203" fmla="*/ 4524876 h 4749526"/>
              <a:gd name="connsiteX204" fmla="*/ 1924701 w 7402822"/>
              <a:gd name="connsiteY204" fmla="*/ 4494518 h 4749526"/>
              <a:gd name="connsiteX205" fmla="*/ 1927737 w 7402822"/>
              <a:gd name="connsiteY205" fmla="*/ 4506662 h 4749526"/>
              <a:gd name="connsiteX206" fmla="*/ 1927737 w 7402822"/>
              <a:gd name="connsiteY206" fmla="*/ 4509697 h 4749526"/>
              <a:gd name="connsiteX207" fmla="*/ 1918630 w 7402822"/>
              <a:gd name="connsiteY207" fmla="*/ 4506662 h 4749526"/>
              <a:gd name="connsiteX208" fmla="*/ 1906486 w 7402822"/>
              <a:gd name="connsiteY208" fmla="*/ 4491483 h 4749526"/>
              <a:gd name="connsiteX209" fmla="*/ 1912558 w 7402822"/>
              <a:gd name="connsiteY209" fmla="*/ 4491483 h 4749526"/>
              <a:gd name="connsiteX210" fmla="*/ 1915593 w 7402822"/>
              <a:gd name="connsiteY210" fmla="*/ 4506662 h 4749526"/>
              <a:gd name="connsiteX211" fmla="*/ 1912558 w 7402822"/>
              <a:gd name="connsiteY211" fmla="*/ 4512734 h 4749526"/>
              <a:gd name="connsiteX212" fmla="*/ 1909523 w 7402822"/>
              <a:gd name="connsiteY212" fmla="*/ 4506662 h 4749526"/>
              <a:gd name="connsiteX213" fmla="*/ 1906486 w 7402822"/>
              <a:gd name="connsiteY213" fmla="*/ 4500590 h 4749526"/>
              <a:gd name="connsiteX214" fmla="*/ 1921665 w 7402822"/>
              <a:gd name="connsiteY214" fmla="*/ 4485411 h 4749526"/>
              <a:gd name="connsiteX215" fmla="*/ 1918630 w 7402822"/>
              <a:gd name="connsiteY215" fmla="*/ 4491483 h 4749526"/>
              <a:gd name="connsiteX216" fmla="*/ 1912558 w 7402822"/>
              <a:gd name="connsiteY216" fmla="*/ 4491483 h 4749526"/>
              <a:gd name="connsiteX217" fmla="*/ 1915593 w 7402822"/>
              <a:gd name="connsiteY217" fmla="*/ 4488447 h 4749526"/>
              <a:gd name="connsiteX218" fmla="*/ 6932272 w 7402822"/>
              <a:gd name="connsiteY218" fmla="*/ 4452016 h 4749526"/>
              <a:gd name="connsiteX219" fmla="*/ 6935307 w 7402822"/>
              <a:gd name="connsiteY219" fmla="*/ 4464160 h 4749526"/>
              <a:gd name="connsiteX220" fmla="*/ 6923165 w 7402822"/>
              <a:gd name="connsiteY220" fmla="*/ 4470232 h 4749526"/>
              <a:gd name="connsiteX221" fmla="*/ 6923165 w 7402822"/>
              <a:gd name="connsiteY221" fmla="*/ 4467195 h 4749526"/>
              <a:gd name="connsiteX222" fmla="*/ 6926201 w 7402822"/>
              <a:gd name="connsiteY222" fmla="*/ 4455053 h 4749526"/>
              <a:gd name="connsiteX223" fmla="*/ 1915593 w 7402822"/>
              <a:gd name="connsiteY223" fmla="*/ 4424694 h 4749526"/>
              <a:gd name="connsiteX224" fmla="*/ 1921665 w 7402822"/>
              <a:gd name="connsiteY224" fmla="*/ 4424694 h 4749526"/>
              <a:gd name="connsiteX225" fmla="*/ 1921665 w 7402822"/>
              <a:gd name="connsiteY225" fmla="*/ 4430766 h 4749526"/>
              <a:gd name="connsiteX226" fmla="*/ 1915593 w 7402822"/>
              <a:gd name="connsiteY226" fmla="*/ 4433803 h 4749526"/>
              <a:gd name="connsiteX227" fmla="*/ 1939880 w 7402822"/>
              <a:gd name="connsiteY227" fmla="*/ 4400408 h 4749526"/>
              <a:gd name="connsiteX228" fmla="*/ 1945952 w 7402822"/>
              <a:gd name="connsiteY228" fmla="*/ 4403445 h 4749526"/>
              <a:gd name="connsiteX229" fmla="*/ 1942916 w 7402822"/>
              <a:gd name="connsiteY229" fmla="*/ 4409515 h 4749526"/>
              <a:gd name="connsiteX230" fmla="*/ 1933809 w 7402822"/>
              <a:gd name="connsiteY230" fmla="*/ 4406480 h 4749526"/>
              <a:gd name="connsiteX231" fmla="*/ 1930772 w 7402822"/>
              <a:gd name="connsiteY231" fmla="*/ 4391301 h 4749526"/>
              <a:gd name="connsiteX232" fmla="*/ 1939880 w 7402822"/>
              <a:gd name="connsiteY232" fmla="*/ 4391301 h 4749526"/>
              <a:gd name="connsiteX233" fmla="*/ 1933809 w 7402822"/>
              <a:gd name="connsiteY233" fmla="*/ 4397373 h 4749526"/>
              <a:gd name="connsiteX234" fmla="*/ 7254067 w 7402822"/>
              <a:gd name="connsiteY234" fmla="*/ 4363978 h 4749526"/>
              <a:gd name="connsiteX235" fmla="*/ 7260139 w 7402822"/>
              <a:gd name="connsiteY235" fmla="*/ 4363978 h 4749526"/>
              <a:gd name="connsiteX236" fmla="*/ 7254067 w 7402822"/>
              <a:gd name="connsiteY236" fmla="*/ 4367014 h 4749526"/>
              <a:gd name="connsiteX237" fmla="*/ 7254067 w 7402822"/>
              <a:gd name="connsiteY237" fmla="*/ 4370050 h 4749526"/>
              <a:gd name="connsiteX238" fmla="*/ 7254067 w 7402822"/>
              <a:gd name="connsiteY238" fmla="*/ 4376122 h 4749526"/>
              <a:gd name="connsiteX239" fmla="*/ 7247995 w 7402822"/>
              <a:gd name="connsiteY239" fmla="*/ 4373085 h 4749526"/>
              <a:gd name="connsiteX240" fmla="*/ 7251032 w 7402822"/>
              <a:gd name="connsiteY240" fmla="*/ 4370050 h 4749526"/>
              <a:gd name="connsiteX241" fmla="*/ 7247995 w 7402822"/>
              <a:gd name="connsiteY241" fmla="*/ 4367014 h 4749526"/>
              <a:gd name="connsiteX242" fmla="*/ 1939880 w 7402822"/>
              <a:gd name="connsiteY242" fmla="*/ 4312370 h 4749526"/>
              <a:gd name="connsiteX243" fmla="*/ 1948988 w 7402822"/>
              <a:gd name="connsiteY243" fmla="*/ 4312370 h 4749526"/>
              <a:gd name="connsiteX244" fmla="*/ 1952023 w 7402822"/>
              <a:gd name="connsiteY244" fmla="*/ 4321477 h 4749526"/>
              <a:gd name="connsiteX245" fmla="*/ 1948988 w 7402822"/>
              <a:gd name="connsiteY245" fmla="*/ 4324514 h 4749526"/>
              <a:gd name="connsiteX246" fmla="*/ 1942916 w 7402822"/>
              <a:gd name="connsiteY246" fmla="*/ 4330584 h 4749526"/>
              <a:gd name="connsiteX247" fmla="*/ 1948988 w 7402822"/>
              <a:gd name="connsiteY247" fmla="*/ 4339692 h 4749526"/>
              <a:gd name="connsiteX248" fmla="*/ 1948988 w 7402822"/>
              <a:gd name="connsiteY248" fmla="*/ 4345764 h 4749526"/>
              <a:gd name="connsiteX249" fmla="*/ 1948988 w 7402822"/>
              <a:gd name="connsiteY249" fmla="*/ 4351835 h 4749526"/>
              <a:gd name="connsiteX250" fmla="*/ 1939880 w 7402822"/>
              <a:gd name="connsiteY250" fmla="*/ 4354871 h 4749526"/>
              <a:gd name="connsiteX251" fmla="*/ 1933809 w 7402822"/>
              <a:gd name="connsiteY251" fmla="*/ 4351835 h 4749526"/>
              <a:gd name="connsiteX252" fmla="*/ 1933809 w 7402822"/>
              <a:gd name="connsiteY252" fmla="*/ 4345764 h 4749526"/>
              <a:gd name="connsiteX253" fmla="*/ 1936844 w 7402822"/>
              <a:gd name="connsiteY253" fmla="*/ 4324514 h 4749526"/>
              <a:gd name="connsiteX254" fmla="*/ 6452614 w 7402822"/>
              <a:gd name="connsiteY254" fmla="*/ 4282012 h 4749526"/>
              <a:gd name="connsiteX255" fmla="*/ 6461721 w 7402822"/>
              <a:gd name="connsiteY255" fmla="*/ 4285047 h 4749526"/>
              <a:gd name="connsiteX256" fmla="*/ 6473865 w 7402822"/>
              <a:gd name="connsiteY256" fmla="*/ 4291119 h 4749526"/>
              <a:gd name="connsiteX257" fmla="*/ 6486007 w 7402822"/>
              <a:gd name="connsiteY257" fmla="*/ 4294154 h 4749526"/>
              <a:gd name="connsiteX258" fmla="*/ 6498151 w 7402822"/>
              <a:gd name="connsiteY258" fmla="*/ 4291119 h 4749526"/>
              <a:gd name="connsiteX259" fmla="*/ 6519401 w 7402822"/>
              <a:gd name="connsiteY259" fmla="*/ 4282012 h 4749526"/>
              <a:gd name="connsiteX260" fmla="*/ 6525473 w 7402822"/>
              <a:gd name="connsiteY260" fmla="*/ 4285047 h 4749526"/>
              <a:gd name="connsiteX261" fmla="*/ 6525473 w 7402822"/>
              <a:gd name="connsiteY261" fmla="*/ 4294154 h 4749526"/>
              <a:gd name="connsiteX262" fmla="*/ 6525473 w 7402822"/>
              <a:gd name="connsiteY262" fmla="*/ 4312369 h 4749526"/>
              <a:gd name="connsiteX263" fmla="*/ 6522437 w 7402822"/>
              <a:gd name="connsiteY263" fmla="*/ 4318441 h 4749526"/>
              <a:gd name="connsiteX264" fmla="*/ 6519401 w 7402822"/>
              <a:gd name="connsiteY264" fmla="*/ 4324513 h 4749526"/>
              <a:gd name="connsiteX265" fmla="*/ 6516365 w 7402822"/>
              <a:gd name="connsiteY265" fmla="*/ 4336656 h 4749526"/>
              <a:gd name="connsiteX266" fmla="*/ 6510294 w 7402822"/>
              <a:gd name="connsiteY266" fmla="*/ 4339692 h 4749526"/>
              <a:gd name="connsiteX267" fmla="*/ 6507259 w 7402822"/>
              <a:gd name="connsiteY267" fmla="*/ 4342727 h 4749526"/>
              <a:gd name="connsiteX268" fmla="*/ 6504223 w 7402822"/>
              <a:gd name="connsiteY268" fmla="*/ 4351835 h 4749526"/>
              <a:gd name="connsiteX269" fmla="*/ 6492079 w 7402822"/>
              <a:gd name="connsiteY269" fmla="*/ 4360943 h 4749526"/>
              <a:gd name="connsiteX270" fmla="*/ 6486007 w 7402822"/>
              <a:gd name="connsiteY270" fmla="*/ 4357906 h 4749526"/>
              <a:gd name="connsiteX271" fmla="*/ 6479935 w 7402822"/>
              <a:gd name="connsiteY271" fmla="*/ 4357906 h 4749526"/>
              <a:gd name="connsiteX272" fmla="*/ 6467793 w 7402822"/>
              <a:gd name="connsiteY272" fmla="*/ 4342727 h 4749526"/>
              <a:gd name="connsiteX273" fmla="*/ 6461721 w 7402822"/>
              <a:gd name="connsiteY273" fmla="*/ 4324513 h 4749526"/>
              <a:gd name="connsiteX274" fmla="*/ 6464757 w 7402822"/>
              <a:gd name="connsiteY274" fmla="*/ 4321477 h 4749526"/>
              <a:gd name="connsiteX275" fmla="*/ 6461721 w 7402822"/>
              <a:gd name="connsiteY275" fmla="*/ 4315405 h 4749526"/>
              <a:gd name="connsiteX276" fmla="*/ 6452614 w 7402822"/>
              <a:gd name="connsiteY276" fmla="*/ 4300226 h 4749526"/>
              <a:gd name="connsiteX277" fmla="*/ 6449577 w 7402822"/>
              <a:gd name="connsiteY277" fmla="*/ 4285047 h 4749526"/>
              <a:gd name="connsiteX278" fmla="*/ 7029417 w 7402822"/>
              <a:gd name="connsiteY278" fmla="*/ 4275940 h 4749526"/>
              <a:gd name="connsiteX279" fmla="*/ 7029417 w 7402822"/>
              <a:gd name="connsiteY279" fmla="*/ 4282012 h 4749526"/>
              <a:gd name="connsiteX280" fmla="*/ 7035489 w 7402822"/>
              <a:gd name="connsiteY280" fmla="*/ 4294154 h 4749526"/>
              <a:gd name="connsiteX281" fmla="*/ 7038525 w 7402822"/>
              <a:gd name="connsiteY281" fmla="*/ 4297191 h 4749526"/>
              <a:gd name="connsiteX282" fmla="*/ 7044597 w 7402822"/>
              <a:gd name="connsiteY282" fmla="*/ 4294154 h 4749526"/>
              <a:gd name="connsiteX283" fmla="*/ 7050669 w 7402822"/>
              <a:gd name="connsiteY283" fmla="*/ 4288083 h 4749526"/>
              <a:gd name="connsiteX284" fmla="*/ 7053704 w 7402822"/>
              <a:gd name="connsiteY284" fmla="*/ 4294154 h 4749526"/>
              <a:gd name="connsiteX285" fmla="*/ 7059775 w 7402822"/>
              <a:gd name="connsiteY285" fmla="*/ 4288083 h 4749526"/>
              <a:gd name="connsiteX286" fmla="*/ 7062812 w 7402822"/>
              <a:gd name="connsiteY286" fmla="*/ 4291119 h 4749526"/>
              <a:gd name="connsiteX287" fmla="*/ 7062812 w 7402822"/>
              <a:gd name="connsiteY287" fmla="*/ 4297191 h 4749526"/>
              <a:gd name="connsiteX288" fmla="*/ 7059775 w 7402822"/>
              <a:gd name="connsiteY288" fmla="*/ 4306298 h 4749526"/>
              <a:gd name="connsiteX289" fmla="*/ 7056741 w 7402822"/>
              <a:gd name="connsiteY289" fmla="*/ 4309334 h 4749526"/>
              <a:gd name="connsiteX290" fmla="*/ 7056741 w 7402822"/>
              <a:gd name="connsiteY290" fmla="*/ 4315405 h 4749526"/>
              <a:gd name="connsiteX291" fmla="*/ 7044597 w 7402822"/>
              <a:gd name="connsiteY291" fmla="*/ 4339692 h 4749526"/>
              <a:gd name="connsiteX292" fmla="*/ 7029417 w 7402822"/>
              <a:gd name="connsiteY292" fmla="*/ 4354871 h 4749526"/>
              <a:gd name="connsiteX293" fmla="*/ 7038525 w 7402822"/>
              <a:gd name="connsiteY293" fmla="*/ 4363978 h 4749526"/>
              <a:gd name="connsiteX294" fmla="*/ 7035489 w 7402822"/>
              <a:gd name="connsiteY294" fmla="*/ 4367014 h 4749526"/>
              <a:gd name="connsiteX295" fmla="*/ 7026382 w 7402822"/>
              <a:gd name="connsiteY295" fmla="*/ 4367014 h 4749526"/>
              <a:gd name="connsiteX296" fmla="*/ 7020310 w 7402822"/>
              <a:gd name="connsiteY296" fmla="*/ 4370050 h 4749526"/>
              <a:gd name="connsiteX297" fmla="*/ 7014239 w 7402822"/>
              <a:gd name="connsiteY297" fmla="*/ 4373085 h 4749526"/>
              <a:gd name="connsiteX298" fmla="*/ 7005131 w 7402822"/>
              <a:gd name="connsiteY298" fmla="*/ 4376122 h 4749526"/>
              <a:gd name="connsiteX299" fmla="*/ 7005131 w 7402822"/>
              <a:gd name="connsiteY299" fmla="*/ 4382193 h 4749526"/>
              <a:gd name="connsiteX300" fmla="*/ 6999059 w 7402822"/>
              <a:gd name="connsiteY300" fmla="*/ 4397372 h 4749526"/>
              <a:gd name="connsiteX301" fmla="*/ 6992989 w 7402822"/>
              <a:gd name="connsiteY301" fmla="*/ 4409515 h 4749526"/>
              <a:gd name="connsiteX302" fmla="*/ 6983880 w 7402822"/>
              <a:gd name="connsiteY302" fmla="*/ 4430766 h 4749526"/>
              <a:gd name="connsiteX303" fmla="*/ 6968701 w 7402822"/>
              <a:gd name="connsiteY303" fmla="*/ 4445945 h 4749526"/>
              <a:gd name="connsiteX304" fmla="*/ 6962631 w 7402822"/>
              <a:gd name="connsiteY304" fmla="*/ 4448981 h 4749526"/>
              <a:gd name="connsiteX305" fmla="*/ 6950487 w 7402822"/>
              <a:gd name="connsiteY305" fmla="*/ 4452016 h 4749526"/>
              <a:gd name="connsiteX306" fmla="*/ 6941379 w 7402822"/>
              <a:gd name="connsiteY306" fmla="*/ 4445945 h 4749526"/>
              <a:gd name="connsiteX307" fmla="*/ 6932272 w 7402822"/>
              <a:gd name="connsiteY307" fmla="*/ 4439874 h 4749526"/>
              <a:gd name="connsiteX308" fmla="*/ 6923165 w 7402822"/>
              <a:gd name="connsiteY308" fmla="*/ 4436837 h 4749526"/>
              <a:gd name="connsiteX309" fmla="*/ 6917093 w 7402822"/>
              <a:gd name="connsiteY309" fmla="*/ 4439874 h 4749526"/>
              <a:gd name="connsiteX310" fmla="*/ 6907986 w 7402822"/>
              <a:gd name="connsiteY310" fmla="*/ 4436837 h 4749526"/>
              <a:gd name="connsiteX311" fmla="*/ 6904949 w 7402822"/>
              <a:gd name="connsiteY311" fmla="*/ 4430766 h 4749526"/>
              <a:gd name="connsiteX312" fmla="*/ 6907986 w 7402822"/>
              <a:gd name="connsiteY312" fmla="*/ 4430766 h 4749526"/>
              <a:gd name="connsiteX313" fmla="*/ 6907986 w 7402822"/>
              <a:gd name="connsiteY313" fmla="*/ 4421659 h 4749526"/>
              <a:gd name="connsiteX314" fmla="*/ 6907986 w 7402822"/>
              <a:gd name="connsiteY314" fmla="*/ 4412551 h 4749526"/>
              <a:gd name="connsiteX315" fmla="*/ 6914057 w 7402822"/>
              <a:gd name="connsiteY315" fmla="*/ 4403444 h 4749526"/>
              <a:gd name="connsiteX316" fmla="*/ 6917093 w 7402822"/>
              <a:gd name="connsiteY316" fmla="*/ 4400408 h 4749526"/>
              <a:gd name="connsiteX317" fmla="*/ 6920129 w 7402822"/>
              <a:gd name="connsiteY317" fmla="*/ 4397372 h 4749526"/>
              <a:gd name="connsiteX318" fmla="*/ 6926201 w 7402822"/>
              <a:gd name="connsiteY318" fmla="*/ 4391301 h 4749526"/>
              <a:gd name="connsiteX319" fmla="*/ 6935307 w 7402822"/>
              <a:gd name="connsiteY319" fmla="*/ 4379157 h 4749526"/>
              <a:gd name="connsiteX320" fmla="*/ 6941379 w 7402822"/>
              <a:gd name="connsiteY320" fmla="*/ 4376122 h 4749526"/>
              <a:gd name="connsiteX321" fmla="*/ 6962631 w 7402822"/>
              <a:gd name="connsiteY321" fmla="*/ 4363978 h 4749526"/>
              <a:gd name="connsiteX322" fmla="*/ 6968701 w 7402822"/>
              <a:gd name="connsiteY322" fmla="*/ 4357906 h 4749526"/>
              <a:gd name="connsiteX323" fmla="*/ 6974773 w 7402822"/>
              <a:gd name="connsiteY323" fmla="*/ 4354871 h 4749526"/>
              <a:gd name="connsiteX324" fmla="*/ 6986917 w 7402822"/>
              <a:gd name="connsiteY324" fmla="*/ 4342727 h 4749526"/>
              <a:gd name="connsiteX325" fmla="*/ 6992989 w 7402822"/>
              <a:gd name="connsiteY325" fmla="*/ 4339692 h 4749526"/>
              <a:gd name="connsiteX326" fmla="*/ 6999059 w 7402822"/>
              <a:gd name="connsiteY326" fmla="*/ 4330584 h 4749526"/>
              <a:gd name="connsiteX327" fmla="*/ 7005131 w 7402822"/>
              <a:gd name="connsiteY327" fmla="*/ 4309334 h 4749526"/>
              <a:gd name="connsiteX328" fmla="*/ 7011203 w 7402822"/>
              <a:gd name="connsiteY328" fmla="*/ 4309334 h 4749526"/>
              <a:gd name="connsiteX329" fmla="*/ 7014239 w 7402822"/>
              <a:gd name="connsiteY329" fmla="*/ 4300226 h 4749526"/>
              <a:gd name="connsiteX330" fmla="*/ 7017275 w 7402822"/>
              <a:gd name="connsiteY330" fmla="*/ 4291119 h 4749526"/>
              <a:gd name="connsiteX331" fmla="*/ 7020310 w 7402822"/>
              <a:gd name="connsiteY331" fmla="*/ 4282012 h 4749526"/>
              <a:gd name="connsiteX332" fmla="*/ 6519401 w 7402822"/>
              <a:gd name="connsiteY332" fmla="*/ 4254689 h 4749526"/>
              <a:gd name="connsiteX333" fmla="*/ 6525473 w 7402822"/>
              <a:gd name="connsiteY333" fmla="*/ 4260761 h 4749526"/>
              <a:gd name="connsiteX334" fmla="*/ 6525473 w 7402822"/>
              <a:gd name="connsiteY334" fmla="*/ 4266833 h 4749526"/>
              <a:gd name="connsiteX335" fmla="*/ 6522437 w 7402822"/>
              <a:gd name="connsiteY335" fmla="*/ 4269868 h 4749526"/>
              <a:gd name="connsiteX336" fmla="*/ 6519401 w 7402822"/>
              <a:gd name="connsiteY336" fmla="*/ 4263796 h 4749526"/>
              <a:gd name="connsiteX337" fmla="*/ 6516365 w 7402822"/>
              <a:gd name="connsiteY337" fmla="*/ 4260761 h 4749526"/>
              <a:gd name="connsiteX338" fmla="*/ 6516365 w 7402822"/>
              <a:gd name="connsiteY338" fmla="*/ 4257724 h 4749526"/>
              <a:gd name="connsiteX339" fmla="*/ 6440471 w 7402822"/>
              <a:gd name="connsiteY339" fmla="*/ 4251654 h 4749526"/>
              <a:gd name="connsiteX340" fmla="*/ 6440471 w 7402822"/>
              <a:gd name="connsiteY340" fmla="*/ 4260761 h 4749526"/>
              <a:gd name="connsiteX341" fmla="*/ 6434399 w 7402822"/>
              <a:gd name="connsiteY341" fmla="*/ 4263796 h 4749526"/>
              <a:gd name="connsiteX342" fmla="*/ 6434399 w 7402822"/>
              <a:gd name="connsiteY342" fmla="*/ 4254689 h 4749526"/>
              <a:gd name="connsiteX343" fmla="*/ 6294752 w 7402822"/>
              <a:gd name="connsiteY343" fmla="*/ 4148435 h 4749526"/>
              <a:gd name="connsiteX344" fmla="*/ 6306895 w 7402822"/>
              <a:gd name="connsiteY344" fmla="*/ 4148435 h 4749526"/>
              <a:gd name="connsiteX345" fmla="*/ 6316002 w 7402822"/>
              <a:gd name="connsiteY345" fmla="*/ 4151472 h 4749526"/>
              <a:gd name="connsiteX346" fmla="*/ 6312967 w 7402822"/>
              <a:gd name="connsiteY346" fmla="*/ 4157543 h 4749526"/>
              <a:gd name="connsiteX347" fmla="*/ 6300823 w 7402822"/>
              <a:gd name="connsiteY347" fmla="*/ 4160579 h 4749526"/>
              <a:gd name="connsiteX348" fmla="*/ 6297787 w 7402822"/>
              <a:gd name="connsiteY348" fmla="*/ 4157543 h 4749526"/>
              <a:gd name="connsiteX349" fmla="*/ 6291716 w 7402822"/>
              <a:gd name="connsiteY349" fmla="*/ 4157543 h 4749526"/>
              <a:gd name="connsiteX350" fmla="*/ 6288681 w 7402822"/>
              <a:gd name="connsiteY350" fmla="*/ 4157543 h 4749526"/>
              <a:gd name="connsiteX351" fmla="*/ 6282609 w 7402822"/>
              <a:gd name="connsiteY351" fmla="*/ 4154507 h 4749526"/>
              <a:gd name="connsiteX352" fmla="*/ 6285644 w 7402822"/>
              <a:gd name="connsiteY352" fmla="*/ 4151472 h 4749526"/>
              <a:gd name="connsiteX353" fmla="*/ 7038525 w 7402822"/>
              <a:gd name="connsiteY353" fmla="*/ 4130221 h 4749526"/>
              <a:gd name="connsiteX354" fmla="*/ 7053704 w 7402822"/>
              <a:gd name="connsiteY354" fmla="*/ 4130221 h 4749526"/>
              <a:gd name="connsiteX355" fmla="*/ 7059775 w 7402822"/>
              <a:gd name="connsiteY355" fmla="*/ 4136293 h 4749526"/>
              <a:gd name="connsiteX356" fmla="*/ 7062812 w 7402822"/>
              <a:gd name="connsiteY356" fmla="*/ 4139328 h 4749526"/>
              <a:gd name="connsiteX357" fmla="*/ 7065847 w 7402822"/>
              <a:gd name="connsiteY357" fmla="*/ 4145400 h 4749526"/>
              <a:gd name="connsiteX358" fmla="*/ 7068883 w 7402822"/>
              <a:gd name="connsiteY358" fmla="*/ 4148435 h 4749526"/>
              <a:gd name="connsiteX359" fmla="*/ 7065847 w 7402822"/>
              <a:gd name="connsiteY359" fmla="*/ 4151472 h 4749526"/>
              <a:gd name="connsiteX360" fmla="*/ 7065847 w 7402822"/>
              <a:gd name="connsiteY360" fmla="*/ 4154507 h 4749526"/>
              <a:gd name="connsiteX361" fmla="*/ 7071919 w 7402822"/>
              <a:gd name="connsiteY361" fmla="*/ 4166651 h 4749526"/>
              <a:gd name="connsiteX362" fmla="*/ 7071919 w 7402822"/>
              <a:gd name="connsiteY362" fmla="*/ 4175758 h 4749526"/>
              <a:gd name="connsiteX363" fmla="*/ 7081027 w 7402822"/>
              <a:gd name="connsiteY363" fmla="*/ 4181830 h 4749526"/>
              <a:gd name="connsiteX364" fmla="*/ 7084062 w 7402822"/>
              <a:gd name="connsiteY364" fmla="*/ 4187901 h 4749526"/>
              <a:gd name="connsiteX365" fmla="*/ 7087099 w 7402822"/>
              <a:gd name="connsiteY365" fmla="*/ 4187901 h 4749526"/>
              <a:gd name="connsiteX366" fmla="*/ 7090134 w 7402822"/>
              <a:gd name="connsiteY366" fmla="*/ 4187901 h 4749526"/>
              <a:gd name="connsiteX367" fmla="*/ 7087099 w 7402822"/>
              <a:gd name="connsiteY367" fmla="*/ 4178793 h 4749526"/>
              <a:gd name="connsiteX368" fmla="*/ 7084062 w 7402822"/>
              <a:gd name="connsiteY368" fmla="*/ 4169686 h 4749526"/>
              <a:gd name="connsiteX369" fmla="*/ 7090134 w 7402822"/>
              <a:gd name="connsiteY369" fmla="*/ 4172723 h 4749526"/>
              <a:gd name="connsiteX370" fmla="*/ 7096205 w 7402822"/>
              <a:gd name="connsiteY370" fmla="*/ 4178793 h 4749526"/>
              <a:gd name="connsiteX371" fmla="*/ 7096205 w 7402822"/>
              <a:gd name="connsiteY371" fmla="*/ 4190937 h 4749526"/>
              <a:gd name="connsiteX372" fmla="*/ 7099241 w 7402822"/>
              <a:gd name="connsiteY372" fmla="*/ 4197009 h 4749526"/>
              <a:gd name="connsiteX373" fmla="*/ 7108349 w 7402822"/>
              <a:gd name="connsiteY373" fmla="*/ 4203080 h 4749526"/>
              <a:gd name="connsiteX374" fmla="*/ 7120492 w 7402822"/>
              <a:gd name="connsiteY374" fmla="*/ 4209152 h 4749526"/>
              <a:gd name="connsiteX375" fmla="*/ 7129599 w 7402822"/>
              <a:gd name="connsiteY375" fmla="*/ 4206116 h 4749526"/>
              <a:gd name="connsiteX376" fmla="*/ 7132635 w 7402822"/>
              <a:gd name="connsiteY376" fmla="*/ 4200044 h 4749526"/>
              <a:gd name="connsiteX377" fmla="*/ 7138707 w 7402822"/>
              <a:gd name="connsiteY377" fmla="*/ 4197009 h 4749526"/>
              <a:gd name="connsiteX378" fmla="*/ 7147814 w 7402822"/>
              <a:gd name="connsiteY378" fmla="*/ 4200044 h 4749526"/>
              <a:gd name="connsiteX379" fmla="*/ 7147814 w 7402822"/>
              <a:gd name="connsiteY379" fmla="*/ 4212188 h 4749526"/>
              <a:gd name="connsiteX380" fmla="*/ 7141743 w 7402822"/>
              <a:gd name="connsiteY380" fmla="*/ 4227367 h 4749526"/>
              <a:gd name="connsiteX381" fmla="*/ 7135671 w 7402822"/>
              <a:gd name="connsiteY381" fmla="*/ 4236474 h 4749526"/>
              <a:gd name="connsiteX382" fmla="*/ 7132635 w 7402822"/>
              <a:gd name="connsiteY382" fmla="*/ 4236474 h 4749526"/>
              <a:gd name="connsiteX383" fmla="*/ 7120492 w 7402822"/>
              <a:gd name="connsiteY383" fmla="*/ 4239510 h 4749526"/>
              <a:gd name="connsiteX384" fmla="*/ 7117457 w 7402822"/>
              <a:gd name="connsiteY384" fmla="*/ 4254689 h 4749526"/>
              <a:gd name="connsiteX385" fmla="*/ 7120492 w 7402822"/>
              <a:gd name="connsiteY385" fmla="*/ 4251654 h 4749526"/>
              <a:gd name="connsiteX386" fmla="*/ 7120492 w 7402822"/>
              <a:gd name="connsiteY386" fmla="*/ 4257724 h 4749526"/>
              <a:gd name="connsiteX387" fmla="*/ 7114420 w 7402822"/>
              <a:gd name="connsiteY387" fmla="*/ 4269868 h 4749526"/>
              <a:gd name="connsiteX388" fmla="*/ 7108349 w 7402822"/>
              <a:gd name="connsiteY388" fmla="*/ 4275940 h 4749526"/>
              <a:gd name="connsiteX389" fmla="*/ 7108349 w 7402822"/>
              <a:gd name="connsiteY389" fmla="*/ 4278975 h 4749526"/>
              <a:gd name="connsiteX390" fmla="*/ 7099241 w 7402822"/>
              <a:gd name="connsiteY390" fmla="*/ 4288083 h 4749526"/>
              <a:gd name="connsiteX391" fmla="*/ 7084062 w 7402822"/>
              <a:gd name="connsiteY391" fmla="*/ 4306298 h 4749526"/>
              <a:gd name="connsiteX392" fmla="*/ 7081027 w 7402822"/>
              <a:gd name="connsiteY392" fmla="*/ 4303262 h 4749526"/>
              <a:gd name="connsiteX393" fmla="*/ 7074955 w 7402822"/>
              <a:gd name="connsiteY393" fmla="*/ 4300226 h 4749526"/>
              <a:gd name="connsiteX394" fmla="*/ 7068883 w 7402822"/>
              <a:gd name="connsiteY394" fmla="*/ 4297191 h 4749526"/>
              <a:gd name="connsiteX395" fmla="*/ 7071919 w 7402822"/>
              <a:gd name="connsiteY395" fmla="*/ 4291119 h 4749526"/>
              <a:gd name="connsiteX396" fmla="*/ 7081027 w 7402822"/>
              <a:gd name="connsiteY396" fmla="*/ 4278975 h 4749526"/>
              <a:gd name="connsiteX397" fmla="*/ 7081027 w 7402822"/>
              <a:gd name="connsiteY397" fmla="*/ 4263796 h 4749526"/>
              <a:gd name="connsiteX398" fmla="*/ 7071919 w 7402822"/>
              <a:gd name="connsiteY398" fmla="*/ 4257724 h 4749526"/>
              <a:gd name="connsiteX399" fmla="*/ 7059775 w 7402822"/>
              <a:gd name="connsiteY399" fmla="*/ 4251654 h 4749526"/>
              <a:gd name="connsiteX400" fmla="*/ 7050669 w 7402822"/>
              <a:gd name="connsiteY400" fmla="*/ 4245582 h 4749526"/>
              <a:gd name="connsiteX401" fmla="*/ 7056741 w 7402822"/>
              <a:gd name="connsiteY401" fmla="*/ 4236474 h 4749526"/>
              <a:gd name="connsiteX402" fmla="*/ 7062812 w 7402822"/>
              <a:gd name="connsiteY402" fmla="*/ 4233438 h 4749526"/>
              <a:gd name="connsiteX403" fmla="*/ 7065847 w 7402822"/>
              <a:gd name="connsiteY403" fmla="*/ 4233438 h 4749526"/>
              <a:gd name="connsiteX404" fmla="*/ 7071919 w 7402822"/>
              <a:gd name="connsiteY404" fmla="*/ 4221295 h 4749526"/>
              <a:gd name="connsiteX405" fmla="*/ 7074955 w 7402822"/>
              <a:gd name="connsiteY405" fmla="*/ 4209152 h 4749526"/>
              <a:gd name="connsiteX406" fmla="*/ 7071919 w 7402822"/>
              <a:gd name="connsiteY406" fmla="*/ 4193973 h 4749526"/>
              <a:gd name="connsiteX407" fmla="*/ 7071919 w 7402822"/>
              <a:gd name="connsiteY407" fmla="*/ 4184865 h 4749526"/>
              <a:gd name="connsiteX408" fmla="*/ 7068883 w 7402822"/>
              <a:gd name="connsiteY408" fmla="*/ 4181830 h 4749526"/>
              <a:gd name="connsiteX409" fmla="*/ 7065847 w 7402822"/>
              <a:gd name="connsiteY409" fmla="*/ 4178793 h 4749526"/>
              <a:gd name="connsiteX410" fmla="*/ 7062812 w 7402822"/>
              <a:gd name="connsiteY410" fmla="*/ 4172723 h 4749526"/>
              <a:gd name="connsiteX411" fmla="*/ 7062812 w 7402822"/>
              <a:gd name="connsiteY411" fmla="*/ 4169686 h 4749526"/>
              <a:gd name="connsiteX412" fmla="*/ 7056741 w 7402822"/>
              <a:gd name="connsiteY412" fmla="*/ 4163614 h 4749526"/>
              <a:gd name="connsiteX413" fmla="*/ 7050669 w 7402822"/>
              <a:gd name="connsiteY413" fmla="*/ 4157543 h 4749526"/>
              <a:gd name="connsiteX414" fmla="*/ 7044597 w 7402822"/>
              <a:gd name="connsiteY414" fmla="*/ 4148435 h 4749526"/>
              <a:gd name="connsiteX415" fmla="*/ 7041561 w 7402822"/>
              <a:gd name="connsiteY415" fmla="*/ 4139328 h 4749526"/>
              <a:gd name="connsiteX416" fmla="*/ 2361313 w 7402822"/>
              <a:gd name="connsiteY416" fmla="*/ 4065925 h 4749526"/>
              <a:gd name="connsiteX417" fmla="*/ 2361858 w 7402822"/>
              <a:gd name="connsiteY417" fmla="*/ 4066469 h 4749526"/>
              <a:gd name="connsiteX418" fmla="*/ 2361858 w 7402822"/>
              <a:gd name="connsiteY418" fmla="*/ 4066468 h 4749526"/>
              <a:gd name="connsiteX419" fmla="*/ 2361314 w 7402822"/>
              <a:gd name="connsiteY419" fmla="*/ 4065925 h 4749526"/>
              <a:gd name="connsiteX420" fmla="*/ 5796880 w 7402822"/>
              <a:gd name="connsiteY420" fmla="*/ 3905571 h 4749526"/>
              <a:gd name="connsiteX421" fmla="*/ 5796880 w 7402822"/>
              <a:gd name="connsiteY421" fmla="*/ 3908607 h 4749526"/>
              <a:gd name="connsiteX422" fmla="*/ 5799915 w 7402822"/>
              <a:gd name="connsiteY422" fmla="*/ 3914678 h 4749526"/>
              <a:gd name="connsiteX423" fmla="*/ 5799915 w 7402822"/>
              <a:gd name="connsiteY423" fmla="*/ 3917714 h 4749526"/>
              <a:gd name="connsiteX424" fmla="*/ 5793843 w 7402822"/>
              <a:gd name="connsiteY424" fmla="*/ 3908607 h 4749526"/>
              <a:gd name="connsiteX425" fmla="*/ 6628691 w 7402822"/>
              <a:gd name="connsiteY425" fmla="*/ 3887356 h 4749526"/>
              <a:gd name="connsiteX426" fmla="*/ 6631727 w 7402822"/>
              <a:gd name="connsiteY426" fmla="*/ 3893428 h 4749526"/>
              <a:gd name="connsiteX427" fmla="*/ 6628691 w 7402822"/>
              <a:gd name="connsiteY427" fmla="*/ 3899499 h 4749526"/>
              <a:gd name="connsiteX428" fmla="*/ 6625655 w 7402822"/>
              <a:gd name="connsiteY428" fmla="*/ 3908607 h 4749526"/>
              <a:gd name="connsiteX429" fmla="*/ 6625655 w 7402822"/>
              <a:gd name="connsiteY429" fmla="*/ 3890392 h 4749526"/>
              <a:gd name="connsiteX430" fmla="*/ 7278354 w 7402822"/>
              <a:gd name="connsiteY430" fmla="*/ 3808425 h 4749526"/>
              <a:gd name="connsiteX431" fmla="*/ 7281391 w 7402822"/>
              <a:gd name="connsiteY431" fmla="*/ 3808425 h 4749526"/>
              <a:gd name="connsiteX432" fmla="*/ 7281391 w 7402822"/>
              <a:gd name="connsiteY432" fmla="*/ 3811461 h 4749526"/>
              <a:gd name="connsiteX433" fmla="*/ 4615951 w 7402822"/>
              <a:gd name="connsiteY433" fmla="*/ 3805390 h 4749526"/>
              <a:gd name="connsiteX434" fmla="*/ 4618986 w 7402822"/>
              <a:gd name="connsiteY434" fmla="*/ 3811462 h 4749526"/>
              <a:gd name="connsiteX435" fmla="*/ 4612914 w 7402822"/>
              <a:gd name="connsiteY435" fmla="*/ 3814498 h 4749526"/>
              <a:gd name="connsiteX436" fmla="*/ 4606844 w 7402822"/>
              <a:gd name="connsiteY436" fmla="*/ 3808426 h 4749526"/>
              <a:gd name="connsiteX437" fmla="*/ 6917092 w 7402822"/>
              <a:gd name="connsiteY437" fmla="*/ 3799316 h 4749526"/>
              <a:gd name="connsiteX438" fmla="*/ 6920129 w 7402822"/>
              <a:gd name="connsiteY438" fmla="*/ 3805388 h 4749526"/>
              <a:gd name="connsiteX439" fmla="*/ 6920129 w 7402822"/>
              <a:gd name="connsiteY439" fmla="*/ 3808424 h 4749526"/>
              <a:gd name="connsiteX440" fmla="*/ 6914057 w 7402822"/>
              <a:gd name="connsiteY440" fmla="*/ 3802353 h 4749526"/>
              <a:gd name="connsiteX441" fmla="*/ 4652380 w 7402822"/>
              <a:gd name="connsiteY441" fmla="*/ 3784140 h 4749526"/>
              <a:gd name="connsiteX442" fmla="*/ 4658452 w 7402822"/>
              <a:gd name="connsiteY442" fmla="*/ 3787175 h 4749526"/>
              <a:gd name="connsiteX443" fmla="*/ 4655416 w 7402822"/>
              <a:gd name="connsiteY443" fmla="*/ 3793247 h 4749526"/>
              <a:gd name="connsiteX444" fmla="*/ 4646309 w 7402822"/>
              <a:gd name="connsiteY444" fmla="*/ 3793247 h 4749526"/>
              <a:gd name="connsiteX445" fmla="*/ 6850305 w 7402822"/>
              <a:gd name="connsiteY445" fmla="*/ 3784138 h 4749526"/>
              <a:gd name="connsiteX446" fmla="*/ 6859412 w 7402822"/>
              <a:gd name="connsiteY446" fmla="*/ 3790210 h 4749526"/>
              <a:gd name="connsiteX447" fmla="*/ 6871555 w 7402822"/>
              <a:gd name="connsiteY447" fmla="*/ 3799317 h 4749526"/>
              <a:gd name="connsiteX448" fmla="*/ 6907985 w 7402822"/>
              <a:gd name="connsiteY448" fmla="*/ 3829675 h 4749526"/>
              <a:gd name="connsiteX449" fmla="*/ 6911021 w 7402822"/>
              <a:gd name="connsiteY449" fmla="*/ 3835747 h 4749526"/>
              <a:gd name="connsiteX450" fmla="*/ 6901914 w 7402822"/>
              <a:gd name="connsiteY450" fmla="*/ 3832712 h 4749526"/>
              <a:gd name="connsiteX451" fmla="*/ 6892807 w 7402822"/>
              <a:gd name="connsiteY451" fmla="*/ 3829675 h 4749526"/>
              <a:gd name="connsiteX452" fmla="*/ 6877627 w 7402822"/>
              <a:gd name="connsiteY452" fmla="*/ 3820568 h 4749526"/>
              <a:gd name="connsiteX453" fmla="*/ 6874591 w 7402822"/>
              <a:gd name="connsiteY453" fmla="*/ 3814496 h 4749526"/>
              <a:gd name="connsiteX454" fmla="*/ 6859412 w 7402822"/>
              <a:gd name="connsiteY454" fmla="*/ 3802354 h 4749526"/>
              <a:gd name="connsiteX455" fmla="*/ 6850305 w 7402822"/>
              <a:gd name="connsiteY455" fmla="*/ 3787174 h 4749526"/>
              <a:gd name="connsiteX456" fmla="*/ 7138707 w 7402822"/>
              <a:gd name="connsiteY456" fmla="*/ 3762888 h 4749526"/>
              <a:gd name="connsiteX457" fmla="*/ 7141743 w 7402822"/>
              <a:gd name="connsiteY457" fmla="*/ 3762888 h 4749526"/>
              <a:gd name="connsiteX458" fmla="*/ 7147814 w 7402822"/>
              <a:gd name="connsiteY458" fmla="*/ 3762888 h 4749526"/>
              <a:gd name="connsiteX459" fmla="*/ 7141743 w 7402822"/>
              <a:gd name="connsiteY459" fmla="*/ 3765923 h 4749526"/>
              <a:gd name="connsiteX460" fmla="*/ 6953522 w 7402822"/>
              <a:gd name="connsiteY460" fmla="*/ 3753780 h 4749526"/>
              <a:gd name="connsiteX461" fmla="*/ 6956559 w 7402822"/>
              <a:gd name="connsiteY461" fmla="*/ 3756815 h 4749526"/>
              <a:gd name="connsiteX462" fmla="*/ 6959594 w 7402822"/>
              <a:gd name="connsiteY462" fmla="*/ 3759851 h 4749526"/>
              <a:gd name="connsiteX463" fmla="*/ 6956559 w 7402822"/>
              <a:gd name="connsiteY463" fmla="*/ 3759851 h 4749526"/>
              <a:gd name="connsiteX464" fmla="*/ 6953522 w 7402822"/>
              <a:gd name="connsiteY464" fmla="*/ 3756815 h 4749526"/>
              <a:gd name="connsiteX465" fmla="*/ 379475 w 7402822"/>
              <a:gd name="connsiteY465" fmla="*/ 3729494 h 4749526"/>
              <a:gd name="connsiteX466" fmla="*/ 385548 w 7402822"/>
              <a:gd name="connsiteY466" fmla="*/ 3732530 h 4749526"/>
              <a:gd name="connsiteX467" fmla="*/ 388583 w 7402822"/>
              <a:gd name="connsiteY467" fmla="*/ 3738602 h 4749526"/>
              <a:gd name="connsiteX468" fmla="*/ 379475 w 7402822"/>
              <a:gd name="connsiteY468" fmla="*/ 3735566 h 4749526"/>
              <a:gd name="connsiteX469" fmla="*/ 6938343 w 7402822"/>
              <a:gd name="connsiteY469" fmla="*/ 3729492 h 4749526"/>
              <a:gd name="connsiteX470" fmla="*/ 6944415 w 7402822"/>
              <a:gd name="connsiteY470" fmla="*/ 3732529 h 4749526"/>
              <a:gd name="connsiteX471" fmla="*/ 6941379 w 7402822"/>
              <a:gd name="connsiteY471" fmla="*/ 3735564 h 4749526"/>
              <a:gd name="connsiteX472" fmla="*/ 6935307 w 7402822"/>
              <a:gd name="connsiteY472" fmla="*/ 3735564 h 4749526"/>
              <a:gd name="connsiteX473" fmla="*/ 7144779 w 7402822"/>
              <a:gd name="connsiteY473" fmla="*/ 3726458 h 4749526"/>
              <a:gd name="connsiteX474" fmla="*/ 7150850 w 7402822"/>
              <a:gd name="connsiteY474" fmla="*/ 3732530 h 4749526"/>
              <a:gd name="connsiteX475" fmla="*/ 7153885 w 7402822"/>
              <a:gd name="connsiteY475" fmla="*/ 3741637 h 4749526"/>
              <a:gd name="connsiteX476" fmla="*/ 7147814 w 7402822"/>
              <a:gd name="connsiteY476" fmla="*/ 3741637 h 4749526"/>
              <a:gd name="connsiteX477" fmla="*/ 7138707 w 7402822"/>
              <a:gd name="connsiteY477" fmla="*/ 3744673 h 4749526"/>
              <a:gd name="connsiteX478" fmla="*/ 7126563 w 7402822"/>
              <a:gd name="connsiteY478" fmla="*/ 3741637 h 4749526"/>
              <a:gd name="connsiteX479" fmla="*/ 7123527 w 7402822"/>
              <a:gd name="connsiteY479" fmla="*/ 3738602 h 4749526"/>
              <a:gd name="connsiteX480" fmla="*/ 7129599 w 7402822"/>
              <a:gd name="connsiteY480" fmla="*/ 3729493 h 4749526"/>
              <a:gd name="connsiteX481" fmla="*/ 6340289 w 7402822"/>
              <a:gd name="connsiteY481" fmla="*/ 3708244 h 4749526"/>
              <a:gd name="connsiteX482" fmla="*/ 6349397 w 7402822"/>
              <a:gd name="connsiteY482" fmla="*/ 3708244 h 4749526"/>
              <a:gd name="connsiteX483" fmla="*/ 6337253 w 7402822"/>
              <a:gd name="connsiteY483" fmla="*/ 3714315 h 4749526"/>
              <a:gd name="connsiteX484" fmla="*/ 7181209 w 7402822"/>
              <a:gd name="connsiteY484" fmla="*/ 3702172 h 4749526"/>
              <a:gd name="connsiteX485" fmla="*/ 7175137 w 7402822"/>
              <a:gd name="connsiteY485" fmla="*/ 3705207 h 4749526"/>
              <a:gd name="connsiteX486" fmla="*/ 7175137 w 7402822"/>
              <a:gd name="connsiteY486" fmla="*/ 3708244 h 4749526"/>
              <a:gd name="connsiteX487" fmla="*/ 7175137 w 7402822"/>
              <a:gd name="connsiteY487" fmla="*/ 3714314 h 4749526"/>
              <a:gd name="connsiteX488" fmla="*/ 7162993 w 7402822"/>
              <a:gd name="connsiteY488" fmla="*/ 3714314 h 4749526"/>
              <a:gd name="connsiteX489" fmla="*/ 7156921 w 7402822"/>
              <a:gd name="connsiteY489" fmla="*/ 3717351 h 4749526"/>
              <a:gd name="connsiteX490" fmla="*/ 7150850 w 7402822"/>
              <a:gd name="connsiteY490" fmla="*/ 3717351 h 4749526"/>
              <a:gd name="connsiteX491" fmla="*/ 7147814 w 7402822"/>
              <a:gd name="connsiteY491" fmla="*/ 3714314 h 4749526"/>
              <a:gd name="connsiteX492" fmla="*/ 7153885 w 7402822"/>
              <a:gd name="connsiteY492" fmla="*/ 3708244 h 4749526"/>
              <a:gd name="connsiteX493" fmla="*/ 6932272 w 7402822"/>
              <a:gd name="connsiteY493" fmla="*/ 3702171 h 4749526"/>
              <a:gd name="connsiteX494" fmla="*/ 6938343 w 7402822"/>
              <a:gd name="connsiteY494" fmla="*/ 3702171 h 4749526"/>
              <a:gd name="connsiteX495" fmla="*/ 6938343 w 7402822"/>
              <a:gd name="connsiteY495" fmla="*/ 3705206 h 4749526"/>
              <a:gd name="connsiteX496" fmla="*/ 6932272 w 7402822"/>
              <a:gd name="connsiteY496" fmla="*/ 3705206 h 4749526"/>
              <a:gd name="connsiteX497" fmla="*/ 6914057 w 7402822"/>
              <a:gd name="connsiteY497" fmla="*/ 3696099 h 4749526"/>
              <a:gd name="connsiteX498" fmla="*/ 6923164 w 7402822"/>
              <a:gd name="connsiteY498" fmla="*/ 3699135 h 4749526"/>
              <a:gd name="connsiteX499" fmla="*/ 6926201 w 7402822"/>
              <a:gd name="connsiteY499" fmla="*/ 3705206 h 4749526"/>
              <a:gd name="connsiteX500" fmla="*/ 6929235 w 7402822"/>
              <a:gd name="connsiteY500" fmla="*/ 3708243 h 4749526"/>
              <a:gd name="connsiteX501" fmla="*/ 6920129 w 7402822"/>
              <a:gd name="connsiteY501" fmla="*/ 3708243 h 4749526"/>
              <a:gd name="connsiteX502" fmla="*/ 6904949 w 7402822"/>
              <a:gd name="connsiteY502" fmla="*/ 3668777 h 4749526"/>
              <a:gd name="connsiteX503" fmla="*/ 6907985 w 7402822"/>
              <a:gd name="connsiteY503" fmla="*/ 3674848 h 4749526"/>
              <a:gd name="connsiteX504" fmla="*/ 6907985 w 7402822"/>
              <a:gd name="connsiteY504" fmla="*/ 3680920 h 4749526"/>
              <a:gd name="connsiteX505" fmla="*/ 6911021 w 7402822"/>
              <a:gd name="connsiteY505" fmla="*/ 3677884 h 4749526"/>
              <a:gd name="connsiteX506" fmla="*/ 6914057 w 7402822"/>
              <a:gd name="connsiteY506" fmla="*/ 3674848 h 4749526"/>
              <a:gd name="connsiteX507" fmla="*/ 6917092 w 7402822"/>
              <a:gd name="connsiteY507" fmla="*/ 3683956 h 4749526"/>
              <a:gd name="connsiteX508" fmla="*/ 6914057 w 7402822"/>
              <a:gd name="connsiteY508" fmla="*/ 3686992 h 4749526"/>
              <a:gd name="connsiteX509" fmla="*/ 6911021 w 7402822"/>
              <a:gd name="connsiteY509" fmla="*/ 3690027 h 4749526"/>
              <a:gd name="connsiteX510" fmla="*/ 6904949 w 7402822"/>
              <a:gd name="connsiteY510" fmla="*/ 3683956 h 4749526"/>
              <a:gd name="connsiteX511" fmla="*/ 6901914 w 7402822"/>
              <a:gd name="connsiteY511" fmla="*/ 3674848 h 4749526"/>
              <a:gd name="connsiteX512" fmla="*/ 7345141 w 7402822"/>
              <a:gd name="connsiteY512" fmla="*/ 3650563 h 4749526"/>
              <a:gd name="connsiteX513" fmla="*/ 7348177 w 7402822"/>
              <a:gd name="connsiteY513" fmla="*/ 3650563 h 4749526"/>
              <a:gd name="connsiteX514" fmla="*/ 7357285 w 7402822"/>
              <a:gd name="connsiteY514" fmla="*/ 3653599 h 4749526"/>
              <a:gd name="connsiteX515" fmla="*/ 7351213 w 7402822"/>
              <a:gd name="connsiteY515" fmla="*/ 3656634 h 4749526"/>
              <a:gd name="connsiteX516" fmla="*/ 6285644 w 7402822"/>
              <a:gd name="connsiteY516" fmla="*/ 3650563 h 4749526"/>
              <a:gd name="connsiteX517" fmla="*/ 6288681 w 7402822"/>
              <a:gd name="connsiteY517" fmla="*/ 3656634 h 4749526"/>
              <a:gd name="connsiteX518" fmla="*/ 6291716 w 7402822"/>
              <a:gd name="connsiteY518" fmla="*/ 3659671 h 4749526"/>
              <a:gd name="connsiteX519" fmla="*/ 6279573 w 7402822"/>
              <a:gd name="connsiteY519" fmla="*/ 3659671 h 4749526"/>
              <a:gd name="connsiteX520" fmla="*/ 6279573 w 7402822"/>
              <a:gd name="connsiteY520" fmla="*/ 3653599 h 4749526"/>
              <a:gd name="connsiteX521" fmla="*/ 7329963 w 7402822"/>
              <a:gd name="connsiteY521" fmla="*/ 3644491 h 4749526"/>
              <a:gd name="connsiteX522" fmla="*/ 7342105 w 7402822"/>
              <a:gd name="connsiteY522" fmla="*/ 3644491 h 4749526"/>
              <a:gd name="connsiteX523" fmla="*/ 7342105 w 7402822"/>
              <a:gd name="connsiteY523" fmla="*/ 3647527 h 4749526"/>
              <a:gd name="connsiteX524" fmla="*/ 7342105 w 7402822"/>
              <a:gd name="connsiteY524" fmla="*/ 3650563 h 4749526"/>
              <a:gd name="connsiteX525" fmla="*/ 7339070 w 7402822"/>
              <a:gd name="connsiteY525" fmla="*/ 3650563 h 4749526"/>
              <a:gd name="connsiteX526" fmla="*/ 7336034 w 7402822"/>
              <a:gd name="connsiteY526" fmla="*/ 3650563 h 4749526"/>
              <a:gd name="connsiteX527" fmla="*/ 4382194 w 7402822"/>
              <a:gd name="connsiteY527" fmla="*/ 3614136 h 4749526"/>
              <a:gd name="connsiteX528" fmla="*/ 4385229 w 7402822"/>
              <a:gd name="connsiteY528" fmla="*/ 3620206 h 4749526"/>
              <a:gd name="connsiteX529" fmla="*/ 4379157 w 7402822"/>
              <a:gd name="connsiteY529" fmla="*/ 3617171 h 4749526"/>
              <a:gd name="connsiteX530" fmla="*/ 4482375 w 7402822"/>
              <a:gd name="connsiteY530" fmla="*/ 3611099 h 4749526"/>
              <a:gd name="connsiteX531" fmla="*/ 4494518 w 7402822"/>
              <a:gd name="connsiteY531" fmla="*/ 3629315 h 4749526"/>
              <a:gd name="connsiteX532" fmla="*/ 4500590 w 7402822"/>
              <a:gd name="connsiteY532" fmla="*/ 3647529 h 4749526"/>
              <a:gd name="connsiteX533" fmla="*/ 4500590 w 7402822"/>
              <a:gd name="connsiteY533" fmla="*/ 3665744 h 4749526"/>
              <a:gd name="connsiteX534" fmla="*/ 4506662 w 7402822"/>
              <a:gd name="connsiteY534" fmla="*/ 3680923 h 4749526"/>
              <a:gd name="connsiteX535" fmla="*/ 4503625 w 7402822"/>
              <a:gd name="connsiteY535" fmla="*/ 3690030 h 4749526"/>
              <a:gd name="connsiteX536" fmla="*/ 4500590 w 7402822"/>
              <a:gd name="connsiteY536" fmla="*/ 3696102 h 4749526"/>
              <a:gd name="connsiteX537" fmla="*/ 4494518 w 7402822"/>
              <a:gd name="connsiteY537" fmla="*/ 3686995 h 4749526"/>
              <a:gd name="connsiteX538" fmla="*/ 4494518 w 7402822"/>
              <a:gd name="connsiteY538" fmla="*/ 3683959 h 4749526"/>
              <a:gd name="connsiteX539" fmla="*/ 4491483 w 7402822"/>
              <a:gd name="connsiteY539" fmla="*/ 3683959 h 4749526"/>
              <a:gd name="connsiteX540" fmla="*/ 4491483 w 7402822"/>
              <a:gd name="connsiteY540" fmla="*/ 3696102 h 4749526"/>
              <a:gd name="connsiteX541" fmla="*/ 4491483 w 7402822"/>
              <a:gd name="connsiteY541" fmla="*/ 3699138 h 4749526"/>
              <a:gd name="connsiteX542" fmla="*/ 4494518 w 7402822"/>
              <a:gd name="connsiteY542" fmla="*/ 3702174 h 4749526"/>
              <a:gd name="connsiteX543" fmla="*/ 4494518 w 7402822"/>
              <a:gd name="connsiteY543" fmla="*/ 3708246 h 4749526"/>
              <a:gd name="connsiteX544" fmla="*/ 4491483 w 7402822"/>
              <a:gd name="connsiteY544" fmla="*/ 3714317 h 4749526"/>
              <a:gd name="connsiteX545" fmla="*/ 4488446 w 7402822"/>
              <a:gd name="connsiteY545" fmla="*/ 3717353 h 4749526"/>
              <a:gd name="connsiteX546" fmla="*/ 4485411 w 7402822"/>
              <a:gd name="connsiteY546" fmla="*/ 3723425 h 4749526"/>
              <a:gd name="connsiteX547" fmla="*/ 4485411 w 7402822"/>
              <a:gd name="connsiteY547" fmla="*/ 3729496 h 4749526"/>
              <a:gd name="connsiteX548" fmla="*/ 4488446 w 7402822"/>
              <a:gd name="connsiteY548" fmla="*/ 3732532 h 4749526"/>
              <a:gd name="connsiteX549" fmla="*/ 4485411 w 7402822"/>
              <a:gd name="connsiteY549" fmla="*/ 3738604 h 4749526"/>
              <a:gd name="connsiteX550" fmla="*/ 4485411 w 7402822"/>
              <a:gd name="connsiteY550" fmla="*/ 3747711 h 4749526"/>
              <a:gd name="connsiteX551" fmla="*/ 4476304 w 7402822"/>
              <a:gd name="connsiteY551" fmla="*/ 3768962 h 4749526"/>
              <a:gd name="connsiteX552" fmla="*/ 4455053 w 7402822"/>
              <a:gd name="connsiteY552" fmla="*/ 3835749 h 4749526"/>
              <a:gd name="connsiteX553" fmla="*/ 4448981 w 7402822"/>
              <a:gd name="connsiteY553" fmla="*/ 3863072 h 4749526"/>
              <a:gd name="connsiteX554" fmla="*/ 4439874 w 7402822"/>
              <a:gd name="connsiteY554" fmla="*/ 3890394 h 4749526"/>
              <a:gd name="connsiteX555" fmla="*/ 4430766 w 7402822"/>
              <a:gd name="connsiteY555" fmla="*/ 3899502 h 4749526"/>
              <a:gd name="connsiteX556" fmla="*/ 4421659 w 7402822"/>
              <a:gd name="connsiteY556" fmla="*/ 3899502 h 4749526"/>
              <a:gd name="connsiteX557" fmla="*/ 4409515 w 7402822"/>
              <a:gd name="connsiteY557" fmla="*/ 3902537 h 4749526"/>
              <a:gd name="connsiteX558" fmla="*/ 4397373 w 7402822"/>
              <a:gd name="connsiteY558" fmla="*/ 3908609 h 4749526"/>
              <a:gd name="connsiteX559" fmla="*/ 4388265 w 7402822"/>
              <a:gd name="connsiteY559" fmla="*/ 3902537 h 4749526"/>
              <a:gd name="connsiteX560" fmla="*/ 4376122 w 7402822"/>
              <a:gd name="connsiteY560" fmla="*/ 3896465 h 4749526"/>
              <a:gd name="connsiteX561" fmla="*/ 4370050 w 7402822"/>
              <a:gd name="connsiteY561" fmla="*/ 3884323 h 4749526"/>
              <a:gd name="connsiteX562" fmla="*/ 4367015 w 7402822"/>
              <a:gd name="connsiteY562" fmla="*/ 3875215 h 4749526"/>
              <a:gd name="connsiteX563" fmla="*/ 4367015 w 7402822"/>
              <a:gd name="connsiteY563" fmla="*/ 3863072 h 4749526"/>
              <a:gd name="connsiteX564" fmla="*/ 4360943 w 7402822"/>
              <a:gd name="connsiteY564" fmla="*/ 3847893 h 4749526"/>
              <a:gd name="connsiteX565" fmla="*/ 4357907 w 7402822"/>
              <a:gd name="connsiteY565" fmla="*/ 3823606 h 4749526"/>
              <a:gd name="connsiteX566" fmla="*/ 4360943 w 7402822"/>
              <a:gd name="connsiteY566" fmla="*/ 3817535 h 4749526"/>
              <a:gd name="connsiteX567" fmla="*/ 4363978 w 7402822"/>
              <a:gd name="connsiteY567" fmla="*/ 3811463 h 4749526"/>
              <a:gd name="connsiteX568" fmla="*/ 4370050 w 7402822"/>
              <a:gd name="connsiteY568" fmla="*/ 3808427 h 4749526"/>
              <a:gd name="connsiteX569" fmla="*/ 4373086 w 7402822"/>
              <a:gd name="connsiteY569" fmla="*/ 3799320 h 4749526"/>
              <a:gd name="connsiteX570" fmla="*/ 4382194 w 7402822"/>
              <a:gd name="connsiteY570" fmla="*/ 3784141 h 4749526"/>
              <a:gd name="connsiteX571" fmla="*/ 4382194 w 7402822"/>
              <a:gd name="connsiteY571" fmla="*/ 3771997 h 4749526"/>
              <a:gd name="connsiteX572" fmla="*/ 4379157 w 7402822"/>
              <a:gd name="connsiteY572" fmla="*/ 3759855 h 4749526"/>
              <a:gd name="connsiteX573" fmla="*/ 4373086 w 7402822"/>
              <a:gd name="connsiteY573" fmla="*/ 3747711 h 4749526"/>
              <a:gd name="connsiteX574" fmla="*/ 4373086 w 7402822"/>
              <a:gd name="connsiteY574" fmla="*/ 3735567 h 4749526"/>
              <a:gd name="connsiteX575" fmla="*/ 4373086 w 7402822"/>
              <a:gd name="connsiteY575" fmla="*/ 3726460 h 4749526"/>
              <a:gd name="connsiteX576" fmla="*/ 4382194 w 7402822"/>
              <a:gd name="connsiteY576" fmla="*/ 3711281 h 4749526"/>
              <a:gd name="connsiteX577" fmla="*/ 4382194 w 7402822"/>
              <a:gd name="connsiteY577" fmla="*/ 3708246 h 4749526"/>
              <a:gd name="connsiteX578" fmla="*/ 4382194 w 7402822"/>
              <a:gd name="connsiteY578" fmla="*/ 3705209 h 4749526"/>
              <a:gd name="connsiteX579" fmla="*/ 4385229 w 7402822"/>
              <a:gd name="connsiteY579" fmla="*/ 3702174 h 4749526"/>
              <a:gd name="connsiteX580" fmla="*/ 4400408 w 7402822"/>
              <a:gd name="connsiteY580" fmla="*/ 3696102 h 4749526"/>
              <a:gd name="connsiteX581" fmla="*/ 4406480 w 7402822"/>
              <a:gd name="connsiteY581" fmla="*/ 3696102 h 4749526"/>
              <a:gd name="connsiteX582" fmla="*/ 4406480 w 7402822"/>
              <a:gd name="connsiteY582" fmla="*/ 3693066 h 4749526"/>
              <a:gd name="connsiteX583" fmla="*/ 4415587 w 7402822"/>
              <a:gd name="connsiteY583" fmla="*/ 3693066 h 4749526"/>
              <a:gd name="connsiteX584" fmla="*/ 4421659 w 7402822"/>
              <a:gd name="connsiteY584" fmla="*/ 3693066 h 4749526"/>
              <a:gd name="connsiteX585" fmla="*/ 4433802 w 7402822"/>
              <a:gd name="connsiteY585" fmla="*/ 3680923 h 4749526"/>
              <a:gd name="connsiteX586" fmla="*/ 4442910 w 7402822"/>
              <a:gd name="connsiteY586" fmla="*/ 3671815 h 4749526"/>
              <a:gd name="connsiteX587" fmla="*/ 4445945 w 7402822"/>
              <a:gd name="connsiteY587" fmla="*/ 3671815 h 4749526"/>
              <a:gd name="connsiteX588" fmla="*/ 4442910 w 7402822"/>
              <a:gd name="connsiteY588" fmla="*/ 3677887 h 4749526"/>
              <a:gd name="connsiteX589" fmla="*/ 4445945 w 7402822"/>
              <a:gd name="connsiteY589" fmla="*/ 3677887 h 4749526"/>
              <a:gd name="connsiteX590" fmla="*/ 4452017 w 7402822"/>
              <a:gd name="connsiteY590" fmla="*/ 3668780 h 4749526"/>
              <a:gd name="connsiteX591" fmla="*/ 4448981 w 7402822"/>
              <a:gd name="connsiteY591" fmla="*/ 3662708 h 4749526"/>
              <a:gd name="connsiteX592" fmla="*/ 4455053 w 7402822"/>
              <a:gd name="connsiteY592" fmla="*/ 3647529 h 4749526"/>
              <a:gd name="connsiteX593" fmla="*/ 4458088 w 7402822"/>
              <a:gd name="connsiteY593" fmla="*/ 3647529 h 4749526"/>
              <a:gd name="connsiteX594" fmla="*/ 4464160 w 7402822"/>
              <a:gd name="connsiteY594" fmla="*/ 3644494 h 4749526"/>
              <a:gd name="connsiteX595" fmla="*/ 4470232 w 7402822"/>
              <a:gd name="connsiteY595" fmla="*/ 3641457 h 4749526"/>
              <a:gd name="connsiteX596" fmla="*/ 4473267 w 7402822"/>
              <a:gd name="connsiteY596" fmla="*/ 3638422 h 4749526"/>
              <a:gd name="connsiteX597" fmla="*/ 4476304 w 7402822"/>
              <a:gd name="connsiteY597" fmla="*/ 3629315 h 4749526"/>
              <a:gd name="connsiteX598" fmla="*/ 4473267 w 7402822"/>
              <a:gd name="connsiteY598" fmla="*/ 3623243 h 4749526"/>
              <a:gd name="connsiteX599" fmla="*/ 4476304 w 7402822"/>
              <a:gd name="connsiteY599" fmla="*/ 3620206 h 4749526"/>
              <a:gd name="connsiteX600" fmla="*/ 6768337 w 7402822"/>
              <a:gd name="connsiteY600" fmla="*/ 3601990 h 4749526"/>
              <a:gd name="connsiteX601" fmla="*/ 6777445 w 7402822"/>
              <a:gd name="connsiteY601" fmla="*/ 3605025 h 4749526"/>
              <a:gd name="connsiteX602" fmla="*/ 6777445 w 7402822"/>
              <a:gd name="connsiteY602" fmla="*/ 3608062 h 4749526"/>
              <a:gd name="connsiteX603" fmla="*/ 6768337 w 7402822"/>
              <a:gd name="connsiteY603" fmla="*/ 3605025 h 4749526"/>
              <a:gd name="connsiteX604" fmla="*/ 6152069 w 7402822"/>
              <a:gd name="connsiteY604" fmla="*/ 3601990 h 4749526"/>
              <a:gd name="connsiteX605" fmla="*/ 6158141 w 7402822"/>
              <a:gd name="connsiteY605" fmla="*/ 3605026 h 4749526"/>
              <a:gd name="connsiteX606" fmla="*/ 6155105 w 7402822"/>
              <a:gd name="connsiteY606" fmla="*/ 3611097 h 4749526"/>
              <a:gd name="connsiteX607" fmla="*/ 6145997 w 7402822"/>
              <a:gd name="connsiteY607" fmla="*/ 3611097 h 4749526"/>
              <a:gd name="connsiteX608" fmla="*/ 4357907 w 7402822"/>
              <a:gd name="connsiteY608" fmla="*/ 3598956 h 4749526"/>
              <a:gd name="connsiteX609" fmla="*/ 4360943 w 7402822"/>
              <a:gd name="connsiteY609" fmla="*/ 3601992 h 4749526"/>
              <a:gd name="connsiteX610" fmla="*/ 4360943 w 7402822"/>
              <a:gd name="connsiteY610" fmla="*/ 3608064 h 4749526"/>
              <a:gd name="connsiteX611" fmla="*/ 4360943 w 7402822"/>
              <a:gd name="connsiteY611" fmla="*/ 3611099 h 4749526"/>
              <a:gd name="connsiteX612" fmla="*/ 4357907 w 7402822"/>
              <a:gd name="connsiteY612" fmla="*/ 3605027 h 4749526"/>
              <a:gd name="connsiteX613" fmla="*/ 6155105 w 7402822"/>
              <a:gd name="connsiteY613" fmla="*/ 3595918 h 4749526"/>
              <a:gd name="connsiteX614" fmla="*/ 6158141 w 7402822"/>
              <a:gd name="connsiteY614" fmla="*/ 3595918 h 4749526"/>
              <a:gd name="connsiteX615" fmla="*/ 6164212 w 7402822"/>
              <a:gd name="connsiteY615" fmla="*/ 3598954 h 4749526"/>
              <a:gd name="connsiteX616" fmla="*/ 6170284 w 7402822"/>
              <a:gd name="connsiteY616" fmla="*/ 3598954 h 4749526"/>
              <a:gd name="connsiteX617" fmla="*/ 6173319 w 7402822"/>
              <a:gd name="connsiteY617" fmla="*/ 3595918 h 4749526"/>
              <a:gd name="connsiteX618" fmla="*/ 6179391 w 7402822"/>
              <a:gd name="connsiteY618" fmla="*/ 3598954 h 4749526"/>
              <a:gd name="connsiteX619" fmla="*/ 6173319 w 7402822"/>
              <a:gd name="connsiteY619" fmla="*/ 3608062 h 4749526"/>
              <a:gd name="connsiteX620" fmla="*/ 6167247 w 7402822"/>
              <a:gd name="connsiteY620" fmla="*/ 3611097 h 4749526"/>
              <a:gd name="connsiteX621" fmla="*/ 6158141 w 7402822"/>
              <a:gd name="connsiteY621" fmla="*/ 3605026 h 4749526"/>
              <a:gd name="connsiteX622" fmla="*/ 6155105 w 7402822"/>
              <a:gd name="connsiteY622" fmla="*/ 3598954 h 4749526"/>
              <a:gd name="connsiteX623" fmla="*/ 6410112 w 7402822"/>
              <a:gd name="connsiteY623" fmla="*/ 3586811 h 4749526"/>
              <a:gd name="connsiteX624" fmla="*/ 6416184 w 7402822"/>
              <a:gd name="connsiteY624" fmla="*/ 3611097 h 4749526"/>
              <a:gd name="connsiteX625" fmla="*/ 6419221 w 7402822"/>
              <a:gd name="connsiteY625" fmla="*/ 3614134 h 4749526"/>
              <a:gd name="connsiteX626" fmla="*/ 6425291 w 7402822"/>
              <a:gd name="connsiteY626" fmla="*/ 3623241 h 4749526"/>
              <a:gd name="connsiteX627" fmla="*/ 6428327 w 7402822"/>
              <a:gd name="connsiteY627" fmla="*/ 3635383 h 4749526"/>
              <a:gd name="connsiteX628" fmla="*/ 6428327 w 7402822"/>
              <a:gd name="connsiteY628" fmla="*/ 3650563 h 4749526"/>
              <a:gd name="connsiteX629" fmla="*/ 6431363 w 7402822"/>
              <a:gd name="connsiteY629" fmla="*/ 3662706 h 4749526"/>
              <a:gd name="connsiteX630" fmla="*/ 6437435 w 7402822"/>
              <a:gd name="connsiteY630" fmla="*/ 3665742 h 4749526"/>
              <a:gd name="connsiteX631" fmla="*/ 6443507 w 7402822"/>
              <a:gd name="connsiteY631" fmla="*/ 3662706 h 4749526"/>
              <a:gd name="connsiteX632" fmla="*/ 6446542 w 7402822"/>
              <a:gd name="connsiteY632" fmla="*/ 3659671 h 4749526"/>
              <a:gd name="connsiteX633" fmla="*/ 6449577 w 7402822"/>
              <a:gd name="connsiteY633" fmla="*/ 3662706 h 4749526"/>
              <a:gd name="connsiteX634" fmla="*/ 6452614 w 7402822"/>
              <a:gd name="connsiteY634" fmla="*/ 3668778 h 4749526"/>
              <a:gd name="connsiteX635" fmla="*/ 6461721 w 7402822"/>
              <a:gd name="connsiteY635" fmla="*/ 3677885 h 4749526"/>
              <a:gd name="connsiteX636" fmla="*/ 6464757 w 7402822"/>
              <a:gd name="connsiteY636" fmla="*/ 3680921 h 4749526"/>
              <a:gd name="connsiteX637" fmla="*/ 6464757 w 7402822"/>
              <a:gd name="connsiteY637" fmla="*/ 3690029 h 4749526"/>
              <a:gd name="connsiteX638" fmla="*/ 6467793 w 7402822"/>
              <a:gd name="connsiteY638" fmla="*/ 3702172 h 4749526"/>
              <a:gd name="connsiteX639" fmla="*/ 6467793 w 7402822"/>
              <a:gd name="connsiteY639" fmla="*/ 3708244 h 4749526"/>
              <a:gd name="connsiteX640" fmla="*/ 6470829 w 7402822"/>
              <a:gd name="connsiteY640" fmla="*/ 3714315 h 4749526"/>
              <a:gd name="connsiteX641" fmla="*/ 6473865 w 7402822"/>
              <a:gd name="connsiteY641" fmla="*/ 3717351 h 4749526"/>
              <a:gd name="connsiteX642" fmla="*/ 6476901 w 7402822"/>
              <a:gd name="connsiteY642" fmla="*/ 3720386 h 4749526"/>
              <a:gd name="connsiteX643" fmla="*/ 6479935 w 7402822"/>
              <a:gd name="connsiteY643" fmla="*/ 3735565 h 4749526"/>
              <a:gd name="connsiteX644" fmla="*/ 6479935 w 7402822"/>
              <a:gd name="connsiteY644" fmla="*/ 3744674 h 4749526"/>
              <a:gd name="connsiteX645" fmla="*/ 6482972 w 7402822"/>
              <a:gd name="connsiteY645" fmla="*/ 3759852 h 4749526"/>
              <a:gd name="connsiteX646" fmla="*/ 6492079 w 7402822"/>
              <a:gd name="connsiteY646" fmla="*/ 3765923 h 4749526"/>
              <a:gd name="connsiteX647" fmla="*/ 6507259 w 7402822"/>
              <a:gd name="connsiteY647" fmla="*/ 3775031 h 4749526"/>
              <a:gd name="connsiteX648" fmla="*/ 6516365 w 7402822"/>
              <a:gd name="connsiteY648" fmla="*/ 3781103 h 4749526"/>
              <a:gd name="connsiteX649" fmla="*/ 6528509 w 7402822"/>
              <a:gd name="connsiteY649" fmla="*/ 3784139 h 4749526"/>
              <a:gd name="connsiteX650" fmla="*/ 6534581 w 7402822"/>
              <a:gd name="connsiteY650" fmla="*/ 3787174 h 4749526"/>
              <a:gd name="connsiteX651" fmla="*/ 6537617 w 7402822"/>
              <a:gd name="connsiteY651" fmla="*/ 3793246 h 4749526"/>
              <a:gd name="connsiteX652" fmla="*/ 6543689 w 7402822"/>
              <a:gd name="connsiteY652" fmla="*/ 3808425 h 4749526"/>
              <a:gd name="connsiteX653" fmla="*/ 6549759 w 7402822"/>
              <a:gd name="connsiteY653" fmla="*/ 3826640 h 4749526"/>
              <a:gd name="connsiteX654" fmla="*/ 6555831 w 7402822"/>
              <a:gd name="connsiteY654" fmla="*/ 3835747 h 4749526"/>
              <a:gd name="connsiteX655" fmla="*/ 6561903 w 7402822"/>
              <a:gd name="connsiteY655" fmla="*/ 3841819 h 4749526"/>
              <a:gd name="connsiteX656" fmla="*/ 6561903 w 7402822"/>
              <a:gd name="connsiteY656" fmla="*/ 3832712 h 4749526"/>
              <a:gd name="connsiteX657" fmla="*/ 6561903 w 7402822"/>
              <a:gd name="connsiteY657" fmla="*/ 3829675 h 4749526"/>
              <a:gd name="connsiteX658" fmla="*/ 6567975 w 7402822"/>
              <a:gd name="connsiteY658" fmla="*/ 3835747 h 4749526"/>
              <a:gd name="connsiteX659" fmla="*/ 6571011 w 7402822"/>
              <a:gd name="connsiteY659" fmla="*/ 3835747 h 4749526"/>
              <a:gd name="connsiteX660" fmla="*/ 6574047 w 7402822"/>
              <a:gd name="connsiteY660" fmla="*/ 3835747 h 4749526"/>
              <a:gd name="connsiteX661" fmla="*/ 6577082 w 7402822"/>
              <a:gd name="connsiteY661" fmla="*/ 3838784 h 4749526"/>
              <a:gd name="connsiteX662" fmla="*/ 6577082 w 7402822"/>
              <a:gd name="connsiteY662" fmla="*/ 3844854 h 4749526"/>
              <a:gd name="connsiteX663" fmla="*/ 6577082 w 7402822"/>
              <a:gd name="connsiteY663" fmla="*/ 3847891 h 4749526"/>
              <a:gd name="connsiteX664" fmla="*/ 6577082 w 7402822"/>
              <a:gd name="connsiteY664" fmla="*/ 3850926 h 4749526"/>
              <a:gd name="connsiteX665" fmla="*/ 6580117 w 7402822"/>
              <a:gd name="connsiteY665" fmla="*/ 3860033 h 4749526"/>
              <a:gd name="connsiteX666" fmla="*/ 6586189 w 7402822"/>
              <a:gd name="connsiteY666" fmla="*/ 3869142 h 4749526"/>
              <a:gd name="connsiteX667" fmla="*/ 6595297 w 7402822"/>
              <a:gd name="connsiteY667" fmla="*/ 3872177 h 4749526"/>
              <a:gd name="connsiteX668" fmla="*/ 6601369 w 7402822"/>
              <a:gd name="connsiteY668" fmla="*/ 3881284 h 4749526"/>
              <a:gd name="connsiteX669" fmla="*/ 6613512 w 7402822"/>
              <a:gd name="connsiteY669" fmla="*/ 3896463 h 4749526"/>
              <a:gd name="connsiteX670" fmla="*/ 6619583 w 7402822"/>
              <a:gd name="connsiteY670" fmla="*/ 3905571 h 4749526"/>
              <a:gd name="connsiteX671" fmla="*/ 6622619 w 7402822"/>
              <a:gd name="connsiteY671" fmla="*/ 3911643 h 4749526"/>
              <a:gd name="connsiteX672" fmla="*/ 6625655 w 7402822"/>
              <a:gd name="connsiteY672" fmla="*/ 3917714 h 4749526"/>
              <a:gd name="connsiteX673" fmla="*/ 6625655 w 7402822"/>
              <a:gd name="connsiteY673" fmla="*/ 3923786 h 4749526"/>
              <a:gd name="connsiteX674" fmla="*/ 6625655 w 7402822"/>
              <a:gd name="connsiteY674" fmla="*/ 3932894 h 4749526"/>
              <a:gd name="connsiteX675" fmla="*/ 6625655 w 7402822"/>
              <a:gd name="connsiteY675" fmla="*/ 3935929 h 4749526"/>
              <a:gd name="connsiteX676" fmla="*/ 6625655 w 7402822"/>
              <a:gd name="connsiteY676" fmla="*/ 3938965 h 4749526"/>
              <a:gd name="connsiteX677" fmla="*/ 6625655 w 7402822"/>
              <a:gd name="connsiteY677" fmla="*/ 3942001 h 4749526"/>
              <a:gd name="connsiteX678" fmla="*/ 6622619 w 7402822"/>
              <a:gd name="connsiteY678" fmla="*/ 3945036 h 4749526"/>
              <a:gd name="connsiteX679" fmla="*/ 6628691 w 7402822"/>
              <a:gd name="connsiteY679" fmla="*/ 3951108 h 4749526"/>
              <a:gd name="connsiteX680" fmla="*/ 6631727 w 7402822"/>
              <a:gd name="connsiteY680" fmla="*/ 3963252 h 4749526"/>
              <a:gd name="connsiteX681" fmla="*/ 6634762 w 7402822"/>
              <a:gd name="connsiteY681" fmla="*/ 3990573 h 4749526"/>
              <a:gd name="connsiteX682" fmla="*/ 6628691 w 7402822"/>
              <a:gd name="connsiteY682" fmla="*/ 4011824 h 4749526"/>
              <a:gd name="connsiteX683" fmla="*/ 6622619 w 7402822"/>
              <a:gd name="connsiteY683" fmla="*/ 4020932 h 4749526"/>
              <a:gd name="connsiteX684" fmla="*/ 6622619 w 7402822"/>
              <a:gd name="connsiteY684" fmla="*/ 4030039 h 4749526"/>
              <a:gd name="connsiteX685" fmla="*/ 6622619 w 7402822"/>
              <a:gd name="connsiteY685" fmla="*/ 4042183 h 4749526"/>
              <a:gd name="connsiteX686" fmla="*/ 6619583 w 7402822"/>
              <a:gd name="connsiteY686" fmla="*/ 4054325 h 4749526"/>
              <a:gd name="connsiteX687" fmla="*/ 6613512 w 7402822"/>
              <a:gd name="connsiteY687" fmla="*/ 4060397 h 4749526"/>
              <a:gd name="connsiteX688" fmla="*/ 6613512 w 7402822"/>
              <a:gd name="connsiteY688" fmla="*/ 4069504 h 4749526"/>
              <a:gd name="connsiteX689" fmla="*/ 6604405 w 7402822"/>
              <a:gd name="connsiteY689" fmla="*/ 4075576 h 4749526"/>
              <a:gd name="connsiteX690" fmla="*/ 6595297 w 7402822"/>
              <a:gd name="connsiteY690" fmla="*/ 4084683 h 4749526"/>
              <a:gd name="connsiteX691" fmla="*/ 6589225 w 7402822"/>
              <a:gd name="connsiteY691" fmla="*/ 4096827 h 4749526"/>
              <a:gd name="connsiteX692" fmla="*/ 6586189 w 7402822"/>
              <a:gd name="connsiteY692" fmla="*/ 4108970 h 4749526"/>
              <a:gd name="connsiteX693" fmla="*/ 6561903 w 7402822"/>
              <a:gd name="connsiteY693" fmla="*/ 4160579 h 4749526"/>
              <a:gd name="connsiteX694" fmla="*/ 6564939 w 7402822"/>
              <a:gd name="connsiteY694" fmla="*/ 4163614 h 4749526"/>
              <a:gd name="connsiteX695" fmla="*/ 6561903 w 7402822"/>
              <a:gd name="connsiteY695" fmla="*/ 4166651 h 4749526"/>
              <a:gd name="connsiteX696" fmla="*/ 6561903 w 7402822"/>
              <a:gd name="connsiteY696" fmla="*/ 4175758 h 4749526"/>
              <a:gd name="connsiteX697" fmla="*/ 6558867 w 7402822"/>
              <a:gd name="connsiteY697" fmla="*/ 4181830 h 4749526"/>
              <a:gd name="connsiteX698" fmla="*/ 6561903 w 7402822"/>
              <a:gd name="connsiteY698" fmla="*/ 4197009 h 4749526"/>
              <a:gd name="connsiteX699" fmla="*/ 6549759 w 7402822"/>
              <a:gd name="connsiteY699" fmla="*/ 4203080 h 4749526"/>
              <a:gd name="connsiteX700" fmla="*/ 6525473 w 7402822"/>
              <a:gd name="connsiteY700" fmla="*/ 4206116 h 4749526"/>
              <a:gd name="connsiteX701" fmla="*/ 6504223 w 7402822"/>
              <a:gd name="connsiteY701" fmla="*/ 4218259 h 4749526"/>
              <a:gd name="connsiteX702" fmla="*/ 6495115 w 7402822"/>
              <a:gd name="connsiteY702" fmla="*/ 4227367 h 4749526"/>
              <a:gd name="connsiteX703" fmla="*/ 6482972 w 7402822"/>
              <a:gd name="connsiteY703" fmla="*/ 4230403 h 4749526"/>
              <a:gd name="connsiteX704" fmla="*/ 6476901 w 7402822"/>
              <a:gd name="connsiteY704" fmla="*/ 4227367 h 4749526"/>
              <a:gd name="connsiteX705" fmla="*/ 6470829 w 7402822"/>
              <a:gd name="connsiteY705" fmla="*/ 4224331 h 4749526"/>
              <a:gd name="connsiteX706" fmla="*/ 6461721 w 7402822"/>
              <a:gd name="connsiteY706" fmla="*/ 4212188 h 4749526"/>
              <a:gd name="connsiteX707" fmla="*/ 6455649 w 7402822"/>
              <a:gd name="connsiteY707" fmla="*/ 4206116 h 4749526"/>
              <a:gd name="connsiteX708" fmla="*/ 6449577 w 7402822"/>
              <a:gd name="connsiteY708" fmla="*/ 4209152 h 4749526"/>
              <a:gd name="connsiteX709" fmla="*/ 6446542 w 7402822"/>
              <a:gd name="connsiteY709" fmla="*/ 4215224 h 4749526"/>
              <a:gd name="connsiteX710" fmla="*/ 6440471 w 7402822"/>
              <a:gd name="connsiteY710" fmla="*/ 4221295 h 4749526"/>
              <a:gd name="connsiteX711" fmla="*/ 6434399 w 7402822"/>
              <a:gd name="connsiteY711" fmla="*/ 4227367 h 4749526"/>
              <a:gd name="connsiteX712" fmla="*/ 6425291 w 7402822"/>
              <a:gd name="connsiteY712" fmla="*/ 4230403 h 4749526"/>
              <a:gd name="connsiteX713" fmla="*/ 6413149 w 7402822"/>
              <a:gd name="connsiteY713" fmla="*/ 4224331 h 4749526"/>
              <a:gd name="connsiteX714" fmla="*/ 6401005 w 7402822"/>
              <a:gd name="connsiteY714" fmla="*/ 4218259 h 4749526"/>
              <a:gd name="connsiteX715" fmla="*/ 6373683 w 7402822"/>
              <a:gd name="connsiteY715" fmla="*/ 4209152 h 4749526"/>
              <a:gd name="connsiteX716" fmla="*/ 6367611 w 7402822"/>
              <a:gd name="connsiteY716" fmla="*/ 4209152 h 4749526"/>
              <a:gd name="connsiteX717" fmla="*/ 6358504 w 7402822"/>
              <a:gd name="connsiteY717" fmla="*/ 4200044 h 4749526"/>
              <a:gd name="connsiteX718" fmla="*/ 6349397 w 7402822"/>
              <a:gd name="connsiteY718" fmla="*/ 4187901 h 4749526"/>
              <a:gd name="connsiteX719" fmla="*/ 6349397 w 7402822"/>
              <a:gd name="connsiteY719" fmla="*/ 4181830 h 4749526"/>
              <a:gd name="connsiteX720" fmla="*/ 6352432 w 7402822"/>
              <a:gd name="connsiteY720" fmla="*/ 4178793 h 4749526"/>
              <a:gd name="connsiteX721" fmla="*/ 6346361 w 7402822"/>
              <a:gd name="connsiteY721" fmla="*/ 4160579 h 4749526"/>
              <a:gd name="connsiteX722" fmla="*/ 6343325 w 7402822"/>
              <a:gd name="connsiteY722" fmla="*/ 4154507 h 4749526"/>
              <a:gd name="connsiteX723" fmla="*/ 6340289 w 7402822"/>
              <a:gd name="connsiteY723" fmla="*/ 4142364 h 4749526"/>
              <a:gd name="connsiteX724" fmla="*/ 6337253 w 7402822"/>
              <a:gd name="connsiteY724" fmla="*/ 4142364 h 4749526"/>
              <a:gd name="connsiteX725" fmla="*/ 6331181 w 7402822"/>
              <a:gd name="connsiteY725" fmla="*/ 4145400 h 4749526"/>
              <a:gd name="connsiteX726" fmla="*/ 6325111 w 7402822"/>
              <a:gd name="connsiteY726" fmla="*/ 4148435 h 4749526"/>
              <a:gd name="connsiteX727" fmla="*/ 6319039 w 7402822"/>
              <a:gd name="connsiteY727" fmla="*/ 4148435 h 4749526"/>
              <a:gd name="connsiteX728" fmla="*/ 6316002 w 7402822"/>
              <a:gd name="connsiteY728" fmla="*/ 4145400 h 4749526"/>
              <a:gd name="connsiteX729" fmla="*/ 6322074 w 7402822"/>
              <a:gd name="connsiteY729" fmla="*/ 4133256 h 4749526"/>
              <a:gd name="connsiteX730" fmla="*/ 6322074 w 7402822"/>
              <a:gd name="connsiteY730" fmla="*/ 4121113 h 4749526"/>
              <a:gd name="connsiteX731" fmla="*/ 6316002 w 7402822"/>
              <a:gd name="connsiteY731" fmla="*/ 4112006 h 4749526"/>
              <a:gd name="connsiteX732" fmla="*/ 6309931 w 7402822"/>
              <a:gd name="connsiteY732" fmla="*/ 4127185 h 4749526"/>
              <a:gd name="connsiteX733" fmla="*/ 6306895 w 7402822"/>
              <a:gd name="connsiteY733" fmla="*/ 4136293 h 4749526"/>
              <a:gd name="connsiteX734" fmla="*/ 6297787 w 7402822"/>
              <a:gd name="connsiteY734" fmla="*/ 4136293 h 4749526"/>
              <a:gd name="connsiteX735" fmla="*/ 6291716 w 7402822"/>
              <a:gd name="connsiteY735" fmla="*/ 4139328 h 4749526"/>
              <a:gd name="connsiteX736" fmla="*/ 6291716 w 7402822"/>
              <a:gd name="connsiteY736" fmla="*/ 4136293 h 4749526"/>
              <a:gd name="connsiteX737" fmla="*/ 6291716 w 7402822"/>
              <a:gd name="connsiteY737" fmla="*/ 4130221 h 4749526"/>
              <a:gd name="connsiteX738" fmla="*/ 6297787 w 7402822"/>
              <a:gd name="connsiteY738" fmla="*/ 4130221 h 4749526"/>
              <a:gd name="connsiteX739" fmla="*/ 6303859 w 7402822"/>
              <a:gd name="connsiteY739" fmla="*/ 4118078 h 4749526"/>
              <a:gd name="connsiteX740" fmla="*/ 6306895 w 7402822"/>
              <a:gd name="connsiteY740" fmla="*/ 4102899 h 4749526"/>
              <a:gd name="connsiteX741" fmla="*/ 6309931 w 7402822"/>
              <a:gd name="connsiteY741" fmla="*/ 4075576 h 4749526"/>
              <a:gd name="connsiteX742" fmla="*/ 6306895 w 7402822"/>
              <a:gd name="connsiteY742" fmla="*/ 4072541 h 4749526"/>
              <a:gd name="connsiteX743" fmla="*/ 6306895 w 7402822"/>
              <a:gd name="connsiteY743" fmla="*/ 4081648 h 4749526"/>
              <a:gd name="connsiteX744" fmla="*/ 6300823 w 7402822"/>
              <a:gd name="connsiteY744" fmla="*/ 4093791 h 4749526"/>
              <a:gd name="connsiteX745" fmla="*/ 6291716 w 7402822"/>
              <a:gd name="connsiteY745" fmla="*/ 4099863 h 4749526"/>
              <a:gd name="connsiteX746" fmla="*/ 6285644 w 7402822"/>
              <a:gd name="connsiteY746" fmla="*/ 4102899 h 4749526"/>
              <a:gd name="connsiteX747" fmla="*/ 6279573 w 7402822"/>
              <a:gd name="connsiteY747" fmla="*/ 4108970 h 4749526"/>
              <a:gd name="connsiteX748" fmla="*/ 6270465 w 7402822"/>
              <a:gd name="connsiteY748" fmla="*/ 4121113 h 4749526"/>
              <a:gd name="connsiteX749" fmla="*/ 6261357 w 7402822"/>
              <a:gd name="connsiteY749" fmla="*/ 4121113 h 4749526"/>
              <a:gd name="connsiteX750" fmla="*/ 6255285 w 7402822"/>
              <a:gd name="connsiteY750" fmla="*/ 4108970 h 4749526"/>
              <a:gd name="connsiteX751" fmla="*/ 6249215 w 7402822"/>
              <a:gd name="connsiteY751" fmla="*/ 4093791 h 4749526"/>
              <a:gd name="connsiteX752" fmla="*/ 6243143 w 7402822"/>
              <a:gd name="connsiteY752" fmla="*/ 4081648 h 4749526"/>
              <a:gd name="connsiteX753" fmla="*/ 6234036 w 7402822"/>
              <a:gd name="connsiteY753" fmla="*/ 4069504 h 4749526"/>
              <a:gd name="connsiteX754" fmla="*/ 6227964 w 7402822"/>
              <a:gd name="connsiteY754" fmla="*/ 4066469 h 4749526"/>
              <a:gd name="connsiteX755" fmla="*/ 6224929 w 7402822"/>
              <a:gd name="connsiteY755" fmla="*/ 4063434 h 4749526"/>
              <a:gd name="connsiteX756" fmla="*/ 6218857 w 7402822"/>
              <a:gd name="connsiteY756" fmla="*/ 4063434 h 4749526"/>
              <a:gd name="connsiteX757" fmla="*/ 6212785 w 7402822"/>
              <a:gd name="connsiteY757" fmla="*/ 4063434 h 4749526"/>
              <a:gd name="connsiteX758" fmla="*/ 6185462 w 7402822"/>
              <a:gd name="connsiteY758" fmla="*/ 4054325 h 4749526"/>
              <a:gd name="connsiteX759" fmla="*/ 6167247 w 7402822"/>
              <a:gd name="connsiteY759" fmla="*/ 4045218 h 4749526"/>
              <a:gd name="connsiteX760" fmla="*/ 6133854 w 7402822"/>
              <a:gd name="connsiteY760" fmla="*/ 4051290 h 4749526"/>
              <a:gd name="connsiteX761" fmla="*/ 6124747 w 7402822"/>
              <a:gd name="connsiteY761" fmla="*/ 4051290 h 4749526"/>
              <a:gd name="connsiteX762" fmla="*/ 6115639 w 7402822"/>
              <a:gd name="connsiteY762" fmla="*/ 4057362 h 4749526"/>
              <a:gd name="connsiteX763" fmla="*/ 6088317 w 7402822"/>
              <a:gd name="connsiteY763" fmla="*/ 4066469 h 4749526"/>
              <a:gd name="connsiteX764" fmla="*/ 6079209 w 7402822"/>
              <a:gd name="connsiteY764" fmla="*/ 4066469 h 4749526"/>
              <a:gd name="connsiteX765" fmla="*/ 6067066 w 7402822"/>
              <a:gd name="connsiteY765" fmla="*/ 4063434 h 4749526"/>
              <a:gd name="connsiteX766" fmla="*/ 6057959 w 7402822"/>
              <a:gd name="connsiteY766" fmla="*/ 4069504 h 4749526"/>
              <a:gd name="connsiteX767" fmla="*/ 6042779 w 7402822"/>
              <a:gd name="connsiteY767" fmla="*/ 4075576 h 4749526"/>
              <a:gd name="connsiteX768" fmla="*/ 6027601 w 7402822"/>
              <a:gd name="connsiteY768" fmla="*/ 4087720 h 4749526"/>
              <a:gd name="connsiteX769" fmla="*/ 6018493 w 7402822"/>
              <a:gd name="connsiteY769" fmla="*/ 4102899 h 4749526"/>
              <a:gd name="connsiteX770" fmla="*/ 6009386 w 7402822"/>
              <a:gd name="connsiteY770" fmla="*/ 4105934 h 4749526"/>
              <a:gd name="connsiteX771" fmla="*/ 6006349 w 7402822"/>
              <a:gd name="connsiteY771" fmla="*/ 4102899 h 4749526"/>
              <a:gd name="connsiteX772" fmla="*/ 5997242 w 7402822"/>
              <a:gd name="connsiteY772" fmla="*/ 4105934 h 4749526"/>
              <a:gd name="connsiteX773" fmla="*/ 5985099 w 7402822"/>
              <a:gd name="connsiteY773" fmla="*/ 4105934 h 4749526"/>
              <a:gd name="connsiteX774" fmla="*/ 5982063 w 7402822"/>
              <a:gd name="connsiteY774" fmla="*/ 4102899 h 4749526"/>
              <a:gd name="connsiteX775" fmla="*/ 5972956 w 7402822"/>
              <a:gd name="connsiteY775" fmla="*/ 4102899 h 4749526"/>
              <a:gd name="connsiteX776" fmla="*/ 5963849 w 7402822"/>
              <a:gd name="connsiteY776" fmla="*/ 4102899 h 4749526"/>
              <a:gd name="connsiteX777" fmla="*/ 5945634 w 7402822"/>
              <a:gd name="connsiteY777" fmla="*/ 4105934 h 4749526"/>
              <a:gd name="connsiteX778" fmla="*/ 5936526 w 7402822"/>
              <a:gd name="connsiteY778" fmla="*/ 4108970 h 4749526"/>
              <a:gd name="connsiteX779" fmla="*/ 5921347 w 7402822"/>
              <a:gd name="connsiteY779" fmla="*/ 4118078 h 4749526"/>
              <a:gd name="connsiteX780" fmla="*/ 5912241 w 7402822"/>
              <a:gd name="connsiteY780" fmla="*/ 4124149 h 4749526"/>
              <a:gd name="connsiteX781" fmla="*/ 5903132 w 7402822"/>
              <a:gd name="connsiteY781" fmla="*/ 4133256 h 4749526"/>
              <a:gd name="connsiteX782" fmla="*/ 5887953 w 7402822"/>
              <a:gd name="connsiteY782" fmla="*/ 4133256 h 4749526"/>
              <a:gd name="connsiteX783" fmla="*/ 5875811 w 7402822"/>
              <a:gd name="connsiteY783" fmla="*/ 4133256 h 4749526"/>
              <a:gd name="connsiteX784" fmla="*/ 5863667 w 7402822"/>
              <a:gd name="connsiteY784" fmla="*/ 4130221 h 4749526"/>
              <a:gd name="connsiteX785" fmla="*/ 5854560 w 7402822"/>
              <a:gd name="connsiteY785" fmla="*/ 4121113 h 4749526"/>
              <a:gd name="connsiteX786" fmla="*/ 5842417 w 7402822"/>
              <a:gd name="connsiteY786" fmla="*/ 4115042 h 4749526"/>
              <a:gd name="connsiteX787" fmla="*/ 5839381 w 7402822"/>
              <a:gd name="connsiteY787" fmla="*/ 4112006 h 4749526"/>
              <a:gd name="connsiteX788" fmla="*/ 5839381 w 7402822"/>
              <a:gd name="connsiteY788" fmla="*/ 4096827 h 4749526"/>
              <a:gd name="connsiteX789" fmla="*/ 5842417 w 7402822"/>
              <a:gd name="connsiteY789" fmla="*/ 4096827 h 4749526"/>
              <a:gd name="connsiteX790" fmla="*/ 5848488 w 7402822"/>
              <a:gd name="connsiteY790" fmla="*/ 4096827 h 4749526"/>
              <a:gd name="connsiteX791" fmla="*/ 5851524 w 7402822"/>
              <a:gd name="connsiteY791" fmla="*/ 4090755 h 4749526"/>
              <a:gd name="connsiteX792" fmla="*/ 5854560 w 7402822"/>
              <a:gd name="connsiteY792" fmla="*/ 4081648 h 4749526"/>
              <a:gd name="connsiteX793" fmla="*/ 5854560 w 7402822"/>
              <a:gd name="connsiteY793" fmla="*/ 4069504 h 4749526"/>
              <a:gd name="connsiteX794" fmla="*/ 5854560 w 7402822"/>
              <a:gd name="connsiteY794" fmla="*/ 4054325 h 4749526"/>
              <a:gd name="connsiteX795" fmla="*/ 5851524 w 7402822"/>
              <a:gd name="connsiteY795" fmla="*/ 4045218 h 4749526"/>
              <a:gd name="connsiteX796" fmla="*/ 5842417 w 7402822"/>
              <a:gd name="connsiteY796" fmla="*/ 4033075 h 4749526"/>
              <a:gd name="connsiteX797" fmla="*/ 5839381 w 7402822"/>
              <a:gd name="connsiteY797" fmla="*/ 4020932 h 4749526"/>
              <a:gd name="connsiteX798" fmla="*/ 5839381 w 7402822"/>
              <a:gd name="connsiteY798" fmla="*/ 4008788 h 4749526"/>
              <a:gd name="connsiteX799" fmla="*/ 5836345 w 7402822"/>
              <a:gd name="connsiteY799" fmla="*/ 3993610 h 4749526"/>
              <a:gd name="connsiteX800" fmla="*/ 5824202 w 7402822"/>
              <a:gd name="connsiteY800" fmla="*/ 3969323 h 4749526"/>
              <a:gd name="connsiteX801" fmla="*/ 5821166 w 7402822"/>
              <a:gd name="connsiteY801" fmla="*/ 3963252 h 4749526"/>
              <a:gd name="connsiteX802" fmla="*/ 5821166 w 7402822"/>
              <a:gd name="connsiteY802" fmla="*/ 3957180 h 4749526"/>
              <a:gd name="connsiteX803" fmla="*/ 5815094 w 7402822"/>
              <a:gd name="connsiteY803" fmla="*/ 3945036 h 4749526"/>
              <a:gd name="connsiteX804" fmla="*/ 5809022 w 7402822"/>
              <a:gd name="connsiteY804" fmla="*/ 3932894 h 4749526"/>
              <a:gd name="connsiteX805" fmla="*/ 5805987 w 7402822"/>
              <a:gd name="connsiteY805" fmla="*/ 3929857 h 4749526"/>
              <a:gd name="connsiteX806" fmla="*/ 5802951 w 7402822"/>
              <a:gd name="connsiteY806" fmla="*/ 3923786 h 4749526"/>
              <a:gd name="connsiteX807" fmla="*/ 5802951 w 7402822"/>
              <a:gd name="connsiteY807" fmla="*/ 3917714 h 4749526"/>
              <a:gd name="connsiteX808" fmla="*/ 5805987 w 7402822"/>
              <a:gd name="connsiteY808" fmla="*/ 3917714 h 4749526"/>
              <a:gd name="connsiteX809" fmla="*/ 5809022 w 7402822"/>
              <a:gd name="connsiteY809" fmla="*/ 3926822 h 4749526"/>
              <a:gd name="connsiteX810" fmla="*/ 5809022 w 7402822"/>
              <a:gd name="connsiteY810" fmla="*/ 3929857 h 4749526"/>
              <a:gd name="connsiteX811" fmla="*/ 5815094 w 7402822"/>
              <a:gd name="connsiteY811" fmla="*/ 3929857 h 4749526"/>
              <a:gd name="connsiteX812" fmla="*/ 5809022 w 7402822"/>
              <a:gd name="connsiteY812" fmla="*/ 3920750 h 4749526"/>
              <a:gd name="connsiteX813" fmla="*/ 5805987 w 7402822"/>
              <a:gd name="connsiteY813" fmla="*/ 3911643 h 4749526"/>
              <a:gd name="connsiteX814" fmla="*/ 5805987 w 7402822"/>
              <a:gd name="connsiteY814" fmla="*/ 3908607 h 4749526"/>
              <a:gd name="connsiteX815" fmla="*/ 5812059 w 7402822"/>
              <a:gd name="connsiteY815" fmla="*/ 3917714 h 4749526"/>
              <a:gd name="connsiteX816" fmla="*/ 5818130 w 7402822"/>
              <a:gd name="connsiteY816" fmla="*/ 3926822 h 4749526"/>
              <a:gd name="connsiteX817" fmla="*/ 5821166 w 7402822"/>
              <a:gd name="connsiteY817" fmla="*/ 3923786 h 4749526"/>
              <a:gd name="connsiteX818" fmla="*/ 5824202 w 7402822"/>
              <a:gd name="connsiteY818" fmla="*/ 3917714 h 4749526"/>
              <a:gd name="connsiteX819" fmla="*/ 5821166 w 7402822"/>
              <a:gd name="connsiteY819" fmla="*/ 3914678 h 4749526"/>
              <a:gd name="connsiteX820" fmla="*/ 5818130 w 7402822"/>
              <a:gd name="connsiteY820" fmla="*/ 3908607 h 4749526"/>
              <a:gd name="connsiteX821" fmla="*/ 5812059 w 7402822"/>
              <a:gd name="connsiteY821" fmla="*/ 3896463 h 4749526"/>
              <a:gd name="connsiteX822" fmla="*/ 5805987 w 7402822"/>
              <a:gd name="connsiteY822" fmla="*/ 3881284 h 4749526"/>
              <a:gd name="connsiteX823" fmla="*/ 5805987 w 7402822"/>
              <a:gd name="connsiteY823" fmla="*/ 3878249 h 4749526"/>
              <a:gd name="connsiteX824" fmla="*/ 5805987 w 7402822"/>
              <a:gd name="connsiteY824" fmla="*/ 3875213 h 4749526"/>
              <a:gd name="connsiteX825" fmla="*/ 5809022 w 7402822"/>
              <a:gd name="connsiteY825" fmla="*/ 3863070 h 4749526"/>
              <a:gd name="connsiteX826" fmla="*/ 5812059 w 7402822"/>
              <a:gd name="connsiteY826" fmla="*/ 3863070 h 4749526"/>
              <a:gd name="connsiteX827" fmla="*/ 5812059 w 7402822"/>
              <a:gd name="connsiteY827" fmla="*/ 3856998 h 4749526"/>
              <a:gd name="connsiteX828" fmla="*/ 5812059 w 7402822"/>
              <a:gd name="connsiteY828" fmla="*/ 3844854 h 4749526"/>
              <a:gd name="connsiteX829" fmla="*/ 5815094 w 7402822"/>
              <a:gd name="connsiteY829" fmla="*/ 3832712 h 4749526"/>
              <a:gd name="connsiteX830" fmla="*/ 5821166 w 7402822"/>
              <a:gd name="connsiteY830" fmla="*/ 3823604 h 4749526"/>
              <a:gd name="connsiteX831" fmla="*/ 5821166 w 7402822"/>
              <a:gd name="connsiteY831" fmla="*/ 3829675 h 4749526"/>
              <a:gd name="connsiteX832" fmla="*/ 5821166 w 7402822"/>
              <a:gd name="connsiteY832" fmla="*/ 3838784 h 4749526"/>
              <a:gd name="connsiteX833" fmla="*/ 5827238 w 7402822"/>
              <a:gd name="connsiteY833" fmla="*/ 3835747 h 4749526"/>
              <a:gd name="connsiteX834" fmla="*/ 5827238 w 7402822"/>
              <a:gd name="connsiteY834" fmla="*/ 3832712 h 4749526"/>
              <a:gd name="connsiteX835" fmla="*/ 5830273 w 7402822"/>
              <a:gd name="connsiteY835" fmla="*/ 3823604 h 4749526"/>
              <a:gd name="connsiteX836" fmla="*/ 5836345 w 7402822"/>
              <a:gd name="connsiteY836" fmla="*/ 3820568 h 4749526"/>
              <a:gd name="connsiteX837" fmla="*/ 5857595 w 7402822"/>
              <a:gd name="connsiteY837" fmla="*/ 3808425 h 4749526"/>
              <a:gd name="connsiteX838" fmla="*/ 5869739 w 7402822"/>
              <a:gd name="connsiteY838" fmla="*/ 3799318 h 4749526"/>
              <a:gd name="connsiteX839" fmla="*/ 5881882 w 7402822"/>
              <a:gd name="connsiteY839" fmla="*/ 3796282 h 4749526"/>
              <a:gd name="connsiteX840" fmla="*/ 5890990 w 7402822"/>
              <a:gd name="connsiteY840" fmla="*/ 3799318 h 4749526"/>
              <a:gd name="connsiteX841" fmla="*/ 5900097 w 7402822"/>
              <a:gd name="connsiteY841" fmla="*/ 3796282 h 4749526"/>
              <a:gd name="connsiteX842" fmla="*/ 5906169 w 7402822"/>
              <a:gd name="connsiteY842" fmla="*/ 3790210 h 4749526"/>
              <a:gd name="connsiteX843" fmla="*/ 5912241 w 7402822"/>
              <a:gd name="connsiteY843" fmla="*/ 3790210 h 4749526"/>
              <a:gd name="connsiteX844" fmla="*/ 5918312 w 7402822"/>
              <a:gd name="connsiteY844" fmla="*/ 3790210 h 4749526"/>
              <a:gd name="connsiteX845" fmla="*/ 5921347 w 7402822"/>
              <a:gd name="connsiteY845" fmla="*/ 3787174 h 4749526"/>
              <a:gd name="connsiteX846" fmla="*/ 5936526 w 7402822"/>
              <a:gd name="connsiteY846" fmla="*/ 3784139 h 4749526"/>
              <a:gd name="connsiteX847" fmla="*/ 5960813 w 7402822"/>
              <a:gd name="connsiteY847" fmla="*/ 3775031 h 4749526"/>
              <a:gd name="connsiteX848" fmla="*/ 5975991 w 7402822"/>
              <a:gd name="connsiteY848" fmla="*/ 3759852 h 4749526"/>
              <a:gd name="connsiteX849" fmla="*/ 5982063 w 7402822"/>
              <a:gd name="connsiteY849" fmla="*/ 3747709 h 4749526"/>
              <a:gd name="connsiteX850" fmla="*/ 5985099 w 7402822"/>
              <a:gd name="connsiteY850" fmla="*/ 3741637 h 4749526"/>
              <a:gd name="connsiteX851" fmla="*/ 5988135 w 7402822"/>
              <a:gd name="connsiteY851" fmla="*/ 3735565 h 4749526"/>
              <a:gd name="connsiteX852" fmla="*/ 5988135 w 7402822"/>
              <a:gd name="connsiteY852" fmla="*/ 3723423 h 4749526"/>
              <a:gd name="connsiteX853" fmla="*/ 5997242 w 7402822"/>
              <a:gd name="connsiteY853" fmla="*/ 3711279 h 4749526"/>
              <a:gd name="connsiteX854" fmla="*/ 6006349 w 7402822"/>
              <a:gd name="connsiteY854" fmla="*/ 3708244 h 4749526"/>
              <a:gd name="connsiteX855" fmla="*/ 6006349 w 7402822"/>
              <a:gd name="connsiteY855" fmla="*/ 3714315 h 4749526"/>
              <a:gd name="connsiteX856" fmla="*/ 6009386 w 7402822"/>
              <a:gd name="connsiteY856" fmla="*/ 3720386 h 4749526"/>
              <a:gd name="connsiteX857" fmla="*/ 6015457 w 7402822"/>
              <a:gd name="connsiteY857" fmla="*/ 3729494 h 4749526"/>
              <a:gd name="connsiteX858" fmla="*/ 6021529 w 7402822"/>
              <a:gd name="connsiteY858" fmla="*/ 3717351 h 4749526"/>
              <a:gd name="connsiteX859" fmla="*/ 6015457 w 7402822"/>
              <a:gd name="connsiteY859" fmla="*/ 3705207 h 4749526"/>
              <a:gd name="connsiteX860" fmla="*/ 6021529 w 7402822"/>
              <a:gd name="connsiteY860" fmla="*/ 3702172 h 4749526"/>
              <a:gd name="connsiteX861" fmla="*/ 6021529 w 7402822"/>
              <a:gd name="connsiteY861" fmla="*/ 3705207 h 4749526"/>
              <a:gd name="connsiteX862" fmla="*/ 6030637 w 7402822"/>
              <a:gd name="connsiteY862" fmla="*/ 3705207 h 4749526"/>
              <a:gd name="connsiteX863" fmla="*/ 6033672 w 7402822"/>
              <a:gd name="connsiteY863" fmla="*/ 3705207 h 4749526"/>
              <a:gd name="connsiteX864" fmla="*/ 6042779 w 7402822"/>
              <a:gd name="connsiteY864" fmla="*/ 3705207 h 4749526"/>
              <a:gd name="connsiteX865" fmla="*/ 6036707 w 7402822"/>
              <a:gd name="connsiteY865" fmla="*/ 3702172 h 4749526"/>
              <a:gd name="connsiteX866" fmla="*/ 6033672 w 7402822"/>
              <a:gd name="connsiteY866" fmla="*/ 3696100 h 4749526"/>
              <a:gd name="connsiteX867" fmla="*/ 6033672 w 7402822"/>
              <a:gd name="connsiteY867" fmla="*/ 3686993 h 4749526"/>
              <a:gd name="connsiteX868" fmla="*/ 6045815 w 7402822"/>
              <a:gd name="connsiteY868" fmla="*/ 3677885 h 4749526"/>
              <a:gd name="connsiteX869" fmla="*/ 6048851 w 7402822"/>
              <a:gd name="connsiteY869" fmla="*/ 3674850 h 4749526"/>
              <a:gd name="connsiteX870" fmla="*/ 6048851 w 7402822"/>
              <a:gd name="connsiteY870" fmla="*/ 3668778 h 4749526"/>
              <a:gd name="connsiteX871" fmla="*/ 6054923 w 7402822"/>
              <a:gd name="connsiteY871" fmla="*/ 3665742 h 4749526"/>
              <a:gd name="connsiteX872" fmla="*/ 6060994 w 7402822"/>
              <a:gd name="connsiteY872" fmla="*/ 3665742 h 4749526"/>
              <a:gd name="connsiteX873" fmla="*/ 6064031 w 7402822"/>
              <a:gd name="connsiteY873" fmla="*/ 3668778 h 4749526"/>
              <a:gd name="connsiteX874" fmla="*/ 6067066 w 7402822"/>
              <a:gd name="connsiteY874" fmla="*/ 3662706 h 4749526"/>
              <a:gd name="connsiteX875" fmla="*/ 6070102 w 7402822"/>
              <a:gd name="connsiteY875" fmla="*/ 3659671 h 4749526"/>
              <a:gd name="connsiteX876" fmla="*/ 6076173 w 7402822"/>
              <a:gd name="connsiteY876" fmla="*/ 3653599 h 4749526"/>
              <a:gd name="connsiteX877" fmla="*/ 6085281 w 7402822"/>
              <a:gd name="connsiteY877" fmla="*/ 3650563 h 4749526"/>
              <a:gd name="connsiteX878" fmla="*/ 6094389 w 7402822"/>
              <a:gd name="connsiteY878" fmla="*/ 3653599 h 4749526"/>
              <a:gd name="connsiteX879" fmla="*/ 6100461 w 7402822"/>
              <a:gd name="connsiteY879" fmla="*/ 3659671 h 4749526"/>
              <a:gd name="connsiteX880" fmla="*/ 6115639 w 7402822"/>
              <a:gd name="connsiteY880" fmla="*/ 3671813 h 4749526"/>
              <a:gd name="connsiteX881" fmla="*/ 6118675 w 7402822"/>
              <a:gd name="connsiteY881" fmla="*/ 3671813 h 4749526"/>
              <a:gd name="connsiteX882" fmla="*/ 6121711 w 7402822"/>
              <a:gd name="connsiteY882" fmla="*/ 3671813 h 4749526"/>
              <a:gd name="connsiteX883" fmla="*/ 6130817 w 7402822"/>
              <a:gd name="connsiteY883" fmla="*/ 3674850 h 4749526"/>
              <a:gd name="connsiteX884" fmla="*/ 6139926 w 7402822"/>
              <a:gd name="connsiteY884" fmla="*/ 3671813 h 4749526"/>
              <a:gd name="connsiteX885" fmla="*/ 6136889 w 7402822"/>
              <a:gd name="connsiteY885" fmla="*/ 3662706 h 4749526"/>
              <a:gd name="connsiteX886" fmla="*/ 6136889 w 7402822"/>
              <a:gd name="connsiteY886" fmla="*/ 3659671 h 4749526"/>
              <a:gd name="connsiteX887" fmla="*/ 6145997 w 7402822"/>
              <a:gd name="connsiteY887" fmla="*/ 3647527 h 4749526"/>
              <a:gd name="connsiteX888" fmla="*/ 6149033 w 7402822"/>
              <a:gd name="connsiteY888" fmla="*/ 3644492 h 4749526"/>
              <a:gd name="connsiteX889" fmla="*/ 6152069 w 7402822"/>
              <a:gd name="connsiteY889" fmla="*/ 3638420 h 4749526"/>
              <a:gd name="connsiteX890" fmla="*/ 6152069 w 7402822"/>
              <a:gd name="connsiteY890" fmla="*/ 3635383 h 4749526"/>
              <a:gd name="connsiteX891" fmla="*/ 6152069 w 7402822"/>
              <a:gd name="connsiteY891" fmla="*/ 3632348 h 4749526"/>
              <a:gd name="connsiteX892" fmla="*/ 6155105 w 7402822"/>
              <a:gd name="connsiteY892" fmla="*/ 3632348 h 4749526"/>
              <a:gd name="connsiteX893" fmla="*/ 6158141 w 7402822"/>
              <a:gd name="connsiteY893" fmla="*/ 3623241 h 4749526"/>
              <a:gd name="connsiteX894" fmla="*/ 6170284 w 7402822"/>
              <a:gd name="connsiteY894" fmla="*/ 3617169 h 4749526"/>
              <a:gd name="connsiteX895" fmla="*/ 6176355 w 7402822"/>
              <a:gd name="connsiteY895" fmla="*/ 3617169 h 4749526"/>
              <a:gd name="connsiteX896" fmla="*/ 6185462 w 7402822"/>
              <a:gd name="connsiteY896" fmla="*/ 3617169 h 4749526"/>
              <a:gd name="connsiteX897" fmla="*/ 6188499 w 7402822"/>
              <a:gd name="connsiteY897" fmla="*/ 3617169 h 4749526"/>
              <a:gd name="connsiteX898" fmla="*/ 6194571 w 7402822"/>
              <a:gd name="connsiteY898" fmla="*/ 3617169 h 4749526"/>
              <a:gd name="connsiteX899" fmla="*/ 6203677 w 7402822"/>
              <a:gd name="connsiteY899" fmla="*/ 3614134 h 4749526"/>
              <a:gd name="connsiteX900" fmla="*/ 6203677 w 7402822"/>
              <a:gd name="connsiteY900" fmla="*/ 3608062 h 4749526"/>
              <a:gd name="connsiteX901" fmla="*/ 6203677 w 7402822"/>
              <a:gd name="connsiteY901" fmla="*/ 3605026 h 4749526"/>
              <a:gd name="connsiteX902" fmla="*/ 6197606 w 7402822"/>
              <a:gd name="connsiteY902" fmla="*/ 3601990 h 4749526"/>
              <a:gd name="connsiteX903" fmla="*/ 6194571 w 7402822"/>
              <a:gd name="connsiteY903" fmla="*/ 3601990 h 4749526"/>
              <a:gd name="connsiteX904" fmla="*/ 6188499 w 7402822"/>
              <a:gd name="connsiteY904" fmla="*/ 3598954 h 4749526"/>
              <a:gd name="connsiteX905" fmla="*/ 6185462 w 7402822"/>
              <a:gd name="connsiteY905" fmla="*/ 3595918 h 4749526"/>
              <a:gd name="connsiteX906" fmla="*/ 6188499 w 7402822"/>
              <a:gd name="connsiteY906" fmla="*/ 3595918 h 4749526"/>
              <a:gd name="connsiteX907" fmla="*/ 6197606 w 7402822"/>
              <a:gd name="connsiteY907" fmla="*/ 3595918 h 4749526"/>
              <a:gd name="connsiteX908" fmla="*/ 6203677 w 7402822"/>
              <a:gd name="connsiteY908" fmla="*/ 3595918 h 4749526"/>
              <a:gd name="connsiteX909" fmla="*/ 6212785 w 7402822"/>
              <a:gd name="connsiteY909" fmla="*/ 3605026 h 4749526"/>
              <a:gd name="connsiteX910" fmla="*/ 6218857 w 7402822"/>
              <a:gd name="connsiteY910" fmla="*/ 3608062 h 4749526"/>
              <a:gd name="connsiteX911" fmla="*/ 6234036 w 7402822"/>
              <a:gd name="connsiteY911" fmla="*/ 3614134 h 4749526"/>
              <a:gd name="connsiteX912" fmla="*/ 6249215 w 7402822"/>
              <a:gd name="connsiteY912" fmla="*/ 3614134 h 4749526"/>
              <a:gd name="connsiteX913" fmla="*/ 6252251 w 7402822"/>
              <a:gd name="connsiteY913" fmla="*/ 3617169 h 4749526"/>
              <a:gd name="connsiteX914" fmla="*/ 6258322 w 7402822"/>
              <a:gd name="connsiteY914" fmla="*/ 3617169 h 4749526"/>
              <a:gd name="connsiteX915" fmla="*/ 6267429 w 7402822"/>
              <a:gd name="connsiteY915" fmla="*/ 3617169 h 4749526"/>
              <a:gd name="connsiteX916" fmla="*/ 6273501 w 7402822"/>
              <a:gd name="connsiteY916" fmla="*/ 3623241 h 4749526"/>
              <a:gd name="connsiteX917" fmla="*/ 6279573 w 7402822"/>
              <a:gd name="connsiteY917" fmla="*/ 3620205 h 4749526"/>
              <a:gd name="connsiteX918" fmla="*/ 6276537 w 7402822"/>
              <a:gd name="connsiteY918" fmla="*/ 3617169 h 4749526"/>
              <a:gd name="connsiteX919" fmla="*/ 6279573 w 7402822"/>
              <a:gd name="connsiteY919" fmla="*/ 3611097 h 4749526"/>
              <a:gd name="connsiteX920" fmla="*/ 6285644 w 7402822"/>
              <a:gd name="connsiteY920" fmla="*/ 3614134 h 4749526"/>
              <a:gd name="connsiteX921" fmla="*/ 6291716 w 7402822"/>
              <a:gd name="connsiteY921" fmla="*/ 3620205 h 4749526"/>
              <a:gd name="connsiteX922" fmla="*/ 6288681 w 7402822"/>
              <a:gd name="connsiteY922" fmla="*/ 3623241 h 4749526"/>
              <a:gd name="connsiteX923" fmla="*/ 6282609 w 7402822"/>
              <a:gd name="connsiteY923" fmla="*/ 3632348 h 4749526"/>
              <a:gd name="connsiteX924" fmla="*/ 6282609 w 7402822"/>
              <a:gd name="connsiteY924" fmla="*/ 3635383 h 4749526"/>
              <a:gd name="connsiteX925" fmla="*/ 6279573 w 7402822"/>
              <a:gd name="connsiteY925" fmla="*/ 3641455 h 4749526"/>
              <a:gd name="connsiteX926" fmla="*/ 6279573 w 7402822"/>
              <a:gd name="connsiteY926" fmla="*/ 3635383 h 4749526"/>
              <a:gd name="connsiteX927" fmla="*/ 6273501 w 7402822"/>
              <a:gd name="connsiteY927" fmla="*/ 3638420 h 4749526"/>
              <a:gd name="connsiteX928" fmla="*/ 6270465 w 7402822"/>
              <a:gd name="connsiteY928" fmla="*/ 3641455 h 4749526"/>
              <a:gd name="connsiteX929" fmla="*/ 6270465 w 7402822"/>
              <a:gd name="connsiteY929" fmla="*/ 3647527 h 4749526"/>
              <a:gd name="connsiteX930" fmla="*/ 6270465 w 7402822"/>
              <a:gd name="connsiteY930" fmla="*/ 3650563 h 4749526"/>
              <a:gd name="connsiteX931" fmla="*/ 6270465 w 7402822"/>
              <a:gd name="connsiteY931" fmla="*/ 3653599 h 4749526"/>
              <a:gd name="connsiteX932" fmla="*/ 6261357 w 7402822"/>
              <a:gd name="connsiteY932" fmla="*/ 3668778 h 4749526"/>
              <a:gd name="connsiteX933" fmla="*/ 6261357 w 7402822"/>
              <a:gd name="connsiteY933" fmla="*/ 3674850 h 4749526"/>
              <a:gd name="connsiteX934" fmla="*/ 6270465 w 7402822"/>
              <a:gd name="connsiteY934" fmla="*/ 3680921 h 4749526"/>
              <a:gd name="connsiteX935" fmla="*/ 6279573 w 7402822"/>
              <a:gd name="connsiteY935" fmla="*/ 3690029 h 4749526"/>
              <a:gd name="connsiteX936" fmla="*/ 6291716 w 7402822"/>
              <a:gd name="connsiteY936" fmla="*/ 3696100 h 4749526"/>
              <a:gd name="connsiteX937" fmla="*/ 6303859 w 7402822"/>
              <a:gd name="connsiteY937" fmla="*/ 3699136 h 4749526"/>
              <a:gd name="connsiteX938" fmla="*/ 6306895 w 7402822"/>
              <a:gd name="connsiteY938" fmla="*/ 3702172 h 4749526"/>
              <a:gd name="connsiteX939" fmla="*/ 6309931 w 7402822"/>
              <a:gd name="connsiteY939" fmla="*/ 3708244 h 4749526"/>
              <a:gd name="connsiteX940" fmla="*/ 6319039 w 7402822"/>
              <a:gd name="connsiteY940" fmla="*/ 3714315 h 4749526"/>
              <a:gd name="connsiteX941" fmla="*/ 6331181 w 7402822"/>
              <a:gd name="connsiteY941" fmla="*/ 3717351 h 4749526"/>
              <a:gd name="connsiteX942" fmla="*/ 6337253 w 7402822"/>
              <a:gd name="connsiteY942" fmla="*/ 3720386 h 4749526"/>
              <a:gd name="connsiteX943" fmla="*/ 6340289 w 7402822"/>
              <a:gd name="connsiteY943" fmla="*/ 3726458 h 4749526"/>
              <a:gd name="connsiteX944" fmla="*/ 6352432 w 7402822"/>
              <a:gd name="connsiteY944" fmla="*/ 3732530 h 4749526"/>
              <a:gd name="connsiteX945" fmla="*/ 6370647 w 7402822"/>
              <a:gd name="connsiteY945" fmla="*/ 3729494 h 4749526"/>
              <a:gd name="connsiteX946" fmla="*/ 6376719 w 7402822"/>
              <a:gd name="connsiteY946" fmla="*/ 3717351 h 4749526"/>
              <a:gd name="connsiteX947" fmla="*/ 6382791 w 7402822"/>
              <a:gd name="connsiteY947" fmla="*/ 3708244 h 4749526"/>
              <a:gd name="connsiteX948" fmla="*/ 6385825 w 7402822"/>
              <a:gd name="connsiteY948" fmla="*/ 3677885 h 4749526"/>
              <a:gd name="connsiteX949" fmla="*/ 6388862 w 7402822"/>
              <a:gd name="connsiteY949" fmla="*/ 3671813 h 4749526"/>
              <a:gd name="connsiteX950" fmla="*/ 6385825 w 7402822"/>
              <a:gd name="connsiteY950" fmla="*/ 3668778 h 4749526"/>
              <a:gd name="connsiteX951" fmla="*/ 6385825 w 7402822"/>
              <a:gd name="connsiteY951" fmla="*/ 3653599 h 4749526"/>
              <a:gd name="connsiteX952" fmla="*/ 6385825 w 7402822"/>
              <a:gd name="connsiteY952" fmla="*/ 3641455 h 4749526"/>
              <a:gd name="connsiteX953" fmla="*/ 6388862 w 7402822"/>
              <a:gd name="connsiteY953" fmla="*/ 3629313 h 4749526"/>
              <a:gd name="connsiteX954" fmla="*/ 6388862 w 7402822"/>
              <a:gd name="connsiteY954" fmla="*/ 3617169 h 4749526"/>
              <a:gd name="connsiteX955" fmla="*/ 6394934 w 7402822"/>
              <a:gd name="connsiteY955" fmla="*/ 3605026 h 4749526"/>
              <a:gd name="connsiteX956" fmla="*/ 6009385 w 7402822"/>
              <a:gd name="connsiteY956" fmla="*/ 3580737 h 4749526"/>
              <a:gd name="connsiteX957" fmla="*/ 6012420 w 7402822"/>
              <a:gd name="connsiteY957" fmla="*/ 3580737 h 4749526"/>
              <a:gd name="connsiteX958" fmla="*/ 6012420 w 7402822"/>
              <a:gd name="connsiteY958" fmla="*/ 3583773 h 4749526"/>
              <a:gd name="connsiteX959" fmla="*/ 6003313 w 7402822"/>
              <a:gd name="connsiteY959" fmla="*/ 3589845 h 4749526"/>
              <a:gd name="connsiteX960" fmla="*/ 6000277 w 7402822"/>
              <a:gd name="connsiteY960" fmla="*/ 3589845 h 4749526"/>
              <a:gd name="connsiteX961" fmla="*/ 6000277 w 7402822"/>
              <a:gd name="connsiteY961" fmla="*/ 3586809 h 4749526"/>
              <a:gd name="connsiteX962" fmla="*/ 6795661 w 7402822"/>
              <a:gd name="connsiteY962" fmla="*/ 3574667 h 4749526"/>
              <a:gd name="connsiteX963" fmla="*/ 6801732 w 7402822"/>
              <a:gd name="connsiteY963" fmla="*/ 3580739 h 4749526"/>
              <a:gd name="connsiteX964" fmla="*/ 6807803 w 7402822"/>
              <a:gd name="connsiteY964" fmla="*/ 3580739 h 4749526"/>
              <a:gd name="connsiteX965" fmla="*/ 6810839 w 7402822"/>
              <a:gd name="connsiteY965" fmla="*/ 3580739 h 4749526"/>
              <a:gd name="connsiteX966" fmla="*/ 6813875 w 7402822"/>
              <a:gd name="connsiteY966" fmla="*/ 3586811 h 4749526"/>
              <a:gd name="connsiteX967" fmla="*/ 6816911 w 7402822"/>
              <a:gd name="connsiteY967" fmla="*/ 3589846 h 4749526"/>
              <a:gd name="connsiteX968" fmla="*/ 6807803 w 7402822"/>
              <a:gd name="connsiteY968" fmla="*/ 3586811 h 4749526"/>
              <a:gd name="connsiteX969" fmla="*/ 6795661 w 7402822"/>
              <a:gd name="connsiteY969" fmla="*/ 3580739 h 4749526"/>
              <a:gd name="connsiteX970" fmla="*/ 6577082 w 7402822"/>
              <a:gd name="connsiteY970" fmla="*/ 3568596 h 4749526"/>
              <a:gd name="connsiteX971" fmla="*/ 6586189 w 7402822"/>
              <a:gd name="connsiteY971" fmla="*/ 3571632 h 4749526"/>
              <a:gd name="connsiteX972" fmla="*/ 6589225 w 7402822"/>
              <a:gd name="connsiteY972" fmla="*/ 3574667 h 4749526"/>
              <a:gd name="connsiteX973" fmla="*/ 6583154 w 7402822"/>
              <a:gd name="connsiteY973" fmla="*/ 3574667 h 4749526"/>
              <a:gd name="connsiteX974" fmla="*/ 6580117 w 7402822"/>
              <a:gd name="connsiteY974" fmla="*/ 3571632 h 4749526"/>
              <a:gd name="connsiteX975" fmla="*/ 6762267 w 7402822"/>
              <a:gd name="connsiteY975" fmla="*/ 3556453 h 4749526"/>
              <a:gd name="connsiteX976" fmla="*/ 6771374 w 7402822"/>
              <a:gd name="connsiteY976" fmla="*/ 3559489 h 4749526"/>
              <a:gd name="connsiteX977" fmla="*/ 6777445 w 7402822"/>
              <a:gd name="connsiteY977" fmla="*/ 3559489 h 4749526"/>
              <a:gd name="connsiteX978" fmla="*/ 6783517 w 7402822"/>
              <a:gd name="connsiteY978" fmla="*/ 3565560 h 4749526"/>
              <a:gd name="connsiteX979" fmla="*/ 6783517 w 7402822"/>
              <a:gd name="connsiteY979" fmla="*/ 3568596 h 4749526"/>
              <a:gd name="connsiteX980" fmla="*/ 6774409 w 7402822"/>
              <a:gd name="connsiteY980" fmla="*/ 3568596 h 4749526"/>
              <a:gd name="connsiteX981" fmla="*/ 6765302 w 7402822"/>
              <a:gd name="connsiteY981" fmla="*/ 3565560 h 4749526"/>
              <a:gd name="connsiteX982" fmla="*/ 6759230 w 7402822"/>
              <a:gd name="connsiteY982" fmla="*/ 3562524 h 4749526"/>
              <a:gd name="connsiteX983" fmla="*/ 6571011 w 7402822"/>
              <a:gd name="connsiteY983" fmla="*/ 3556453 h 4749526"/>
              <a:gd name="connsiteX984" fmla="*/ 6577082 w 7402822"/>
              <a:gd name="connsiteY984" fmla="*/ 3559489 h 4749526"/>
              <a:gd name="connsiteX985" fmla="*/ 6580117 w 7402822"/>
              <a:gd name="connsiteY985" fmla="*/ 3562524 h 4749526"/>
              <a:gd name="connsiteX986" fmla="*/ 6577082 w 7402822"/>
              <a:gd name="connsiteY986" fmla="*/ 3565560 h 4749526"/>
              <a:gd name="connsiteX987" fmla="*/ 6571011 w 7402822"/>
              <a:gd name="connsiteY987" fmla="*/ 3562524 h 4749526"/>
              <a:gd name="connsiteX988" fmla="*/ 6571011 w 7402822"/>
              <a:gd name="connsiteY988" fmla="*/ 3559489 h 4749526"/>
              <a:gd name="connsiteX989" fmla="*/ 5927417 w 7402822"/>
              <a:gd name="connsiteY989" fmla="*/ 3556451 h 4749526"/>
              <a:gd name="connsiteX990" fmla="*/ 5933489 w 7402822"/>
              <a:gd name="connsiteY990" fmla="*/ 3556451 h 4749526"/>
              <a:gd name="connsiteX991" fmla="*/ 5939561 w 7402822"/>
              <a:gd name="connsiteY991" fmla="*/ 3556451 h 4749526"/>
              <a:gd name="connsiteX992" fmla="*/ 5951705 w 7402822"/>
              <a:gd name="connsiteY992" fmla="*/ 3562522 h 4749526"/>
              <a:gd name="connsiteX993" fmla="*/ 5957775 w 7402822"/>
              <a:gd name="connsiteY993" fmla="*/ 3571630 h 4749526"/>
              <a:gd name="connsiteX994" fmla="*/ 5951705 w 7402822"/>
              <a:gd name="connsiteY994" fmla="*/ 3577702 h 4749526"/>
              <a:gd name="connsiteX995" fmla="*/ 5942597 w 7402822"/>
              <a:gd name="connsiteY995" fmla="*/ 3574666 h 4749526"/>
              <a:gd name="connsiteX996" fmla="*/ 5939561 w 7402822"/>
              <a:gd name="connsiteY996" fmla="*/ 3568594 h 4749526"/>
              <a:gd name="connsiteX997" fmla="*/ 5933489 w 7402822"/>
              <a:gd name="connsiteY997" fmla="*/ 3565558 h 4749526"/>
              <a:gd name="connsiteX998" fmla="*/ 5921347 w 7402822"/>
              <a:gd name="connsiteY998" fmla="*/ 3565558 h 4749526"/>
              <a:gd name="connsiteX999" fmla="*/ 5921347 w 7402822"/>
              <a:gd name="connsiteY999" fmla="*/ 3559487 h 4749526"/>
              <a:gd name="connsiteX1000" fmla="*/ 6725837 w 7402822"/>
              <a:gd name="connsiteY1000" fmla="*/ 3541273 h 4749526"/>
              <a:gd name="connsiteX1001" fmla="*/ 6728872 w 7402822"/>
              <a:gd name="connsiteY1001" fmla="*/ 3544310 h 4749526"/>
              <a:gd name="connsiteX1002" fmla="*/ 6722801 w 7402822"/>
              <a:gd name="connsiteY1002" fmla="*/ 3544310 h 4749526"/>
              <a:gd name="connsiteX1003" fmla="*/ 6783517 w 7402822"/>
              <a:gd name="connsiteY1003" fmla="*/ 3535202 h 4749526"/>
              <a:gd name="connsiteX1004" fmla="*/ 6786553 w 7402822"/>
              <a:gd name="connsiteY1004" fmla="*/ 3541273 h 4749526"/>
              <a:gd name="connsiteX1005" fmla="*/ 6792625 w 7402822"/>
              <a:gd name="connsiteY1005" fmla="*/ 3550381 h 4749526"/>
              <a:gd name="connsiteX1006" fmla="*/ 6795661 w 7402822"/>
              <a:gd name="connsiteY1006" fmla="*/ 3556453 h 4749526"/>
              <a:gd name="connsiteX1007" fmla="*/ 6795661 w 7402822"/>
              <a:gd name="connsiteY1007" fmla="*/ 3562524 h 4749526"/>
              <a:gd name="connsiteX1008" fmla="*/ 6792625 w 7402822"/>
              <a:gd name="connsiteY1008" fmla="*/ 3559489 h 4749526"/>
              <a:gd name="connsiteX1009" fmla="*/ 6789589 w 7402822"/>
              <a:gd name="connsiteY1009" fmla="*/ 3556453 h 4749526"/>
              <a:gd name="connsiteX1010" fmla="*/ 6783517 w 7402822"/>
              <a:gd name="connsiteY1010" fmla="*/ 3553417 h 4749526"/>
              <a:gd name="connsiteX1011" fmla="*/ 6783517 w 7402822"/>
              <a:gd name="connsiteY1011" fmla="*/ 3547345 h 4749526"/>
              <a:gd name="connsiteX1012" fmla="*/ 6780481 w 7402822"/>
              <a:gd name="connsiteY1012" fmla="*/ 3544310 h 4749526"/>
              <a:gd name="connsiteX1013" fmla="*/ 6780481 w 7402822"/>
              <a:gd name="connsiteY1013" fmla="*/ 3541273 h 4749526"/>
              <a:gd name="connsiteX1014" fmla="*/ 6783517 w 7402822"/>
              <a:gd name="connsiteY1014" fmla="*/ 3541273 h 4749526"/>
              <a:gd name="connsiteX1015" fmla="*/ 6088315 w 7402822"/>
              <a:gd name="connsiteY1015" fmla="*/ 3535202 h 4749526"/>
              <a:gd name="connsiteX1016" fmla="*/ 6091352 w 7402822"/>
              <a:gd name="connsiteY1016" fmla="*/ 3538238 h 4749526"/>
              <a:gd name="connsiteX1017" fmla="*/ 6085281 w 7402822"/>
              <a:gd name="connsiteY1017" fmla="*/ 3544310 h 4749526"/>
              <a:gd name="connsiteX1018" fmla="*/ 6076172 w 7402822"/>
              <a:gd name="connsiteY1018" fmla="*/ 3547345 h 4749526"/>
              <a:gd name="connsiteX1019" fmla="*/ 6067065 w 7402822"/>
              <a:gd name="connsiteY1019" fmla="*/ 3550381 h 4749526"/>
              <a:gd name="connsiteX1020" fmla="*/ 6048851 w 7402822"/>
              <a:gd name="connsiteY1020" fmla="*/ 3559489 h 4749526"/>
              <a:gd name="connsiteX1021" fmla="*/ 6045816 w 7402822"/>
              <a:gd name="connsiteY1021" fmla="*/ 3562523 h 4749526"/>
              <a:gd name="connsiteX1022" fmla="*/ 6039744 w 7402822"/>
              <a:gd name="connsiteY1022" fmla="*/ 3568595 h 4749526"/>
              <a:gd name="connsiteX1023" fmla="*/ 6030637 w 7402822"/>
              <a:gd name="connsiteY1023" fmla="*/ 3574667 h 4749526"/>
              <a:gd name="connsiteX1024" fmla="*/ 6015457 w 7402822"/>
              <a:gd name="connsiteY1024" fmla="*/ 3577703 h 4749526"/>
              <a:gd name="connsiteX1025" fmla="*/ 6015457 w 7402822"/>
              <a:gd name="connsiteY1025" fmla="*/ 3574667 h 4749526"/>
              <a:gd name="connsiteX1026" fmla="*/ 6015457 w 7402822"/>
              <a:gd name="connsiteY1026" fmla="*/ 3568595 h 4749526"/>
              <a:gd name="connsiteX1027" fmla="*/ 6018493 w 7402822"/>
              <a:gd name="connsiteY1027" fmla="*/ 3562523 h 4749526"/>
              <a:gd name="connsiteX1028" fmla="*/ 6024564 w 7402822"/>
              <a:gd name="connsiteY1028" fmla="*/ 3556453 h 4749526"/>
              <a:gd name="connsiteX1029" fmla="*/ 6024565 w 7402822"/>
              <a:gd name="connsiteY1029" fmla="*/ 3556452 h 4749526"/>
              <a:gd name="connsiteX1030" fmla="*/ 6024566 w 7402822"/>
              <a:gd name="connsiteY1030" fmla="*/ 3556452 h 4749526"/>
              <a:gd name="connsiteX1031" fmla="*/ 6033671 w 7402822"/>
              <a:gd name="connsiteY1031" fmla="*/ 3553417 h 4749526"/>
              <a:gd name="connsiteX1032" fmla="*/ 6030637 w 7402822"/>
              <a:gd name="connsiteY1032" fmla="*/ 3559488 h 4749526"/>
              <a:gd name="connsiteX1033" fmla="*/ 6033672 w 7402822"/>
              <a:gd name="connsiteY1033" fmla="*/ 3553416 h 4749526"/>
              <a:gd name="connsiteX1034" fmla="*/ 6042779 w 7402822"/>
              <a:gd name="connsiteY1034" fmla="*/ 3550380 h 4749526"/>
              <a:gd name="connsiteX1035" fmla="*/ 6045815 w 7402822"/>
              <a:gd name="connsiteY1035" fmla="*/ 3544310 h 4749526"/>
              <a:gd name="connsiteX1036" fmla="*/ 6051885 w 7402822"/>
              <a:gd name="connsiteY1036" fmla="*/ 3541273 h 4749526"/>
              <a:gd name="connsiteX1037" fmla="*/ 6060994 w 7402822"/>
              <a:gd name="connsiteY1037" fmla="*/ 3538238 h 4749526"/>
              <a:gd name="connsiteX1038" fmla="*/ 6073137 w 7402822"/>
              <a:gd name="connsiteY1038" fmla="*/ 3538238 h 4749526"/>
              <a:gd name="connsiteX1039" fmla="*/ 6079209 w 7402822"/>
              <a:gd name="connsiteY1039" fmla="*/ 3538238 h 4749526"/>
              <a:gd name="connsiteX1040" fmla="*/ 6012421 w 7402822"/>
              <a:gd name="connsiteY1040" fmla="*/ 3535201 h 4749526"/>
              <a:gd name="connsiteX1041" fmla="*/ 6018493 w 7402822"/>
              <a:gd name="connsiteY1041" fmla="*/ 3535201 h 4749526"/>
              <a:gd name="connsiteX1042" fmla="*/ 6015457 w 7402822"/>
              <a:gd name="connsiteY1042" fmla="*/ 3541272 h 4749526"/>
              <a:gd name="connsiteX1043" fmla="*/ 6009386 w 7402822"/>
              <a:gd name="connsiteY1043" fmla="*/ 3541272 h 4749526"/>
              <a:gd name="connsiteX1044" fmla="*/ 5866702 w 7402822"/>
              <a:gd name="connsiteY1044" fmla="*/ 3535200 h 4749526"/>
              <a:gd name="connsiteX1045" fmla="*/ 5875810 w 7402822"/>
              <a:gd name="connsiteY1045" fmla="*/ 3538236 h 4749526"/>
              <a:gd name="connsiteX1046" fmla="*/ 5872774 w 7402822"/>
              <a:gd name="connsiteY1046" fmla="*/ 3544308 h 4749526"/>
              <a:gd name="connsiteX1047" fmla="*/ 5866702 w 7402822"/>
              <a:gd name="connsiteY1047" fmla="*/ 3547343 h 4749526"/>
              <a:gd name="connsiteX1048" fmla="*/ 5857595 w 7402822"/>
              <a:gd name="connsiteY1048" fmla="*/ 3544308 h 4749526"/>
              <a:gd name="connsiteX1049" fmla="*/ 6033672 w 7402822"/>
              <a:gd name="connsiteY1049" fmla="*/ 3532165 h 4749526"/>
              <a:gd name="connsiteX1050" fmla="*/ 6039744 w 7402822"/>
              <a:gd name="connsiteY1050" fmla="*/ 3532165 h 4749526"/>
              <a:gd name="connsiteX1051" fmla="*/ 6045816 w 7402822"/>
              <a:gd name="connsiteY1051" fmla="*/ 3532165 h 4749526"/>
              <a:gd name="connsiteX1052" fmla="*/ 6048851 w 7402822"/>
              <a:gd name="connsiteY1052" fmla="*/ 3535201 h 4749526"/>
              <a:gd name="connsiteX1053" fmla="*/ 6045816 w 7402822"/>
              <a:gd name="connsiteY1053" fmla="*/ 3538237 h 4749526"/>
              <a:gd name="connsiteX1054" fmla="*/ 6036707 w 7402822"/>
              <a:gd name="connsiteY1054" fmla="*/ 3538237 h 4749526"/>
              <a:gd name="connsiteX1055" fmla="*/ 6030637 w 7402822"/>
              <a:gd name="connsiteY1055" fmla="*/ 3538237 h 4749526"/>
              <a:gd name="connsiteX1056" fmla="*/ 6030637 w 7402822"/>
              <a:gd name="connsiteY1056" fmla="*/ 3532165 h 4749526"/>
              <a:gd name="connsiteX1057" fmla="*/ 6027601 w 7402822"/>
              <a:gd name="connsiteY1057" fmla="*/ 3538237 h 4749526"/>
              <a:gd name="connsiteX1058" fmla="*/ 6024565 w 7402822"/>
              <a:gd name="connsiteY1058" fmla="*/ 3541272 h 4749526"/>
              <a:gd name="connsiteX1059" fmla="*/ 6024565 w 7402822"/>
              <a:gd name="connsiteY1059" fmla="*/ 3535201 h 4749526"/>
              <a:gd name="connsiteX1060" fmla="*/ 6003313 w 7402822"/>
              <a:gd name="connsiteY1060" fmla="*/ 3532164 h 4749526"/>
              <a:gd name="connsiteX1061" fmla="*/ 6003313 w 7402822"/>
              <a:gd name="connsiteY1061" fmla="*/ 3538236 h 4749526"/>
              <a:gd name="connsiteX1062" fmla="*/ 6000277 w 7402822"/>
              <a:gd name="connsiteY1062" fmla="*/ 3541271 h 4749526"/>
              <a:gd name="connsiteX1063" fmla="*/ 5991171 w 7402822"/>
              <a:gd name="connsiteY1063" fmla="*/ 3544308 h 4749526"/>
              <a:gd name="connsiteX1064" fmla="*/ 5979027 w 7402822"/>
              <a:gd name="connsiteY1064" fmla="*/ 3547343 h 4749526"/>
              <a:gd name="connsiteX1065" fmla="*/ 5963847 w 7402822"/>
              <a:gd name="connsiteY1065" fmla="*/ 3550379 h 4749526"/>
              <a:gd name="connsiteX1066" fmla="*/ 5954741 w 7402822"/>
              <a:gd name="connsiteY1066" fmla="*/ 3547343 h 4749526"/>
              <a:gd name="connsiteX1067" fmla="*/ 5942597 w 7402822"/>
              <a:gd name="connsiteY1067" fmla="*/ 3547343 h 4749526"/>
              <a:gd name="connsiteX1068" fmla="*/ 5936526 w 7402822"/>
              <a:gd name="connsiteY1068" fmla="*/ 3541271 h 4749526"/>
              <a:gd name="connsiteX1069" fmla="*/ 5948669 w 7402822"/>
              <a:gd name="connsiteY1069" fmla="*/ 3535200 h 4749526"/>
              <a:gd name="connsiteX1070" fmla="*/ 5954741 w 7402822"/>
              <a:gd name="connsiteY1070" fmla="*/ 3535200 h 4749526"/>
              <a:gd name="connsiteX1071" fmla="*/ 5960812 w 7402822"/>
              <a:gd name="connsiteY1071" fmla="*/ 3535200 h 4749526"/>
              <a:gd name="connsiteX1072" fmla="*/ 5966883 w 7402822"/>
              <a:gd name="connsiteY1072" fmla="*/ 3538236 h 4749526"/>
              <a:gd name="connsiteX1073" fmla="*/ 5969919 w 7402822"/>
              <a:gd name="connsiteY1073" fmla="*/ 3541271 h 4749526"/>
              <a:gd name="connsiteX1074" fmla="*/ 5972955 w 7402822"/>
              <a:gd name="connsiteY1074" fmla="*/ 3541271 h 4749526"/>
              <a:gd name="connsiteX1075" fmla="*/ 5975991 w 7402822"/>
              <a:gd name="connsiteY1075" fmla="*/ 3538236 h 4749526"/>
              <a:gd name="connsiteX1076" fmla="*/ 5982062 w 7402822"/>
              <a:gd name="connsiteY1076" fmla="*/ 3538236 h 4749526"/>
              <a:gd name="connsiteX1077" fmla="*/ 5985099 w 7402822"/>
              <a:gd name="connsiteY1077" fmla="*/ 3541271 h 4749526"/>
              <a:gd name="connsiteX1078" fmla="*/ 5991171 w 7402822"/>
              <a:gd name="connsiteY1078" fmla="*/ 3541271 h 4749526"/>
              <a:gd name="connsiteX1079" fmla="*/ 5994205 w 7402822"/>
              <a:gd name="connsiteY1079" fmla="*/ 3541271 h 4749526"/>
              <a:gd name="connsiteX1080" fmla="*/ 6000277 w 7402822"/>
              <a:gd name="connsiteY1080" fmla="*/ 3535200 h 4749526"/>
              <a:gd name="connsiteX1081" fmla="*/ 5900096 w 7402822"/>
              <a:gd name="connsiteY1081" fmla="*/ 3532164 h 4749526"/>
              <a:gd name="connsiteX1082" fmla="*/ 5906168 w 7402822"/>
              <a:gd name="connsiteY1082" fmla="*/ 3532164 h 4749526"/>
              <a:gd name="connsiteX1083" fmla="*/ 5921347 w 7402822"/>
              <a:gd name="connsiteY1083" fmla="*/ 3535200 h 4749526"/>
              <a:gd name="connsiteX1084" fmla="*/ 5921347 w 7402822"/>
              <a:gd name="connsiteY1084" fmla="*/ 3541271 h 4749526"/>
              <a:gd name="connsiteX1085" fmla="*/ 5924382 w 7402822"/>
              <a:gd name="connsiteY1085" fmla="*/ 3541271 h 4749526"/>
              <a:gd name="connsiteX1086" fmla="*/ 5921347 w 7402822"/>
              <a:gd name="connsiteY1086" fmla="*/ 3544308 h 4749526"/>
              <a:gd name="connsiteX1087" fmla="*/ 5918311 w 7402822"/>
              <a:gd name="connsiteY1087" fmla="*/ 3547343 h 4749526"/>
              <a:gd name="connsiteX1088" fmla="*/ 5909203 w 7402822"/>
              <a:gd name="connsiteY1088" fmla="*/ 3547343 h 4749526"/>
              <a:gd name="connsiteX1089" fmla="*/ 5884917 w 7402822"/>
              <a:gd name="connsiteY1089" fmla="*/ 3550379 h 4749526"/>
              <a:gd name="connsiteX1090" fmla="*/ 5878845 w 7402822"/>
              <a:gd name="connsiteY1090" fmla="*/ 3553415 h 4749526"/>
              <a:gd name="connsiteX1091" fmla="*/ 5875810 w 7402822"/>
              <a:gd name="connsiteY1091" fmla="*/ 3547343 h 4749526"/>
              <a:gd name="connsiteX1092" fmla="*/ 5878845 w 7402822"/>
              <a:gd name="connsiteY1092" fmla="*/ 3541271 h 4749526"/>
              <a:gd name="connsiteX1093" fmla="*/ 5884917 w 7402822"/>
              <a:gd name="connsiteY1093" fmla="*/ 3538236 h 4749526"/>
              <a:gd name="connsiteX1094" fmla="*/ 5894024 w 7402822"/>
              <a:gd name="connsiteY1094" fmla="*/ 3544308 h 4749526"/>
              <a:gd name="connsiteX1095" fmla="*/ 5903131 w 7402822"/>
              <a:gd name="connsiteY1095" fmla="*/ 3544308 h 4749526"/>
              <a:gd name="connsiteX1096" fmla="*/ 5903131 w 7402822"/>
              <a:gd name="connsiteY1096" fmla="*/ 3541271 h 4749526"/>
              <a:gd name="connsiteX1097" fmla="*/ 5900096 w 7402822"/>
              <a:gd name="connsiteY1097" fmla="*/ 3538236 h 4749526"/>
              <a:gd name="connsiteX1098" fmla="*/ 5897061 w 7402822"/>
              <a:gd name="connsiteY1098" fmla="*/ 3535200 h 4749526"/>
              <a:gd name="connsiteX1099" fmla="*/ 6716729 w 7402822"/>
              <a:gd name="connsiteY1099" fmla="*/ 3529131 h 4749526"/>
              <a:gd name="connsiteX1100" fmla="*/ 6722801 w 7402822"/>
              <a:gd name="connsiteY1100" fmla="*/ 3538238 h 4749526"/>
              <a:gd name="connsiteX1101" fmla="*/ 6722801 w 7402822"/>
              <a:gd name="connsiteY1101" fmla="*/ 3541273 h 4749526"/>
              <a:gd name="connsiteX1102" fmla="*/ 6719765 w 7402822"/>
              <a:gd name="connsiteY1102" fmla="*/ 3541273 h 4749526"/>
              <a:gd name="connsiteX1103" fmla="*/ 6710657 w 7402822"/>
              <a:gd name="connsiteY1103" fmla="*/ 3535202 h 4749526"/>
              <a:gd name="connsiteX1104" fmla="*/ 5842416 w 7402822"/>
              <a:gd name="connsiteY1104" fmla="*/ 3529129 h 4749526"/>
              <a:gd name="connsiteX1105" fmla="*/ 5854559 w 7402822"/>
              <a:gd name="connsiteY1105" fmla="*/ 3538236 h 4749526"/>
              <a:gd name="connsiteX1106" fmla="*/ 5845451 w 7402822"/>
              <a:gd name="connsiteY1106" fmla="*/ 3544308 h 4749526"/>
              <a:gd name="connsiteX1107" fmla="*/ 5842416 w 7402822"/>
              <a:gd name="connsiteY1107" fmla="*/ 3544308 h 4749526"/>
              <a:gd name="connsiteX1108" fmla="*/ 5836344 w 7402822"/>
              <a:gd name="connsiteY1108" fmla="*/ 3541271 h 4749526"/>
              <a:gd name="connsiteX1109" fmla="*/ 5830272 w 7402822"/>
              <a:gd name="connsiteY1109" fmla="*/ 3535200 h 4749526"/>
              <a:gd name="connsiteX1110" fmla="*/ 5827237 w 7402822"/>
              <a:gd name="connsiteY1110" fmla="*/ 3532164 h 4749526"/>
              <a:gd name="connsiteX1111" fmla="*/ 5839380 w 7402822"/>
              <a:gd name="connsiteY1111" fmla="*/ 3532164 h 4749526"/>
              <a:gd name="connsiteX1112" fmla="*/ 6734944 w 7402822"/>
              <a:gd name="connsiteY1112" fmla="*/ 3520023 h 4749526"/>
              <a:gd name="connsiteX1113" fmla="*/ 6756195 w 7402822"/>
              <a:gd name="connsiteY1113" fmla="*/ 3529131 h 4749526"/>
              <a:gd name="connsiteX1114" fmla="*/ 6762267 w 7402822"/>
              <a:gd name="connsiteY1114" fmla="*/ 3535202 h 4749526"/>
              <a:gd name="connsiteX1115" fmla="*/ 6765302 w 7402822"/>
              <a:gd name="connsiteY1115" fmla="*/ 3535202 h 4749526"/>
              <a:gd name="connsiteX1116" fmla="*/ 6765302 w 7402822"/>
              <a:gd name="connsiteY1116" fmla="*/ 3541273 h 4749526"/>
              <a:gd name="connsiteX1117" fmla="*/ 6759230 w 7402822"/>
              <a:gd name="connsiteY1117" fmla="*/ 3538238 h 4749526"/>
              <a:gd name="connsiteX1118" fmla="*/ 6747087 w 7402822"/>
              <a:gd name="connsiteY1118" fmla="*/ 3532166 h 4749526"/>
              <a:gd name="connsiteX1119" fmla="*/ 6741015 w 7402822"/>
              <a:gd name="connsiteY1119" fmla="*/ 3526094 h 4749526"/>
              <a:gd name="connsiteX1120" fmla="*/ 6076174 w 7402822"/>
              <a:gd name="connsiteY1120" fmla="*/ 3520022 h 4749526"/>
              <a:gd name="connsiteX1121" fmla="*/ 6082245 w 7402822"/>
              <a:gd name="connsiteY1121" fmla="*/ 3523058 h 4749526"/>
              <a:gd name="connsiteX1122" fmla="*/ 6079209 w 7402822"/>
              <a:gd name="connsiteY1122" fmla="*/ 3526093 h 4749526"/>
              <a:gd name="connsiteX1123" fmla="*/ 6064031 w 7402822"/>
              <a:gd name="connsiteY1123" fmla="*/ 3529130 h 4749526"/>
              <a:gd name="connsiteX1124" fmla="*/ 6064031 w 7402822"/>
              <a:gd name="connsiteY1124" fmla="*/ 3523058 h 4749526"/>
              <a:gd name="connsiteX1125" fmla="*/ 6073137 w 7402822"/>
              <a:gd name="connsiteY1125" fmla="*/ 3523058 h 4749526"/>
              <a:gd name="connsiteX1126" fmla="*/ 6182427 w 7402822"/>
              <a:gd name="connsiteY1126" fmla="*/ 3510914 h 4749526"/>
              <a:gd name="connsiteX1127" fmla="*/ 6179391 w 7402822"/>
              <a:gd name="connsiteY1127" fmla="*/ 3523058 h 4749526"/>
              <a:gd name="connsiteX1128" fmla="*/ 6176355 w 7402822"/>
              <a:gd name="connsiteY1128" fmla="*/ 3529130 h 4749526"/>
              <a:gd name="connsiteX1129" fmla="*/ 6170284 w 7402822"/>
              <a:gd name="connsiteY1129" fmla="*/ 3529130 h 4749526"/>
              <a:gd name="connsiteX1130" fmla="*/ 6170284 w 7402822"/>
              <a:gd name="connsiteY1130" fmla="*/ 3526093 h 4749526"/>
              <a:gd name="connsiteX1131" fmla="*/ 6173319 w 7402822"/>
              <a:gd name="connsiteY1131" fmla="*/ 3523058 h 4749526"/>
              <a:gd name="connsiteX1132" fmla="*/ 5796879 w 7402822"/>
              <a:gd name="connsiteY1132" fmla="*/ 3507878 h 4749526"/>
              <a:gd name="connsiteX1133" fmla="*/ 5809021 w 7402822"/>
              <a:gd name="connsiteY1133" fmla="*/ 3507878 h 4749526"/>
              <a:gd name="connsiteX1134" fmla="*/ 5818130 w 7402822"/>
              <a:gd name="connsiteY1134" fmla="*/ 3507878 h 4749526"/>
              <a:gd name="connsiteX1135" fmla="*/ 5818130 w 7402822"/>
              <a:gd name="connsiteY1135" fmla="*/ 3510913 h 4749526"/>
              <a:gd name="connsiteX1136" fmla="*/ 5799914 w 7402822"/>
              <a:gd name="connsiteY1136" fmla="*/ 3513950 h 4749526"/>
              <a:gd name="connsiteX1137" fmla="*/ 5790807 w 7402822"/>
              <a:gd name="connsiteY1137" fmla="*/ 3510913 h 4749526"/>
              <a:gd name="connsiteX1138" fmla="*/ 6695479 w 7402822"/>
              <a:gd name="connsiteY1138" fmla="*/ 3501808 h 4749526"/>
              <a:gd name="connsiteX1139" fmla="*/ 6707622 w 7402822"/>
              <a:gd name="connsiteY1139" fmla="*/ 3507880 h 4749526"/>
              <a:gd name="connsiteX1140" fmla="*/ 6713694 w 7402822"/>
              <a:gd name="connsiteY1140" fmla="*/ 3513952 h 4749526"/>
              <a:gd name="connsiteX1141" fmla="*/ 6716729 w 7402822"/>
              <a:gd name="connsiteY1141" fmla="*/ 3516987 h 4749526"/>
              <a:gd name="connsiteX1142" fmla="*/ 6701551 w 7402822"/>
              <a:gd name="connsiteY1142" fmla="*/ 3510915 h 4749526"/>
              <a:gd name="connsiteX1143" fmla="*/ 6234036 w 7402822"/>
              <a:gd name="connsiteY1143" fmla="*/ 3492700 h 4749526"/>
              <a:gd name="connsiteX1144" fmla="*/ 6240107 w 7402822"/>
              <a:gd name="connsiteY1144" fmla="*/ 3498772 h 4749526"/>
              <a:gd name="connsiteX1145" fmla="*/ 6237071 w 7402822"/>
              <a:gd name="connsiteY1145" fmla="*/ 3507879 h 4749526"/>
              <a:gd name="connsiteX1146" fmla="*/ 6230999 w 7402822"/>
              <a:gd name="connsiteY1146" fmla="*/ 3501807 h 4749526"/>
              <a:gd name="connsiteX1147" fmla="*/ 5654195 w 7402822"/>
              <a:gd name="connsiteY1147" fmla="*/ 3486627 h 4749526"/>
              <a:gd name="connsiteX1148" fmla="*/ 5669374 w 7402822"/>
              <a:gd name="connsiteY1148" fmla="*/ 3489663 h 4749526"/>
              <a:gd name="connsiteX1149" fmla="*/ 5681518 w 7402822"/>
              <a:gd name="connsiteY1149" fmla="*/ 3486627 h 4749526"/>
              <a:gd name="connsiteX1150" fmla="*/ 5687590 w 7402822"/>
              <a:gd name="connsiteY1150" fmla="*/ 3492699 h 4749526"/>
              <a:gd name="connsiteX1151" fmla="*/ 5696697 w 7402822"/>
              <a:gd name="connsiteY1151" fmla="*/ 3492699 h 4749526"/>
              <a:gd name="connsiteX1152" fmla="*/ 5699732 w 7402822"/>
              <a:gd name="connsiteY1152" fmla="*/ 3492699 h 4749526"/>
              <a:gd name="connsiteX1153" fmla="*/ 5702769 w 7402822"/>
              <a:gd name="connsiteY1153" fmla="*/ 3495734 h 4749526"/>
              <a:gd name="connsiteX1154" fmla="*/ 5705804 w 7402822"/>
              <a:gd name="connsiteY1154" fmla="*/ 3501806 h 4749526"/>
              <a:gd name="connsiteX1155" fmla="*/ 5711876 w 7402822"/>
              <a:gd name="connsiteY1155" fmla="*/ 3504842 h 4749526"/>
              <a:gd name="connsiteX1156" fmla="*/ 5727055 w 7402822"/>
              <a:gd name="connsiteY1156" fmla="*/ 3507878 h 4749526"/>
              <a:gd name="connsiteX1157" fmla="*/ 5742234 w 7402822"/>
              <a:gd name="connsiteY1157" fmla="*/ 3507878 h 4749526"/>
              <a:gd name="connsiteX1158" fmla="*/ 5748306 w 7402822"/>
              <a:gd name="connsiteY1158" fmla="*/ 3501806 h 4749526"/>
              <a:gd name="connsiteX1159" fmla="*/ 5751341 w 7402822"/>
              <a:gd name="connsiteY1159" fmla="*/ 3501806 h 4749526"/>
              <a:gd name="connsiteX1160" fmla="*/ 5757413 w 7402822"/>
              <a:gd name="connsiteY1160" fmla="*/ 3498771 h 4749526"/>
              <a:gd name="connsiteX1161" fmla="*/ 5772592 w 7402822"/>
              <a:gd name="connsiteY1161" fmla="*/ 3504842 h 4749526"/>
              <a:gd name="connsiteX1162" fmla="*/ 5781700 w 7402822"/>
              <a:gd name="connsiteY1162" fmla="*/ 3507878 h 4749526"/>
              <a:gd name="connsiteX1163" fmla="*/ 5787772 w 7402822"/>
              <a:gd name="connsiteY1163" fmla="*/ 3510913 h 4749526"/>
              <a:gd name="connsiteX1164" fmla="*/ 5790807 w 7402822"/>
              <a:gd name="connsiteY1164" fmla="*/ 3513950 h 4749526"/>
              <a:gd name="connsiteX1165" fmla="*/ 5793842 w 7402822"/>
              <a:gd name="connsiteY1165" fmla="*/ 3520022 h 4749526"/>
              <a:gd name="connsiteX1166" fmla="*/ 5802951 w 7402822"/>
              <a:gd name="connsiteY1166" fmla="*/ 3526092 h 4749526"/>
              <a:gd name="connsiteX1167" fmla="*/ 5809021 w 7402822"/>
              <a:gd name="connsiteY1167" fmla="*/ 3523057 h 4749526"/>
              <a:gd name="connsiteX1168" fmla="*/ 5818130 w 7402822"/>
              <a:gd name="connsiteY1168" fmla="*/ 3523057 h 4749526"/>
              <a:gd name="connsiteX1169" fmla="*/ 5827237 w 7402822"/>
              <a:gd name="connsiteY1169" fmla="*/ 3526092 h 4749526"/>
              <a:gd name="connsiteX1170" fmla="*/ 5827237 w 7402822"/>
              <a:gd name="connsiteY1170" fmla="*/ 3532164 h 4749526"/>
              <a:gd name="connsiteX1171" fmla="*/ 5827237 w 7402822"/>
              <a:gd name="connsiteY1171" fmla="*/ 3535200 h 4749526"/>
              <a:gd name="connsiteX1172" fmla="*/ 5827237 w 7402822"/>
              <a:gd name="connsiteY1172" fmla="*/ 3541271 h 4749526"/>
              <a:gd name="connsiteX1173" fmla="*/ 5830272 w 7402822"/>
              <a:gd name="connsiteY1173" fmla="*/ 3544308 h 4749526"/>
              <a:gd name="connsiteX1174" fmla="*/ 5824201 w 7402822"/>
              <a:gd name="connsiteY1174" fmla="*/ 3544308 h 4749526"/>
              <a:gd name="connsiteX1175" fmla="*/ 5799914 w 7402822"/>
              <a:gd name="connsiteY1175" fmla="*/ 3535200 h 4749526"/>
              <a:gd name="connsiteX1176" fmla="*/ 5796879 w 7402822"/>
              <a:gd name="connsiteY1176" fmla="*/ 3538236 h 4749526"/>
              <a:gd name="connsiteX1177" fmla="*/ 5790807 w 7402822"/>
              <a:gd name="connsiteY1177" fmla="*/ 3538236 h 4749526"/>
              <a:gd name="connsiteX1178" fmla="*/ 5784735 w 7402822"/>
              <a:gd name="connsiteY1178" fmla="*/ 3535200 h 4749526"/>
              <a:gd name="connsiteX1179" fmla="*/ 5775628 w 7402822"/>
              <a:gd name="connsiteY1179" fmla="*/ 3535200 h 4749526"/>
              <a:gd name="connsiteX1180" fmla="*/ 5766521 w 7402822"/>
              <a:gd name="connsiteY1180" fmla="*/ 3535200 h 4749526"/>
              <a:gd name="connsiteX1181" fmla="*/ 5751341 w 7402822"/>
              <a:gd name="connsiteY1181" fmla="*/ 3535200 h 4749526"/>
              <a:gd name="connsiteX1182" fmla="*/ 5742234 w 7402822"/>
              <a:gd name="connsiteY1182" fmla="*/ 3529129 h 4749526"/>
              <a:gd name="connsiteX1183" fmla="*/ 5727055 w 7402822"/>
              <a:gd name="connsiteY1183" fmla="*/ 3526092 h 4749526"/>
              <a:gd name="connsiteX1184" fmla="*/ 5717948 w 7402822"/>
              <a:gd name="connsiteY1184" fmla="*/ 3523057 h 4749526"/>
              <a:gd name="connsiteX1185" fmla="*/ 5708840 w 7402822"/>
              <a:gd name="connsiteY1185" fmla="*/ 3523057 h 4749526"/>
              <a:gd name="connsiteX1186" fmla="*/ 5705804 w 7402822"/>
              <a:gd name="connsiteY1186" fmla="*/ 3523057 h 4749526"/>
              <a:gd name="connsiteX1187" fmla="*/ 5705804 w 7402822"/>
              <a:gd name="connsiteY1187" fmla="*/ 3526092 h 4749526"/>
              <a:gd name="connsiteX1188" fmla="*/ 5699732 w 7402822"/>
              <a:gd name="connsiteY1188" fmla="*/ 3526092 h 4749526"/>
              <a:gd name="connsiteX1189" fmla="*/ 5687590 w 7402822"/>
              <a:gd name="connsiteY1189" fmla="*/ 3523057 h 4749526"/>
              <a:gd name="connsiteX1190" fmla="*/ 5675446 w 7402822"/>
              <a:gd name="connsiteY1190" fmla="*/ 3516985 h 4749526"/>
              <a:gd name="connsiteX1191" fmla="*/ 5660267 w 7402822"/>
              <a:gd name="connsiteY1191" fmla="*/ 3516985 h 4749526"/>
              <a:gd name="connsiteX1192" fmla="*/ 5660267 w 7402822"/>
              <a:gd name="connsiteY1192" fmla="*/ 3513950 h 4749526"/>
              <a:gd name="connsiteX1193" fmla="*/ 5660267 w 7402822"/>
              <a:gd name="connsiteY1193" fmla="*/ 3510913 h 4749526"/>
              <a:gd name="connsiteX1194" fmla="*/ 5654195 w 7402822"/>
              <a:gd name="connsiteY1194" fmla="*/ 3504842 h 4749526"/>
              <a:gd name="connsiteX1195" fmla="*/ 5648124 w 7402822"/>
              <a:gd name="connsiteY1195" fmla="*/ 3504842 h 4749526"/>
              <a:gd name="connsiteX1196" fmla="*/ 5642052 w 7402822"/>
              <a:gd name="connsiteY1196" fmla="*/ 3504842 h 4749526"/>
              <a:gd name="connsiteX1197" fmla="*/ 5648124 w 7402822"/>
              <a:gd name="connsiteY1197" fmla="*/ 3492699 h 4749526"/>
              <a:gd name="connsiteX1198" fmla="*/ 4275940 w 7402822"/>
              <a:gd name="connsiteY1198" fmla="*/ 3483596 h 4749526"/>
              <a:gd name="connsiteX1199" fmla="*/ 4278975 w 7402822"/>
              <a:gd name="connsiteY1199" fmla="*/ 3486631 h 4749526"/>
              <a:gd name="connsiteX1200" fmla="*/ 4282012 w 7402822"/>
              <a:gd name="connsiteY1200" fmla="*/ 3495738 h 4749526"/>
              <a:gd name="connsiteX1201" fmla="*/ 4275940 w 7402822"/>
              <a:gd name="connsiteY1201" fmla="*/ 3495738 h 4749526"/>
              <a:gd name="connsiteX1202" fmla="*/ 4272905 w 7402822"/>
              <a:gd name="connsiteY1202" fmla="*/ 3486631 h 4749526"/>
              <a:gd name="connsiteX1203" fmla="*/ 6659049 w 7402822"/>
              <a:gd name="connsiteY1203" fmla="*/ 3477522 h 4749526"/>
              <a:gd name="connsiteX1204" fmla="*/ 6668155 w 7402822"/>
              <a:gd name="connsiteY1204" fmla="*/ 3483594 h 4749526"/>
              <a:gd name="connsiteX1205" fmla="*/ 6677264 w 7402822"/>
              <a:gd name="connsiteY1205" fmla="*/ 3489665 h 4749526"/>
              <a:gd name="connsiteX1206" fmla="*/ 6683336 w 7402822"/>
              <a:gd name="connsiteY1206" fmla="*/ 3498773 h 4749526"/>
              <a:gd name="connsiteX1207" fmla="*/ 6680299 w 7402822"/>
              <a:gd name="connsiteY1207" fmla="*/ 3504843 h 4749526"/>
              <a:gd name="connsiteX1208" fmla="*/ 6674227 w 7402822"/>
              <a:gd name="connsiteY1208" fmla="*/ 3504843 h 4749526"/>
              <a:gd name="connsiteX1209" fmla="*/ 6668155 w 7402822"/>
              <a:gd name="connsiteY1209" fmla="*/ 3498773 h 4749526"/>
              <a:gd name="connsiteX1210" fmla="*/ 6659049 w 7402822"/>
              <a:gd name="connsiteY1210" fmla="*/ 3486629 h 4749526"/>
              <a:gd name="connsiteX1211" fmla="*/ 6240107 w 7402822"/>
              <a:gd name="connsiteY1211" fmla="*/ 3477521 h 4749526"/>
              <a:gd name="connsiteX1212" fmla="*/ 6246179 w 7402822"/>
              <a:gd name="connsiteY1212" fmla="*/ 3486628 h 4749526"/>
              <a:gd name="connsiteX1213" fmla="*/ 6243143 w 7402822"/>
              <a:gd name="connsiteY1213" fmla="*/ 3495735 h 4749526"/>
              <a:gd name="connsiteX1214" fmla="*/ 6237071 w 7402822"/>
              <a:gd name="connsiteY1214" fmla="*/ 3492700 h 4749526"/>
              <a:gd name="connsiteX1215" fmla="*/ 6237071 w 7402822"/>
              <a:gd name="connsiteY1215" fmla="*/ 3489664 h 4749526"/>
              <a:gd name="connsiteX1216" fmla="*/ 6237071 w 7402822"/>
              <a:gd name="connsiteY1216" fmla="*/ 3483593 h 4749526"/>
              <a:gd name="connsiteX1217" fmla="*/ 4285047 w 7402822"/>
              <a:gd name="connsiteY1217" fmla="*/ 3465380 h 4749526"/>
              <a:gd name="connsiteX1218" fmla="*/ 4288084 w 7402822"/>
              <a:gd name="connsiteY1218" fmla="*/ 3465380 h 4749526"/>
              <a:gd name="connsiteX1219" fmla="*/ 4288084 w 7402822"/>
              <a:gd name="connsiteY1219" fmla="*/ 3474488 h 4749526"/>
              <a:gd name="connsiteX1220" fmla="*/ 4285047 w 7402822"/>
              <a:gd name="connsiteY1220" fmla="*/ 3477524 h 4749526"/>
              <a:gd name="connsiteX1221" fmla="*/ 4285047 w 7402822"/>
              <a:gd name="connsiteY1221" fmla="*/ 3468416 h 4749526"/>
              <a:gd name="connsiteX1222" fmla="*/ 5997242 w 7402822"/>
              <a:gd name="connsiteY1222" fmla="*/ 3459306 h 4749526"/>
              <a:gd name="connsiteX1223" fmla="*/ 5997242 w 7402822"/>
              <a:gd name="connsiteY1223" fmla="*/ 3471449 h 4749526"/>
              <a:gd name="connsiteX1224" fmla="*/ 5994207 w 7402822"/>
              <a:gd name="connsiteY1224" fmla="*/ 3474485 h 4749526"/>
              <a:gd name="connsiteX1225" fmla="*/ 5991171 w 7402822"/>
              <a:gd name="connsiteY1225" fmla="*/ 3474485 h 4749526"/>
              <a:gd name="connsiteX1226" fmla="*/ 5991171 w 7402822"/>
              <a:gd name="connsiteY1226" fmla="*/ 3465377 h 4749526"/>
              <a:gd name="connsiteX1227" fmla="*/ 6003314 w 7402822"/>
              <a:gd name="connsiteY1227" fmla="*/ 3456270 h 4749526"/>
              <a:gd name="connsiteX1228" fmla="*/ 6006351 w 7402822"/>
              <a:gd name="connsiteY1228" fmla="*/ 3456270 h 4749526"/>
              <a:gd name="connsiteX1229" fmla="*/ 6009386 w 7402822"/>
              <a:gd name="connsiteY1229" fmla="*/ 3462342 h 4749526"/>
              <a:gd name="connsiteX1230" fmla="*/ 6009386 w 7402822"/>
              <a:gd name="connsiteY1230" fmla="*/ 3474485 h 4749526"/>
              <a:gd name="connsiteX1231" fmla="*/ 6006351 w 7402822"/>
              <a:gd name="connsiteY1231" fmla="*/ 3477521 h 4749526"/>
              <a:gd name="connsiteX1232" fmla="*/ 6000279 w 7402822"/>
              <a:gd name="connsiteY1232" fmla="*/ 3483593 h 4749526"/>
              <a:gd name="connsiteX1233" fmla="*/ 5997242 w 7402822"/>
              <a:gd name="connsiteY1233" fmla="*/ 3477521 h 4749526"/>
              <a:gd name="connsiteX1234" fmla="*/ 6000279 w 7402822"/>
              <a:gd name="connsiteY1234" fmla="*/ 3465377 h 4749526"/>
              <a:gd name="connsiteX1235" fmla="*/ 6607441 w 7402822"/>
              <a:gd name="connsiteY1235" fmla="*/ 3450199 h 4749526"/>
              <a:gd name="connsiteX1236" fmla="*/ 6610475 w 7402822"/>
              <a:gd name="connsiteY1236" fmla="*/ 3465378 h 4749526"/>
              <a:gd name="connsiteX1237" fmla="*/ 6604404 w 7402822"/>
              <a:gd name="connsiteY1237" fmla="*/ 3474486 h 4749526"/>
              <a:gd name="connsiteX1238" fmla="*/ 6598332 w 7402822"/>
              <a:gd name="connsiteY1238" fmla="*/ 3480557 h 4749526"/>
              <a:gd name="connsiteX1239" fmla="*/ 6580117 w 7402822"/>
              <a:gd name="connsiteY1239" fmla="*/ 3489665 h 4749526"/>
              <a:gd name="connsiteX1240" fmla="*/ 6571011 w 7402822"/>
              <a:gd name="connsiteY1240" fmla="*/ 3492701 h 4749526"/>
              <a:gd name="connsiteX1241" fmla="*/ 6561903 w 7402822"/>
              <a:gd name="connsiteY1241" fmla="*/ 3495736 h 4749526"/>
              <a:gd name="connsiteX1242" fmla="*/ 6552796 w 7402822"/>
              <a:gd name="connsiteY1242" fmla="*/ 3492701 h 4749526"/>
              <a:gd name="connsiteX1243" fmla="*/ 6543689 w 7402822"/>
              <a:gd name="connsiteY1243" fmla="*/ 3489665 h 4749526"/>
              <a:gd name="connsiteX1244" fmla="*/ 6534581 w 7402822"/>
              <a:gd name="connsiteY1244" fmla="*/ 3486629 h 4749526"/>
              <a:gd name="connsiteX1245" fmla="*/ 6525473 w 7402822"/>
              <a:gd name="connsiteY1245" fmla="*/ 3480557 h 4749526"/>
              <a:gd name="connsiteX1246" fmla="*/ 6540652 w 7402822"/>
              <a:gd name="connsiteY1246" fmla="*/ 3477522 h 4749526"/>
              <a:gd name="connsiteX1247" fmla="*/ 6558867 w 7402822"/>
              <a:gd name="connsiteY1247" fmla="*/ 3477522 h 4749526"/>
              <a:gd name="connsiteX1248" fmla="*/ 6564939 w 7402822"/>
              <a:gd name="connsiteY1248" fmla="*/ 3477522 h 4749526"/>
              <a:gd name="connsiteX1249" fmla="*/ 6574047 w 7402822"/>
              <a:gd name="connsiteY1249" fmla="*/ 3477522 h 4749526"/>
              <a:gd name="connsiteX1250" fmla="*/ 6580117 w 7402822"/>
              <a:gd name="connsiteY1250" fmla="*/ 3477522 h 4749526"/>
              <a:gd name="connsiteX1251" fmla="*/ 6583154 w 7402822"/>
              <a:gd name="connsiteY1251" fmla="*/ 3471450 h 4749526"/>
              <a:gd name="connsiteX1252" fmla="*/ 6586189 w 7402822"/>
              <a:gd name="connsiteY1252" fmla="*/ 3468414 h 4749526"/>
              <a:gd name="connsiteX1253" fmla="*/ 6592261 w 7402822"/>
              <a:gd name="connsiteY1253" fmla="*/ 3459307 h 4749526"/>
              <a:gd name="connsiteX1254" fmla="*/ 5863667 w 7402822"/>
              <a:gd name="connsiteY1254" fmla="*/ 3431983 h 4749526"/>
              <a:gd name="connsiteX1255" fmla="*/ 5866703 w 7402822"/>
              <a:gd name="connsiteY1255" fmla="*/ 3431983 h 4749526"/>
              <a:gd name="connsiteX1256" fmla="*/ 5866703 w 7402822"/>
              <a:gd name="connsiteY1256" fmla="*/ 3444127 h 4749526"/>
              <a:gd name="connsiteX1257" fmla="*/ 5863667 w 7402822"/>
              <a:gd name="connsiteY1257" fmla="*/ 3447163 h 4749526"/>
              <a:gd name="connsiteX1258" fmla="*/ 5860632 w 7402822"/>
              <a:gd name="connsiteY1258" fmla="*/ 3447163 h 4749526"/>
              <a:gd name="connsiteX1259" fmla="*/ 5860632 w 7402822"/>
              <a:gd name="connsiteY1259" fmla="*/ 3438055 h 4749526"/>
              <a:gd name="connsiteX1260" fmla="*/ 6067066 w 7402822"/>
              <a:gd name="connsiteY1260" fmla="*/ 3428948 h 4749526"/>
              <a:gd name="connsiteX1261" fmla="*/ 6085281 w 7402822"/>
              <a:gd name="connsiteY1261" fmla="*/ 3428948 h 4749526"/>
              <a:gd name="connsiteX1262" fmla="*/ 6091352 w 7402822"/>
              <a:gd name="connsiteY1262" fmla="*/ 3435020 h 4749526"/>
              <a:gd name="connsiteX1263" fmla="*/ 6088317 w 7402822"/>
              <a:gd name="connsiteY1263" fmla="*/ 3441091 h 4749526"/>
              <a:gd name="connsiteX1264" fmla="*/ 6079209 w 7402822"/>
              <a:gd name="connsiteY1264" fmla="*/ 3444127 h 4749526"/>
              <a:gd name="connsiteX1265" fmla="*/ 6070102 w 7402822"/>
              <a:gd name="connsiteY1265" fmla="*/ 3438055 h 4749526"/>
              <a:gd name="connsiteX1266" fmla="*/ 6067066 w 7402822"/>
              <a:gd name="connsiteY1266" fmla="*/ 3431983 h 4749526"/>
              <a:gd name="connsiteX1267" fmla="*/ 6121711 w 7402822"/>
              <a:gd name="connsiteY1267" fmla="*/ 3422876 h 4749526"/>
              <a:gd name="connsiteX1268" fmla="*/ 6130817 w 7402822"/>
              <a:gd name="connsiteY1268" fmla="*/ 3425912 h 4749526"/>
              <a:gd name="connsiteX1269" fmla="*/ 6139926 w 7402822"/>
              <a:gd name="connsiteY1269" fmla="*/ 3422876 h 4749526"/>
              <a:gd name="connsiteX1270" fmla="*/ 6152069 w 7402822"/>
              <a:gd name="connsiteY1270" fmla="*/ 3425912 h 4749526"/>
              <a:gd name="connsiteX1271" fmla="*/ 6161176 w 7402822"/>
              <a:gd name="connsiteY1271" fmla="*/ 3428948 h 4749526"/>
              <a:gd name="connsiteX1272" fmla="*/ 6167247 w 7402822"/>
              <a:gd name="connsiteY1272" fmla="*/ 3438055 h 4749526"/>
              <a:gd name="connsiteX1273" fmla="*/ 6164212 w 7402822"/>
              <a:gd name="connsiteY1273" fmla="*/ 3444127 h 4749526"/>
              <a:gd name="connsiteX1274" fmla="*/ 6161176 w 7402822"/>
              <a:gd name="connsiteY1274" fmla="*/ 3441091 h 4749526"/>
              <a:gd name="connsiteX1275" fmla="*/ 6152069 w 7402822"/>
              <a:gd name="connsiteY1275" fmla="*/ 3438055 h 4749526"/>
              <a:gd name="connsiteX1276" fmla="*/ 6149033 w 7402822"/>
              <a:gd name="connsiteY1276" fmla="*/ 3435020 h 4749526"/>
              <a:gd name="connsiteX1277" fmla="*/ 6130817 w 7402822"/>
              <a:gd name="connsiteY1277" fmla="*/ 3435020 h 4749526"/>
              <a:gd name="connsiteX1278" fmla="*/ 6127782 w 7402822"/>
              <a:gd name="connsiteY1278" fmla="*/ 3435020 h 4749526"/>
              <a:gd name="connsiteX1279" fmla="*/ 6121711 w 7402822"/>
              <a:gd name="connsiteY1279" fmla="*/ 3435020 h 4749526"/>
              <a:gd name="connsiteX1280" fmla="*/ 6106531 w 7402822"/>
              <a:gd name="connsiteY1280" fmla="*/ 3431983 h 4749526"/>
              <a:gd name="connsiteX1281" fmla="*/ 6106531 w 7402822"/>
              <a:gd name="connsiteY1281" fmla="*/ 3438055 h 4749526"/>
              <a:gd name="connsiteX1282" fmla="*/ 6103496 w 7402822"/>
              <a:gd name="connsiteY1282" fmla="*/ 3428948 h 4749526"/>
              <a:gd name="connsiteX1283" fmla="*/ 6109567 w 7402822"/>
              <a:gd name="connsiteY1283" fmla="*/ 3428948 h 4749526"/>
              <a:gd name="connsiteX1284" fmla="*/ 5532763 w 7402822"/>
              <a:gd name="connsiteY1284" fmla="*/ 3422875 h 4749526"/>
              <a:gd name="connsiteX1285" fmla="*/ 5538835 w 7402822"/>
              <a:gd name="connsiteY1285" fmla="*/ 3428947 h 4749526"/>
              <a:gd name="connsiteX1286" fmla="*/ 5538835 w 7402822"/>
              <a:gd name="connsiteY1286" fmla="*/ 3431982 h 4749526"/>
              <a:gd name="connsiteX1287" fmla="*/ 5535799 w 7402822"/>
              <a:gd name="connsiteY1287" fmla="*/ 3431982 h 4749526"/>
              <a:gd name="connsiteX1288" fmla="*/ 5535799 w 7402822"/>
              <a:gd name="connsiteY1288" fmla="*/ 3428947 h 4749526"/>
              <a:gd name="connsiteX1289" fmla="*/ 5532763 w 7402822"/>
              <a:gd name="connsiteY1289" fmla="*/ 3425911 h 4749526"/>
              <a:gd name="connsiteX1290" fmla="*/ 1812376 w 7402822"/>
              <a:gd name="connsiteY1290" fmla="*/ 3419842 h 4749526"/>
              <a:gd name="connsiteX1291" fmla="*/ 1818448 w 7402822"/>
              <a:gd name="connsiteY1291" fmla="*/ 3422877 h 4749526"/>
              <a:gd name="connsiteX1292" fmla="*/ 1812376 w 7402822"/>
              <a:gd name="connsiteY1292" fmla="*/ 3428949 h 4749526"/>
              <a:gd name="connsiteX1293" fmla="*/ 1809341 w 7402822"/>
              <a:gd name="connsiteY1293" fmla="*/ 3422877 h 4749526"/>
              <a:gd name="connsiteX1294" fmla="*/ 6577082 w 7402822"/>
              <a:gd name="connsiteY1294" fmla="*/ 3416805 h 4749526"/>
              <a:gd name="connsiteX1295" fmla="*/ 6583154 w 7402822"/>
              <a:gd name="connsiteY1295" fmla="*/ 3419842 h 4749526"/>
              <a:gd name="connsiteX1296" fmla="*/ 6589225 w 7402822"/>
              <a:gd name="connsiteY1296" fmla="*/ 3422877 h 4749526"/>
              <a:gd name="connsiteX1297" fmla="*/ 6598332 w 7402822"/>
              <a:gd name="connsiteY1297" fmla="*/ 3428949 h 4749526"/>
              <a:gd name="connsiteX1298" fmla="*/ 6616547 w 7402822"/>
              <a:gd name="connsiteY1298" fmla="*/ 3444128 h 4749526"/>
              <a:gd name="connsiteX1299" fmla="*/ 6622619 w 7402822"/>
              <a:gd name="connsiteY1299" fmla="*/ 3447164 h 4749526"/>
              <a:gd name="connsiteX1300" fmla="*/ 6625655 w 7402822"/>
              <a:gd name="connsiteY1300" fmla="*/ 3453235 h 4749526"/>
              <a:gd name="connsiteX1301" fmla="*/ 6622619 w 7402822"/>
              <a:gd name="connsiteY1301" fmla="*/ 3459307 h 4749526"/>
              <a:gd name="connsiteX1302" fmla="*/ 6622619 w 7402822"/>
              <a:gd name="connsiteY1302" fmla="*/ 3465378 h 4749526"/>
              <a:gd name="connsiteX1303" fmla="*/ 6616547 w 7402822"/>
              <a:gd name="connsiteY1303" fmla="*/ 3462343 h 4749526"/>
              <a:gd name="connsiteX1304" fmla="*/ 6616547 w 7402822"/>
              <a:gd name="connsiteY1304" fmla="*/ 3453235 h 4749526"/>
              <a:gd name="connsiteX1305" fmla="*/ 6610475 w 7402822"/>
              <a:gd name="connsiteY1305" fmla="*/ 3441092 h 4749526"/>
              <a:gd name="connsiteX1306" fmla="*/ 6589225 w 7402822"/>
              <a:gd name="connsiteY1306" fmla="*/ 3425913 h 4749526"/>
              <a:gd name="connsiteX1307" fmla="*/ 6580117 w 7402822"/>
              <a:gd name="connsiteY1307" fmla="*/ 3422877 h 4749526"/>
              <a:gd name="connsiteX1308" fmla="*/ 5687590 w 7402822"/>
              <a:gd name="connsiteY1308" fmla="*/ 3416803 h 4749526"/>
              <a:gd name="connsiteX1309" fmla="*/ 5699732 w 7402822"/>
              <a:gd name="connsiteY1309" fmla="*/ 3422875 h 4749526"/>
              <a:gd name="connsiteX1310" fmla="*/ 5696697 w 7402822"/>
              <a:gd name="connsiteY1310" fmla="*/ 3431982 h 4749526"/>
              <a:gd name="connsiteX1311" fmla="*/ 5687590 w 7402822"/>
              <a:gd name="connsiteY1311" fmla="*/ 3431982 h 4749526"/>
              <a:gd name="connsiteX1312" fmla="*/ 5684553 w 7402822"/>
              <a:gd name="connsiteY1312" fmla="*/ 3425911 h 4749526"/>
              <a:gd name="connsiteX1313" fmla="*/ 6567975 w 7402822"/>
              <a:gd name="connsiteY1313" fmla="*/ 3413770 h 4749526"/>
              <a:gd name="connsiteX1314" fmla="*/ 6571011 w 7402822"/>
              <a:gd name="connsiteY1314" fmla="*/ 3419842 h 4749526"/>
              <a:gd name="connsiteX1315" fmla="*/ 6564939 w 7402822"/>
              <a:gd name="connsiteY1315" fmla="*/ 3419842 h 4749526"/>
              <a:gd name="connsiteX1316" fmla="*/ 6558867 w 7402822"/>
              <a:gd name="connsiteY1316" fmla="*/ 3416805 h 4749526"/>
              <a:gd name="connsiteX1317" fmla="*/ 6489043 w 7402822"/>
              <a:gd name="connsiteY1317" fmla="*/ 3404663 h 4749526"/>
              <a:gd name="connsiteX1318" fmla="*/ 6495115 w 7402822"/>
              <a:gd name="connsiteY1318" fmla="*/ 3404663 h 4749526"/>
              <a:gd name="connsiteX1319" fmla="*/ 6507259 w 7402822"/>
              <a:gd name="connsiteY1319" fmla="*/ 3404663 h 4749526"/>
              <a:gd name="connsiteX1320" fmla="*/ 6501187 w 7402822"/>
              <a:gd name="connsiteY1320" fmla="*/ 3410733 h 4749526"/>
              <a:gd name="connsiteX1321" fmla="*/ 6495115 w 7402822"/>
              <a:gd name="connsiteY1321" fmla="*/ 3410733 h 4749526"/>
              <a:gd name="connsiteX1322" fmla="*/ 6489043 w 7402822"/>
              <a:gd name="connsiteY1322" fmla="*/ 3410733 h 4749526"/>
              <a:gd name="connsiteX1323" fmla="*/ 6054923 w 7402822"/>
              <a:gd name="connsiteY1323" fmla="*/ 3401625 h 4749526"/>
              <a:gd name="connsiteX1324" fmla="*/ 6060994 w 7402822"/>
              <a:gd name="connsiteY1324" fmla="*/ 3401625 h 4749526"/>
              <a:gd name="connsiteX1325" fmla="*/ 6073137 w 7402822"/>
              <a:gd name="connsiteY1325" fmla="*/ 3401625 h 4749526"/>
              <a:gd name="connsiteX1326" fmla="*/ 6057959 w 7402822"/>
              <a:gd name="connsiteY1326" fmla="*/ 3404662 h 4749526"/>
              <a:gd name="connsiteX1327" fmla="*/ 6051887 w 7402822"/>
              <a:gd name="connsiteY1327" fmla="*/ 3404662 h 4749526"/>
              <a:gd name="connsiteX1328" fmla="*/ 6261357 w 7402822"/>
              <a:gd name="connsiteY1328" fmla="*/ 3398590 h 4749526"/>
              <a:gd name="connsiteX1329" fmla="*/ 6276537 w 7402822"/>
              <a:gd name="connsiteY1329" fmla="*/ 3398590 h 4749526"/>
              <a:gd name="connsiteX1330" fmla="*/ 6288681 w 7402822"/>
              <a:gd name="connsiteY1330" fmla="*/ 3401625 h 4749526"/>
              <a:gd name="connsiteX1331" fmla="*/ 6282609 w 7402822"/>
              <a:gd name="connsiteY1331" fmla="*/ 3404662 h 4749526"/>
              <a:gd name="connsiteX1332" fmla="*/ 6273501 w 7402822"/>
              <a:gd name="connsiteY1332" fmla="*/ 3401625 h 4749526"/>
              <a:gd name="connsiteX1333" fmla="*/ 6264394 w 7402822"/>
              <a:gd name="connsiteY1333" fmla="*/ 3401625 h 4749526"/>
              <a:gd name="connsiteX1334" fmla="*/ 6155105 w 7402822"/>
              <a:gd name="connsiteY1334" fmla="*/ 3398590 h 4749526"/>
              <a:gd name="connsiteX1335" fmla="*/ 6155105 w 7402822"/>
              <a:gd name="connsiteY1335" fmla="*/ 3407697 h 4749526"/>
              <a:gd name="connsiteX1336" fmla="*/ 6145997 w 7402822"/>
              <a:gd name="connsiteY1336" fmla="*/ 3404662 h 4749526"/>
              <a:gd name="connsiteX1337" fmla="*/ 6145997 w 7402822"/>
              <a:gd name="connsiteY1337" fmla="*/ 3401625 h 4749526"/>
              <a:gd name="connsiteX1338" fmla="*/ 6033672 w 7402822"/>
              <a:gd name="connsiteY1338" fmla="*/ 3398590 h 4749526"/>
              <a:gd name="connsiteX1339" fmla="*/ 6045816 w 7402822"/>
              <a:gd name="connsiteY1339" fmla="*/ 3398590 h 4749526"/>
              <a:gd name="connsiteX1340" fmla="*/ 6051887 w 7402822"/>
              <a:gd name="connsiteY1340" fmla="*/ 3404662 h 4749526"/>
              <a:gd name="connsiteX1341" fmla="*/ 6039744 w 7402822"/>
              <a:gd name="connsiteY1341" fmla="*/ 3404662 h 4749526"/>
              <a:gd name="connsiteX1342" fmla="*/ 6033672 w 7402822"/>
              <a:gd name="connsiteY1342" fmla="*/ 3407697 h 4749526"/>
              <a:gd name="connsiteX1343" fmla="*/ 6030637 w 7402822"/>
              <a:gd name="connsiteY1343" fmla="*/ 3401625 h 4749526"/>
              <a:gd name="connsiteX1344" fmla="*/ 5651160 w 7402822"/>
              <a:gd name="connsiteY1344" fmla="*/ 3395552 h 4749526"/>
              <a:gd name="connsiteX1345" fmla="*/ 5654195 w 7402822"/>
              <a:gd name="connsiteY1345" fmla="*/ 3401624 h 4749526"/>
              <a:gd name="connsiteX1346" fmla="*/ 5657231 w 7402822"/>
              <a:gd name="connsiteY1346" fmla="*/ 3413768 h 4749526"/>
              <a:gd name="connsiteX1347" fmla="*/ 5666339 w 7402822"/>
              <a:gd name="connsiteY1347" fmla="*/ 3416803 h 4749526"/>
              <a:gd name="connsiteX1348" fmla="*/ 5666339 w 7402822"/>
              <a:gd name="connsiteY1348" fmla="*/ 3422875 h 4749526"/>
              <a:gd name="connsiteX1349" fmla="*/ 5663303 w 7402822"/>
              <a:gd name="connsiteY1349" fmla="*/ 3425911 h 4749526"/>
              <a:gd name="connsiteX1350" fmla="*/ 5654195 w 7402822"/>
              <a:gd name="connsiteY1350" fmla="*/ 3422875 h 4749526"/>
              <a:gd name="connsiteX1351" fmla="*/ 5651160 w 7402822"/>
              <a:gd name="connsiteY1351" fmla="*/ 3419840 h 4749526"/>
              <a:gd name="connsiteX1352" fmla="*/ 5651160 w 7402822"/>
              <a:gd name="connsiteY1352" fmla="*/ 3413768 h 4749526"/>
              <a:gd name="connsiteX1353" fmla="*/ 5648124 w 7402822"/>
              <a:gd name="connsiteY1353" fmla="*/ 3410731 h 4749526"/>
              <a:gd name="connsiteX1354" fmla="*/ 5639017 w 7402822"/>
              <a:gd name="connsiteY1354" fmla="*/ 3407696 h 4749526"/>
              <a:gd name="connsiteX1355" fmla="*/ 5635981 w 7402822"/>
              <a:gd name="connsiteY1355" fmla="*/ 3407696 h 4749526"/>
              <a:gd name="connsiteX1356" fmla="*/ 5635981 w 7402822"/>
              <a:gd name="connsiteY1356" fmla="*/ 3401624 h 4749526"/>
              <a:gd name="connsiteX1357" fmla="*/ 5645088 w 7402822"/>
              <a:gd name="connsiteY1357" fmla="*/ 3398589 h 4749526"/>
              <a:gd name="connsiteX1358" fmla="*/ 6100461 w 7402822"/>
              <a:gd name="connsiteY1358" fmla="*/ 3392518 h 4749526"/>
              <a:gd name="connsiteX1359" fmla="*/ 6106531 w 7402822"/>
              <a:gd name="connsiteY1359" fmla="*/ 3395553 h 4749526"/>
              <a:gd name="connsiteX1360" fmla="*/ 6109567 w 7402822"/>
              <a:gd name="connsiteY1360" fmla="*/ 3401625 h 4749526"/>
              <a:gd name="connsiteX1361" fmla="*/ 6103496 w 7402822"/>
              <a:gd name="connsiteY1361" fmla="*/ 3401625 h 4749526"/>
              <a:gd name="connsiteX1362" fmla="*/ 6097424 w 7402822"/>
              <a:gd name="connsiteY1362" fmla="*/ 3401625 h 4749526"/>
              <a:gd name="connsiteX1363" fmla="*/ 6094389 w 7402822"/>
              <a:gd name="connsiteY1363" fmla="*/ 3398590 h 4749526"/>
              <a:gd name="connsiteX1364" fmla="*/ 6094389 w 7402822"/>
              <a:gd name="connsiteY1364" fmla="*/ 3395553 h 4749526"/>
              <a:gd name="connsiteX1365" fmla="*/ 6003314 w 7402822"/>
              <a:gd name="connsiteY1365" fmla="*/ 3389483 h 4749526"/>
              <a:gd name="connsiteX1366" fmla="*/ 6009386 w 7402822"/>
              <a:gd name="connsiteY1366" fmla="*/ 3389483 h 4749526"/>
              <a:gd name="connsiteX1367" fmla="*/ 6015457 w 7402822"/>
              <a:gd name="connsiteY1367" fmla="*/ 3392518 h 4749526"/>
              <a:gd name="connsiteX1368" fmla="*/ 6006351 w 7402822"/>
              <a:gd name="connsiteY1368" fmla="*/ 3395553 h 4749526"/>
              <a:gd name="connsiteX1369" fmla="*/ 6003314 w 7402822"/>
              <a:gd name="connsiteY1369" fmla="*/ 3398590 h 4749526"/>
              <a:gd name="connsiteX1370" fmla="*/ 6000279 w 7402822"/>
              <a:gd name="connsiteY1370" fmla="*/ 3395553 h 4749526"/>
              <a:gd name="connsiteX1371" fmla="*/ 5724019 w 7402822"/>
              <a:gd name="connsiteY1371" fmla="*/ 3386445 h 4749526"/>
              <a:gd name="connsiteX1372" fmla="*/ 5730091 w 7402822"/>
              <a:gd name="connsiteY1372" fmla="*/ 3386445 h 4749526"/>
              <a:gd name="connsiteX1373" fmla="*/ 5727055 w 7402822"/>
              <a:gd name="connsiteY1373" fmla="*/ 3389482 h 4749526"/>
              <a:gd name="connsiteX1374" fmla="*/ 5720983 w 7402822"/>
              <a:gd name="connsiteY1374" fmla="*/ 3389482 h 4749526"/>
              <a:gd name="connsiteX1375" fmla="*/ 6167247 w 7402822"/>
              <a:gd name="connsiteY1375" fmla="*/ 3383411 h 4749526"/>
              <a:gd name="connsiteX1376" fmla="*/ 6170284 w 7402822"/>
              <a:gd name="connsiteY1376" fmla="*/ 3389483 h 4749526"/>
              <a:gd name="connsiteX1377" fmla="*/ 6167247 w 7402822"/>
              <a:gd name="connsiteY1377" fmla="*/ 3392518 h 4749526"/>
              <a:gd name="connsiteX1378" fmla="*/ 6161176 w 7402822"/>
              <a:gd name="connsiteY1378" fmla="*/ 3386446 h 4749526"/>
              <a:gd name="connsiteX1379" fmla="*/ 5502405 w 7402822"/>
              <a:gd name="connsiteY1379" fmla="*/ 3383410 h 4749526"/>
              <a:gd name="connsiteX1380" fmla="*/ 5511512 w 7402822"/>
              <a:gd name="connsiteY1380" fmla="*/ 3389482 h 4749526"/>
              <a:gd name="connsiteX1381" fmla="*/ 5514549 w 7402822"/>
              <a:gd name="connsiteY1381" fmla="*/ 3398589 h 4749526"/>
              <a:gd name="connsiteX1382" fmla="*/ 5511512 w 7402822"/>
              <a:gd name="connsiteY1382" fmla="*/ 3401624 h 4749526"/>
              <a:gd name="connsiteX1383" fmla="*/ 5502405 w 7402822"/>
              <a:gd name="connsiteY1383" fmla="*/ 3395552 h 4749526"/>
              <a:gd name="connsiteX1384" fmla="*/ 5499370 w 7402822"/>
              <a:gd name="connsiteY1384" fmla="*/ 3389482 h 4749526"/>
              <a:gd name="connsiteX1385" fmla="*/ 6158141 w 7402822"/>
              <a:gd name="connsiteY1385" fmla="*/ 3380374 h 4749526"/>
              <a:gd name="connsiteX1386" fmla="*/ 6167247 w 7402822"/>
              <a:gd name="connsiteY1386" fmla="*/ 3380374 h 4749526"/>
              <a:gd name="connsiteX1387" fmla="*/ 6164212 w 7402822"/>
              <a:gd name="connsiteY1387" fmla="*/ 3383411 h 4749526"/>
              <a:gd name="connsiteX1388" fmla="*/ 6158141 w 7402822"/>
              <a:gd name="connsiteY1388" fmla="*/ 3383411 h 4749526"/>
              <a:gd name="connsiteX1389" fmla="*/ 6261357 w 7402822"/>
              <a:gd name="connsiteY1389" fmla="*/ 3377339 h 4749526"/>
              <a:gd name="connsiteX1390" fmla="*/ 6267429 w 7402822"/>
              <a:gd name="connsiteY1390" fmla="*/ 3380374 h 4749526"/>
              <a:gd name="connsiteX1391" fmla="*/ 6273501 w 7402822"/>
              <a:gd name="connsiteY1391" fmla="*/ 3383411 h 4749526"/>
              <a:gd name="connsiteX1392" fmla="*/ 6279572 w 7402822"/>
              <a:gd name="connsiteY1392" fmla="*/ 3386446 h 4749526"/>
              <a:gd name="connsiteX1393" fmla="*/ 6276537 w 7402822"/>
              <a:gd name="connsiteY1393" fmla="*/ 3389483 h 4749526"/>
              <a:gd name="connsiteX1394" fmla="*/ 6264394 w 7402822"/>
              <a:gd name="connsiteY1394" fmla="*/ 3383411 h 4749526"/>
              <a:gd name="connsiteX1395" fmla="*/ 6261357 w 7402822"/>
              <a:gd name="connsiteY1395" fmla="*/ 3380374 h 4749526"/>
              <a:gd name="connsiteX1396" fmla="*/ 2407394 w 7402822"/>
              <a:gd name="connsiteY1396" fmla="*/ 3374303 h 4749526"/>
              <a:gd name="connsiteX1397" fmla="*/ 2410431 w 7402822"/>
              <a:gd name="connsiteY1397" fmla="*/ 3377339 h 4749526"/>
              <a:gd name="connsiteX1398" fmla="*/ 2407394 w 7402822"/>
              <a:gd name="connsiteY1398" fmla="*/ 3386447 h 4749526"/>
              <a:gd name="connsiteX1399" fmla="*/ 2395251 w 7402822"/>
              <a:gd name="connsiteY1399" fmla="*/ 3395554 h 4749526"/>
              <a:gd name="connsiteX1400" fmla="*/ 2395251 w 7402822"/>
              <a:gd name="connsiteY1400" fmla="*/ 3392518 h 4749526"/>
              <a:gd name="connsiteX1401" fmla="*/ 2401323 w 7402822"/>
              <a:gd name="connsiteY1401" fmla="*/ 3386447 h 4749526"/>
              <a:gd name="connsiteX1402" fmla="*/ 6197606 w 7402822"/>
              <a:gd name="connsiteY1402" fmla="*/ 3371267 h 4749526"/>
              <a:gd name="connsiteX1403" fmla="*/ 6212785 w 7402822"/>
              <a:gd name="connsiteY1403" fmla="*/ 3374303 h 4749526"/>
              <a:gd name="connsiteX1404" fmla="*/ 6215821 w 7402822"/>
              <a:gd name="connsiteY1404" fmla="*/ 3377339 h 4749526"/>
              <a:gd name="connsiteX1405" fmla="*/ 6221892 w 7402822"/>
              <a:gd name="connsiteY1405" fmla="*/ 3380374 h 4749526"/>
              <a:gd name="connsiteX1406" fmla="*/ 6227964 w 7402822"/>
              <a:gd name="connsiteY1406" fmla="*/ 3380374 h 4749526"/>
              <a:gd name="connsiteX1407" fmla="*/ 6234036 w 7402822"/>
              <a:gd name="connsiteY1407" fmla="*/ 3380374 h 4749526"/>
              <a:gd name="connsiteX1408" fmla="*/ 6234036 w 7402822"/>
              <a:gd name="connsiteY1408" fmla="*/ 3386446 h 4749526"/>
              <a:gd name="connsiteX1409" fmla="*/ 6237071 w 7402822"/>
              <a:gd name="connsiteY1409" fmla="*/ 3395553 h 4749526"/>
              <a:gd name="connsiteX1410" fmla="*/ 6234036 w 7402822"/>
              <a:gd name="connsiteY1410" fmla="*/ 3395553 h 4749526"/>
              <a:gd name="connsiteX1411" fmla="*/ 6234036 w 7402822"/>
              <a:gd name="connsiteY1411" fmla="*/ 3398590 h 4749526"/>
              <a:gd name="connsiteX1412" fmla="*/ 6234036 w 7402822"/>
              <a:gd name="connsiteY1412" fmla="*/ 3404662 h 4749526"/>
              <a:gd name="connsiteX1413" fmla="*/ 6237071 w 7402822"/>
              <a:gd name="connsiteY1413" fmla="*/ 3416804 h 4749526"/>
              <a:gd name="connsiteX1414" fmla="*/ 6246179 w 7402822"/>
              <a:gd name="connsiteY1414" fmla="*/ 3425912 h 4749526"/>
              <a:gd name="connsiteX1415" fmla="*/ 6252251 w 7402822"/>
              <a:gd name="connsiteY1415" fmla="*/ 3435020 h 4749526"/>
              <a:gd name="connsiteX1416" fmla="*/ 6261357 w 7402822"/>
              <a:gd name="connsiteY1416" fmla="*/ 3431983 h 4749526"/>
              <a:gd name="connsiteX1417" fmla="*/ 6267429 w 7402822"/>
              <a:gd name="connsiteY1417" fmla="*/ 3428948 h 4749526"/>
              <a:gd name="connsiteX1418" fmla="*/ 6270465 w 7402822"/>
              <a:gd name="connsiteY1418" fmla="*/ 3425912 h 4749526"/>
              <a:gd name="connsiteX1419" fmla="*/ 6279572 w 7402822"/>
              <a:gd name="connsiteY1419" fmla="*/ 3413769 h 4749526"/>
              <a:gd name="connsiteX1420" fmla="*/ 6282609 w 7402822"/>
              <a:gd name="connsiteY1420" fmla="*/ 3410732 h 4749526"/>
              <a:gd name="connsiteX1421" fmla="*/ 6288681 w 7402822"/>
              <a:gd name="connsiteY1421" fmla="*/ 3410732 h 4749526"/>
              <a:gd name="connsiteX1422" fmla="*/ 6297787 w 7402822"/>
              <a:gd name="connsiteY1422" fmla="*/ 3404662 h 4749526"/>
              <a:gd name="connsiteX1423" fmla="*/ 6297787 w 7402822"/>
              <a:gd name="connsiteY1423" fmla="*/ 3401625 h 4749526"/>
              <a:gd name="connsiteX1424" fmla="*/ 6303859 w 7402822"/>
              <a:gd name="connsiteY1424" fmla="*/ 3398590 h 4749526"/>
              <a:gd name="connsiteX1425" fmla="*/ 6312967 w 7402822"/>
              <a:gd name="connsiteY1425" fmla="*/ 3395553 h 4749526"/>
              <a:gd name="connsiteX1426" fmla="*/ 6325111 w 7402822"/>
              <a:gd name="connsiteY1426" fmla="*/ 3401625 h 4749526"/>
              <a:gd name="connsiteX1427" fmla="*/ 6349395 w 7402822"/>
              <a:gd name="connsiteY1427" fmla="*/ 3413769 h 4749526"/>
              <a:gd name="connsiteX1428" fmla="*/ 6352432 w 7402822"/>
              <a:gd name="connsiteY1428" fmla="*/ 3413769 h 4749526"/>
              <a:gd name="connsiteX1429" fmla="*/ 6358504 w 7402822"/>
              <a:gd name="connsiteY1429" fmla="*/ 3413769 h 4749526"/>
              <a:gd name="connsiteX1430" fmla="*/ 6370647 w 7402822"/>
              <a:gd name="connsiteY1430" fmla="*/ 3416804 h 4749526"/>
              <a:gd name="connsiteX1431" fmla="*/ 6376719 w 7402822"/>
              <a:gd name="connsiteY1431" fmla="*/ 3416804 h 4749526"/>
              <a:gd name="connsiteX1432" fmla="*/ 6376719 w 7402822"/>
              <a:gd name="connsiteY1432" fmla="*/ 3416805 h 4749526"/>
              <a:gd name="connsiteX1433" fmla="*/ 6382791 w 7402822"/>
              <a:gd name="connsiteY1433" fmla="*/ 3419842 h 4749526"/>
              <a:gd name="connsiteX1434" fmla="*/ 6397969 w 7402822"/>
              <a:gd name="connsiteY1434" fmla="*/ 3425913 h 4749526"/>
              <a:gd name="connsiteX1435" fmla="*/ 6422256 w 7402822"/>
              <a:gd name="connsiteY1435" fmla="*/ 3435020 h 4749526"/>
              <a:gd name="connsiteX1436" fmla="*/ 6446542 w 7402822"/>
              <a:gd name="connsiteY1436" fmla="*/ 3444128 h 4749526"/>
              <a:gd name="connsiteX1437" fmla="*/ 6455649 w 7402822"/>
              <a:gd name="connsiteY1437" fmla="*/ 3450199 h 4749526"/>
              <a:gd name="connsiteX1438" fmla="*/ 6461721 w 7402822"/>
              <a:gd name="connsiteY1438" fmla="*/ 3453235 h 4749526"/>
              <a:gd name="connsiteX1439" fmla="*/ 6464757 w 7402822"/>
              <a:gd name="connsiteY1439" fmla="*/ 3456271 h 4749526"/>
              <a:gd name="connsiteX1440" fmla="*/ 6473865 w 7402822"/>
              <a:gd name="connsiteY1440" fmla="*/ 3462343 h 4749526"/>
              <a:gd name="connsiteX1441" fmla="*/ 6473865 w 7402822"/>
              <a:gd name="connsiteY1441" fmla="*/ 3468414 h 4749526"/>
              <a:gd name="connsiteX1442" fmla="*/ 6473865 w 7402822"/>
              <a:gd name="connsiteY1442" fmla="*/ 3477522 h 4749526"/>
              <a:gd name="connsiteX1443" fmla="*/ 6479935 w 7402822"/>
              <a:gd name="connsiteY1443" fmla="*/ 3477522 h 4749526"/>
              <a:gd name="connsiteX1444" fmla="*/ 6492079 w 7402822"/>
              <a:gd name="connsiteY1444" fmla="*/ 3483594 h 4749526"/>
              <a:gd name="connsiteX1445" fmla="*/ 6504223 w 7402822"/>
              <a:gd name="connsiteY1445" fmla="*/ 3486629 h 4749526"/>
              <a:gd name="connsiteX1446" fmla="*/ 6507259 w 7402822"/>
              <a:gd name="connsiteY1446" fmla="*/ 3486629 h 4749526"/>
              <a:gd name="connsiteX1447" fmla="*/ 6510294 w 7402822"/>
              <a:gd name="connsiteY1447" fmla="*/ 3489665 h 4749526"/>
              <a:gd name="connsiteX1448" fmla="*/ 6516365 w 7402822"/>
              <a:gd name="connsiteY1448" fmla="*/ 3498773 h 4749526"/>
              <a:gd name="connsiteX1449" fmla="*/ 6513331 w 7402822"/>
              <a:gd name="connsiteY1449" fmla="*/ 3501808 h 4749526"/>
              <a:gd name="connsiteX1450" fmla="*/ 6510294 w 7402822"/>
              <a:gd name="connsiteY1450" fmla="*/ 3504843 h 4749526"/>
              <a:gd name="connsiteX1451" fmla="*/ 6504223 w 7402822"/>
              <a:gd name="connsiteY1451" fmla="*/ 3504843 h 4749526"/>
              <a:gd name="connsiteX1452" fmla="*/ 6501187 w 7402822"/>
              <a:gd name="connsiteY1452" fmla="*/ 3501808 h 4749526"/>
              <a:gd name="connsiteX1453" fmla="*/ 6498151 w 7402822"/>
              <a:gd name="connsiteY1453" fmla="*/ 3504843 h 4749526"/>
              <a:gd name="connsiteX1454" fmla="*/ 6504223 w 7402822"/>
              <a:gd name="connsiteY1454" fmla="*/ 3516987 h 4749526"/>
              <a:gd name="connsiteX1455" fmla="*/ 6513331 w 7402822"/>
              <a:gd name="connsiteY1455" fmla="*/ 3526094 h 4749526"/>
              <a:gd name="connsiteX1456" fmla="*/ 6516365 w 7402822"/>
              <a:gd name="connsiteY1456" fmla="*/ 3529131 h 4749526"/>
              <a:gd name="connsiteX1457" fmla="*/ 6522437 w 7402822"/>
              <a:gd name="connsiteY1457" fmla="*/ 3532166 h 4749526"/>
              <a:gd name="connsiteX1458" fmla="*/ 6522437 w 7402822"/>
              <a:gd name="connsiteY1458" fmla="*/ 3538238 h 4749526"/>
              <a:gd name="connsiteX1459" fmla="*/ 6525473 w 7402822"/>
              <a:gd name="connsiteY1459" fmla="*/ 3541273 h 4749526"/>
              <a:gd name="connsiteX1460" fmla="*/ 6531545 w 7402822"/>
              <a:gd name="connsiteY1460" fmla="*/ 3550381 h 4749526"/>
              <a:gd name="connsiteX1461" fmla="*/ 6546724 w 7402822"/>
              <a:gd name="connsiteY1461" fmla="*/ 3559489 h 4749526"/>
              <a:gd name="connsiteX1462" fmla="*/ 6555831 w 7402822"/>
              <a:gd name="connsiteY1462" fmla="*/ 3562524 h 4749526"/>
              <a:gd name="connsiteX1463" fmla="*/ 6558867 w 7402822"/>
              <a:gd name="connsiteY1463" fmla="*/ 3562524 h 4749526"/>
              <a:gd name="connsiteX1464" fmla="*/ 6558867 w 7402822"/>
              <a:gd name="connsiteY1464" fmla="*/ 3565560 h 4749526"/>
              <a:gd name="connsiteX1465" fmla="*/ 6558867 w 7402822"/>
              <a:gd name="connsiteY1465" fmla="*/ 3571632 h 4749526"/>
              <a:gd name="connsiteX1466" fmla="*/ 6564939 w 7402822"/>
              <a:gd name="connsiteY1466" fmla="*/ 3574667 h 4749526"/>
              <a:gd name="connsiteX1467" fmla="*/ 6574047 w 7402822"/>
              <a:gd name="connsiteY1467" fmla="*/ 3577704 h 4749526"/>
              <a:gd name="connsiteX1468" fmla="*/ 6574047 w 7402822"/>
              <a:gd name="connsiteY1468" fmla="*/ 3580739 h 4749526"/>
              <a:gd name="connsiteX1469" fmla="*/ 6574047 w 7402822"/>
              <a:gd name="connsiteY1469" fmla="*/ 3583775 h 4749526"/>
              <a:gd name="connsiteX1470" fmla="*/ 6564939 w 7402822"/>
              <a:gd name="connsiteY1470" fmla="*/ 3583775 h 4749526"/>
              <a:gd name="connsiteX1471" fmla="*/ 6558867 w 7402822"/>
              <a:gd name="connsiteY1471" fmla="*/ 3583775 h 4749526"/>
              <a:gd name="connsiteX1472" fmla="*/ 6561903 w 7402822"/>
              <a:gd name="connsiteY1472" fmla="*/ 3580739 h 4749526"/>
              <a:gd name="connsiteX1473" fmla="*/ 6540652 w 7402822"/>
              <a:gd name="connsiteY1473" fmla="*/ 3574667 h 4749526"/>
              <a:gd name="connsiteX1474" fmla="*/ 6525473 w 7402822"/>
              <a:gd name="connsiteY1474" fmla="*/ 3574667 h 4749526"/>
              <a:gd name="connsiteX1475" fmla="*/ 6513331 w 7402822"/>
              <a:gd name="connsiteY1475" fmla="*/ 3571632 h 4749526"/>
              <a:gd name="connsiteX1476" fmla="*/ 6501187 w 7402822"/>
              <a:gd name="connsiteY1476" fmla="*/ 3562524 h 4749526"/>
              <a:gd name="connsiteX1477" fmla="*/ 6495115 w 7402822"/>
              <a:gd name="connsiteY1477" fmla="*/ 3553417 h 4749526"/>
              <a:gd name="connsiteX1478" fmla="*/ 6489043 w 7402822"/>
              <a:gd name="connsiteY1478" fmla="*/ 3541273 h 4749526"/>
              <a:gd name="connsiteX1479" fmla="*/ 6479935 w 7402822"/>
              <a:gd name="connsiteY1479" fmla="*/ 3532166 h 4749526"/>
              <a:gd name="connsiteX1480" fmla="*/ 6467793 w 7402822"/>
              <a:gd name="connsiteY1480" fmla="*/ 3526094 h 4749526"/>
              <a:gd name="connsiteX1481" fmla="*/ 6455649 w 7402822"/>
              <a:gd name="connsiteY1481" fmla="*/ 3526094 h 4749526"/>
              <a:gd name="connsiteX1482" fmla="*/ 6449577 w 7402822"/>
              <a:gd name="connsiteY1482" fmla="*/ 3523059 h 4749526"/>
              <a:gd name="connsiteX1483" fmla="*/ 6449577 w 7402822"/>
              <a:gd name="connsiteY1483" fmla="*/ 3520023 h 4749526"/>
              <a:gd name="connsiteX1484" fmla="*/ 6446542 w 7402822"/>
              <a:gd name="connsiteY1484" fmla="*/ 3520023 h 4749526"/>
              <a:gd name="connsiteX1485" fmla="*/ 6443507 w 7402822"/>
              <a:gd name="connsiteY1485" fmla="*/ 3523059 h 4749526"/>
              <a:gd name="connsiteX1486" fmla="*/ 6434399 w 7402822"/>
              <a:gd name="connsiteY1486" fmla="*/ 3523059 h 4749526"/>
              <a:gd name="connsiteX1487" fmla="*/ 6437435 w 7402822"/>
              <a:gd name="connsiteY1487" fmla="*/ 3529131 h 4749526"/>
              <a:gd name="connsiteX1488" fmla="*/ 6428327 w 7402822"/>
              <a:gd name="connsiteY1488" fmla="*/ 3532166 h 4749526"/>
              <a:gd name="connsiteX1489" fmla="*/ 6413149 w 7402822"/>
              <a:gd name="connsiteY1489" fmla="*/ 3535202 h 4749526"/>
              <a:gd name="connsiteX1490" fmla="*/ 6422256 w 7402822"/>
              <a:gd name="connsiteY1490" fmla="*/ 3541273 h 4749526"/>
              <a:gd name="connsiteX1491" fmla="*/ 6425291 w 7402822"/>
              <a:gd name="connsiteY1491" fmla="*/ 3550381 h 4749526"/>
              <a:gd name="connsiteX1492" fmla="*/ 6419219 w 7402822"/>
              <a:gd name="connsiteY1492" fmla="*/ 3553417 h 4749526"/>
              <a:gd name="connsiteX1493" fmla="*/ 6407077 w 7402822"/>
              <a:gd name="connsiteY1493" fmla="*/ 3556453 h 4749526"/>
              <a:gd name="connsiteX1494" fmla="*/ 6401005 w 7402822"/>
              <a:gd name="connsiteY1494" fmla="*/ 3553417 h 4749526"/>
              <a:gd name="connsiteX1495" fmla="*/ 6394934 w 7402822"/>
              <a:gd name="connsiteY1495" fmla="*/ 3553417 h 4749526"/>
              <a:gd name="connsiteX1496" fmla="*/ 6382791 w 7402822"/>
              <a:gd name="connsiteY1496" fmla="*/ 3556453 h 4749526"/>
              <a:gd name="connsiteX1497" fmla="*/ 6376719 w 7402822"/>
              <a:gd name="connsiteY1497" fmla="*/ 3553417 h 4749526"/>
              <a:gd name="connsiteX1498" fmla="*/ 6376719 w 7402822"/>
              <a:gd name="connsiteY1498" fmla="*/ 3553416 h 4749526"/>
              <a:gd name="connsiteX1499" fmla="*/ 6367611 w 7402822"/>
              <a:gd name="connsiteY1499" fmla="*/ 3547344 h 4749526"/>
              <a:gd name="connsiteX1500" fmla="*/ 6355469 w 7402822"/>
              <a:gd name="connsiteY1500" fmla="*/ 3535201 h 4749526"/>
              <a:gd name="connsiteX1501" fmla="*/ 6355469 w 7402822"/>
              <a:gd name="connsiteY1501" fmla="*/ 3532165 h 4749526"/>
              <a:gd name="connsiteX1502" fmla="*/ 6352432 w 7402822"/>
              <a:gd name="connsiteY1502" fmla="*/ 3532165 h 4749526"/>
              <a:gd name="connsiteX1503" fmla="*/ 6349395 w 7402822"/>
              <a:gd name="connsiteY1503" fmla="*/ 3532165 h 4749526"/>
              <a:gd name="connsiteX1504" fmla="*/ 6337253 w 7402822"/>
              <a:gd name="connsiteY1504" fmla="*/ 3535201 h 4749526"/>
              <a:gd name="connsiteX1505" fmla="*/ 6331181 w 7402822"/>
              <a:gd name="connsiteY1505" fmla="*/ 3532165 h 4749526"/>
              <a:gd name="connsiteX1506" fmla="*/ 6331181 w 7402822"/>
              <a:gd name="connsiteY1506" fmla="*/ 3529130 h 4749526"/>
              <a:gd name="connsiteX1507" fmla="*/ 6322074 w 7402822"/>
              <a:gd name="connsiteY1507" fmla="*/ 3538237 h 4749526"/>
              <a:gd name="connsiteX1508" fmla="*/ 6309931 w 7402822"/>
              <a:gd name="connsiteY1508" fmla="*/ 3538237 h 4749526"/>
              <a:gd name="connsiteX1509" fmla="*/ 6306895 w 7402822"/>
              <a:gd name="connsiteY1509" fmla="*/ 3535201 h 4749526"/>
              <a:gd name="connsiteX1510" fmla="*/ 6309931 w 7402822"/>
              <a:gd name="connsiteY1510" fmla="*/ 3526093 h 4749526"/>
              <a:gd name="connsiteX1511" fmla="*/ 6322074 w 7402822"/>
              <a:gd name="connsiteY1511" fmla="*/ 3516986 h 4749526"/>
              <a:gd name="connsiteX1512" fmla="*/ 6331181 w 7402822"/>
              <a:gd name="connsiteY1512" fmla="*/ 3520022 h 4749526"/>
              <a:gd name="connsiteX1513" fmla="*/ 6333459 w 7402822"/>
              <a:gd name="connsiteY1513" fmla="*/ 3522298 h 4749526"/>
              <a:gd name="connsiteX1514" fmla="*/ 6334217 w 7402822"/>
              <a:gd name="connsiteY1514" fmla="*/ 3520022 h 4749526"/>
              <a:gd name="connsiteX1515" fmla="*/ 6334217 w 7402822"/>
              <a:gd name="connsiteY1515" fmla="*/ 3516986 h 4749526"/>
              <a:gd name="connsiteX1516" fmla="*/ 6328146 w 7402822"/>
              <a:gd name="connsiteY1516" fmla="*/ 3510914 h 4749526"/>
              <a:gd name="connsiteX1517" fmla="*/ 6325111 w 7402822"/>
              <a:gd name="connsiteY1517" fmla="*/ 3504843 h 4749526"/>
              <a:gd name="connsiteX1518" fmla="*/ 6328146 w 7402822"/>
              <a:gd name="connsiteY1518" fmla="*/ 3501807 h 4749526"/>
              <a:gd name="connsiteX1519" fmla="*/ 6319039 w 7402822"/>
              <a:gd name="connsiteY1519" fmla="*/ 3486628 h 4749526"/>
              <a:gd name="connsiteX1520" fmla="*/ 6312967 w 7402822"/>
              <a:gd name="connsiteY1520" fmla="*/ 3477521 h 4749526"/>
              <a:gd name="connsiteX1521" fmla="*/ 6300823 w 7402822"/>
              <a:gd name="connsiteY1521" fmla="*/ 3468413 h 4749526"/>
              <a:gd name="connsiteX1522" fmla="*/ 6288681 w 7402822"/>
              <a:gd name="connsiteY1522" fmla="*/ 3465377 h 4749526"/>
              <a:gd name="connsiteX1523" fmla="*/ 6276537 w 7402822"/>
              <a:gd name="connsiteY1523" fmla="*/ 3462342 h 4749526"/>
              <a:gd name="connsiteX1524" fmla="*/ 6273501 w 7402822"/>
              <a:gd name="connsiteY1524" fmla="*/ 3459306 h 4749526"/>
              <a:gd name="connsiteX1525" fmla="*/ 6270465 w 7402822"/>
              <a:gd name="connsiteY1525" fmla="*/ 3456270 h 4749526"/>
              <a:gd name="connsiteX1526" fmla="*/ 6261357 w 7402822"/>
              <a:gd name="connsiteY1526" fmla="*/ 3456270 h 4749526"/>
              <a:gd name="connsiteX1527" fmla="*/ 6255287 w 7402822"/>
              <a:gd name="connsiteY1527" fmla="*/ 3456270 h 4749526"/>
              <a:gd name="connsiteX1528" fmla="*/ 6252251 w 7402822"/>
              <a:gd name="connsiteY1528" fmla="*/ 3456270 h 4749526"/>
              <a:gd name="connsiteX1529" fmla="*/ 6246179 w 7402822"/>
              <a:gd name="connsiteY1529" fmla="*/ 3453234 h 4749526"/>
              <a:gd name="connsiteX1530" fmla="*/ 6243143 w 7402822"/>
              <a:gd name="connsiteY1530" fmla="*/ 3450198 h 4749526"/>
              <a:gd name="connsiteX1531" fmla="*/ 6230999 w 7402822"/>
              <a:gd name="connsiteY1531" fmla="*/ 3441091 h 4749526"/>
              <a:gd name="connsiteX1532" fmla="*/ 6224929 w 7402822"/>
              <a:gd name="connsiteY1532" fmla="*/ 3441091 h 4749526"/>
              <a:gd name="connsiteX1533" fmla="*/ 6218857 w 7402822"/>
              <a:gd name="connsiteY1533" fmla="*/ 3444127 h 4749526"/>
              <a:gd name="connsiteX1534" fmla="*/ 6215821 w 7402822"/>
              <a:gd name="connsiteY1534" fmla="*/ 3447163 h 4749526"/>
              <a:gd name="connsiteX1535" fmla="*/ 6209749 w 7402822"/>
              <a:gd name="connsiteY1535" fmla="*/ 3450198 h 4749526"/>
              <a:gd name="connsiteX1536" fmla="*/ 6206713 w 7402822"/>
              <a:gd name="connsiteY1536" fmla="*/ 3441091 h 4749526"/>
              <a:gd name="connsiteX1537" fmla="*/ 6206713 w 7402822"/>
              <a:gd name="connsiteY1537" fmla="*/ 3438055 h 4749526"/>
              <a:gd name="connsiteX1538" fmla="*/ 6206713 w 7402822"/>
              <a:gd name="connsiteY1538" fmla="*/ 3435020 h 4749526"/>
              <a:gd name="connsiteX1539" fmla="*/ 6197606 w 7402822"/>
              <a:gd name="connsiteY1539" fmla="*/ 3425912 h 4749526"/>
              <a:gd name="connsiteX1540" fmla="*/ 6191534 w 7402822"/>
              <a:gd name="connsiteY1540" fmla="*/ 3425912 h 4749526"/>
              <a:gd name="connsiteX1541" fmla="*/ 6188499 w 7402822"/>
              <a:gd name="connsiteY1541" fmla="*/ 3422876 h 4749526"/>
              <a:gd name="connsiteX1542" fmla="*/ 6197606 w 7402822"/>
              <a:gd name="connsiteY1542" fmla="*/ 3419841 h 4749526"/>
              <a:gd name="connsiteX1543" fmla="*/ 6209749 w 7402822"/>
              <a:gd name="connsiteY1543" fmla="*/ 3416804 h 4749526"/>
              <a:gd name="connsiteX1544" fmla="*/ 6215821 w 7402822"/>
              <a:gd name="connsiteY1544" fmla="*/ 3413769 h 4749526"/>
              <a:gd name="connsiteX1545" fmla="*/ 6227964 w 7402822"/>
              <a:gd name="connsiteY1545" fmla="*/ 3419841 h 4749526"/>
              <a:gd name="connsiteX1546" fmla="*/ 6227964 w 7402822"/>
              <a:gd name="connsiteY1546" fmla="*/ 3407697 h 4749526"/>
              <a:gd name="connsiteX1547" fmla="*/ 6224929 w 7402822"/>
              <a:gd name="connsiteY1547" fmla="*/ 3410732 h 4749526"/>
              <a:gd name="connsiteX1548" fmla="*/ 6218857 w 7402822"/>
              <a:gd name="connsiteY1548" fmla="*/ 3410732 h 4749526"/>
              <a:gd name="connsiteX1549" fmla="*/ 6209749 w 7402822"/>
              <a:gd name="connsiteY1549" fmla="*/ 3410732 h 4749526"/>
              <a:gd name="connsiteX1550" fmla="*/ 6206713 w 7402822"/>
              <a:gd name="connsiteY1550" fmla="*/ 3410732 h 4749526"/>
              <a:gd name="connsiteX1551" fmla="*/ 6203677 w 7402822"/>
              <a:gd name="connsiteY1551" fmla="*/ 3410732 h 4749526"/>
              <a:gd name="connsiteX1552" fmla="*/ 6197606 w 7402822"/>
              <a:gd name="connsiteY1552" fmla="*/ 3410732 h 4749526"/>
              <a:gd name="connsiteX1553" fmla="*/ 6191534 w 7402822"/>
              <a:gd name="connsiteY1553" fmla="*/ 3407697 h 4749526"/>
              <a:gd name="connsiteX1554" fmla="*/ 6188499 w 7402822"/>
              <a:gd name="connsiteY1554" fmla="*/ 3401625 h 4749526"/>
              <a:gd name="connsiteX1555" fmla="*/ 6185463 w 7402822"/>
              <a:gd name="connsiteY1555" fmla="*/ 3398590 h 4749526"/>
              <a:gd name="connsiteX1556" fmla="*/ 6176355 w 7402822"/>
              <a:gd name="connsiteY1556" fmla="*/ 3395553 h 4749526"/>
              <a:gd name="connsiteX1557" fmla="*/ 6167247 w 7402822"/>
              <a:gd name="connsiteY1557" fmla="*/ 3392518 h 4749526"/>
              <a:gd name="connsiteX1558" fmla="*/ 6179391 w 7402822"/>
              <a:gd name="connsiteY1558" fmla="*/ 3383411 h 4749526"/>
              <a:gd name="connsiteX1559" fmla="*/ 6188499 w 7402822"/>
              <a:gd name="connsiteY1559" fmla="*/ 3374303 h 4749526"/>
              <a:gd name="connsiteX1560" fmla="*/ 6097424 w 7402822"/>
              <a:gd name="connsiteY1560" fmla="*/ 3371267 h 4749526"/>
              <a:gd name="connsiteX1561" fmla="*/ 6103496 w 7402822"/>
              <a:gd name="connsiteY1561" fmla="*/ 3380374 h 4749526"/>
              <a:gd name="connsiteX1562" fmla="*/ 6100461 w 7402822"/>
              <a:gd name="connsiteY1562" fmla="*/ 3383411 h 4749526"/>
              <a:gd name="connsiteX1563" fmla="*/ 6094389 w 7402822"/>
              <a:gd name="connsiteY1563" fmla="*/ 3380374 h 4749526"/>
              <a:gd name="connsiteX1564" fmla="*/ 6091352 w 7402822"/>
              <a:gd name="connsiteY1564" fmla="*/ 3374303 h 4749526"/>
              <a:gd name="connsiteX1565" fmla="*/ 6164212 w 7402822"/>
              <a:gd name="connsiteY1565" fmla="*/ 3365195 h 4749526"/>
              <a:gd name="connsiteX1566" fmla="*/ 6176355 w 7402822"/>
              <a:gd name="connsiteY1566" fmla="*/ 3368232 h 4749526"/>
              <a:gd name="connsiteX1567" fmla="*/ 6173319 w 7402822"/>
              <a:gd name="connsiteY1567" fmla="*/ 3374303 h 4749526"/>
              <a:gd name="connsiteX1568" fmla="*/ 6164212 w 7402822"/>
              <a:gd name="connsiteY1568" fmla="*/ 3368232 h 4749526"/>
              <a:gd name="connsiteX1569" fmla="*/ 6167247 w 7402822"/>
              <a:gd name="connsiteY1569" fmla="*/ 3371267 h 4749526"/>
              <a:gd name="connsiteX1570" fmla="*/ 6161176 w 7402822"/>
              <a:gd name="connsiteY1570" fmla="*/ 3374303 h 4749526"/>
              <a:gd name="connsiteX1571" fmla="*/ 6152069 w 7402822"/>
              <a:gd name="connsiteY1571" fmla="*/ 3368232 h 4749526"/>
              <a:gd name="connsiteX1572" fmla="*/ 6155105 w 7402822"/>
              <a:gd name="connsiteY1572" fmla="*/ 3368232 h 4749526"/>
              <a:gd name="connsiteX1573" fmla="*/ 6158141 w 7402822"/>
              <a:gd name="connsiteY1573" fmla="*/ 3368232 h 4749526"/>
              <a:gd name="connsiteX1574" fmla="*/ 5623838 w 7402822"/>
              <a:gd name="connsiteY1574" fmla="*/ 3365195 h 4749526"/>
              <a:gd name="connsiteX1575" fmla="*/ 5632945 w 7402822"/>
              <a:gd name="connsiteY1575" fmla="*/ 3371266 h 4749526"/>
              <a:gd name="connsiteX1576" fmla="*/ 5623838 w 7402822"/>
              <a:gd name="connsiteY1576" fmla="*/ 3371266 h 4749526"/>
              <a:gd name="connsiteX1577" fmla="*/ 5620801 w 7402822"/>
              <a:gd name="connsiteY1577" fmla="*/ 3368231 h 4749526"/>
              <a:gd name="connsiteX1578" fmla="*/ 1578619 w 7402822"/>
              <a:gd name="connsiteY1578" fmla="*/ 3362161 h 4749526"/>
              <a:gd name="connsiteX1579" fmla="*/ 1587727 w 7402822"/>
              <a:gd name="connsiteY1579" fmla="*/ 3374304 h 4749526"/>
              <a:gd name="connsiteX1580" fmla="*/ 1590763 w 7402822"/>
              <a:gd name="connsiteY1580" fmla="*/ 3383412 h 4749526"/>
              <a:gd name="connsiteX1581" fmla="*/ 1578619 w 7402822"/>
              <a:gd name="connsiteY1581" fmla="*/ 3386448 h 4749526"/>
              <a:gd name="connsiteX1582" fmla="*/ 1581655 w 7402822"/>
              <a:gd name="connsiteY1582" fmla="*/ 3377340 h 4749526"/>
              <a:gd name="connsiteX1583" fmla="*/ 2428645 w 7402822"/>
              <a:gd name="connsiteY1583" fmla="*/ 3359124 h 4749526"/>
              <a:gd name="connsiteX1584" fmla="*/ 2437752 w 7402822"/>
              <a:gd name="connsiteY1584" fmla="*/ 3359124 h 4749526"/>
              <a:gd name="connsiteX1585" fmla="*/ 2440789 w 7402822"/>
              <a:gd name="connsiteY1585" fmla="*/ 3359124 h 4749526"/>
              <a:gd name="connsiteX1586" fmla="*/ 2437752 w 7402822"/>
              <a:gd name="connsiteY1586" fmla="*/ 3365196 h 4749526"/>
              <a:gd name="connsiteX1587" fmla="*/ 2428645 w 7402822"/>
              <a:gd name="connsiteY1587" fmla="*/ 3365196 h 4749526"/>
              <a:gd name="connsiteX1588" fmla="*/ 2425610 w 7402822"/>
              <a:gd name="connsiteY1588" fmla="*/ 3362160 h 4749526"/>
              <a:gd name="connsiteX1589" fmla="*/ 5614730 w 7402822"/>
              <a:gd name="connsiteY1589" fmla="*/ 3343944 h 4749526"/>
              <a:gd name="connsiteX1590" fmla="*/ 5626873 w 7402822"/>
              <a:gd name="connsiteY1590" fmla="*/ 3343944 h 4749526"/>
              <a:gd name="connsiteX1591" fmla="*/ 5620801 w 7402822"/>
              <a:gd name="connsiteY1591" fmla="*/ 3346980 h 4749526"/>
              <a:gd name="connsiteX1592" fmla="*/ 5578301 w 7402822"/>
              <a:gd name="connsiteY1592" fmla="*/ 3340908 h 4749526"/>
              <a:gd name="connsiteX1593" fmla="*/ 5590443 w 7402822"/>
              <a:gd name="connsiteY1593" fmla="*/ 3346980 h 4749526"/>
              <a:gd name="connsiteX1594" fmla="*/ 5581336 w 7402822"/>
              <a:gd name="connsiteY1594" fmla="*/ 3346980 h 4749526"/>
              <a:gd name="connsiteX1595" fmla="*/ 5587408 w 7402822"/>
              <a:gd name="connsiteY1595" fmla="*/ 3337872 h 4749526"/>
              <a:gd name="connsiteX1596" fmla="*/ 5596515 w 7402822"/>
              <a:gd name="connsiteY1596" fmla="*/ 3343944 h 4749526"/>
              <a:gd name="connsiteX1597" fmla="*/ 5590443 w 7402822"/>
              <a:gd name="connsiteY1597" fmla="*/ 3343944 h 4749526"/>
              <a:gd name="connsiteX1598" fmla="*/ 5472047 w 7402822"/>
              <a:gd name="connsiteY1598" fmla="*/ 3334837 h 4749526"/>
              <a:gd name="connsiteX1599" fmla="*/ 5478119 w 7402822"/>
              <a:gd name="connsiteY1599" fmla="*/ 3334837 h 4749526"/>
              <a:gd name="connsiteX1600" fmla="*/ 5487226 w 7402822"/>
              <a:gd name="connsiteY1600" fmla="*/ 3346980 h 4749526"/>
              <a:gd name="connsiteX1601" fmla="*/ 5481154 w 7402822"/>
              <a:gd name="connsiteY1601" fmla="*/ 3353052 h 4749526"/>
              <a:gd name="connsiteX1602" fmla="*/ 5478119 w 7402822"/>
              <a:gd name="connsiteY1602" fmla="*/ 3346980 h 4749526"/>
              <a:gd name="connsiteX1603" fmla="*/ 5472047 w 7402822"/>
              <a:gd name="connsiteY1603" fmla="*/ 3337872 h 4749526"/>
              <a:gd name="connsiteX1604" fmla="*/ 6045816 w 7402822"/>
              <a:gd name="connsiteY1604" fmla="*/ 3328766 h 4749526"/>
              <a:gd name="connsiteX1605" fmla="*/ 6048851 w 7402822"/>
              <a:gd name="connsiteY1605" fmla="*/ 3334838 h 4749526"/>
              <a:gd name="connsiteX1606" fmla="*/ 6048851 w 7402822"/>
              <a:gd name="connsiteY1606" fmla="*/ 3337873 h 4749526"/>
              <a:gd name="connsiteX1607" fmla="*/ 6039744 w 7402822"/>
              <a:gd name="connsiteY1607" fmla="*/ 3346981 h 4749526"/>
              <a:gd name="connsiteX1608" fmla="*/ 6030637 w 7402822"/>
              <a:gd name="connsiteY1608" fmla="*/ 3356088 h 4749526"/>
              <a:gd name="connsiteX1609" fmla="*/ 6027601 w 7402822"/>
              <a:gd name="connsiteY1609" fmla="*/ 3356088 h 4749526"/>
              <a:gd name="connsiteX1610" fmla="*/ 6021529 w 7402822"/>
              <a:gd name="connsiteY1610" fmla="*/ 3359124 h 4749526"/>
              <a:gd name="connsiteX1611" fmla="*/ 6009386 w 7402822"/>
              <a:gd name="connsiteY1611" fmla="*/ 3359124 h 4749526"/>
              <a:gd name="connsiteX1612" fmla="*/ 6006351 w 7402822"/>
              <a:gd name="connsiteY1612" fmla="*/ 3356088 h 4749526"/>
              <a:gd name="connsiteX1613" fmla="*/ 6000279 w 7402822"/>
              <a:gd name="connsiteY1613" fmla="*/ 3356088 h 4749526"/>
              <a:gd name="connsiteX1614" fmla="*/ 5988135 w 7402822"/>
              <a:gd name="connsiteY1614" fmla="*/ 3356088 h 4749526"/>
              <a:gd name="connsiteX1615" fmla="*/ 5979027 w 7402822"/>
              <a:gd name="connsiteY1615" fmla="*/ 3356088 h 4749526"/>
              <a:gd name="connsiteX1616" fmla="*/ 5975992 w 7402822"/>
              <a:gd name="connsiteY1616" fmla="*/ 3353053 h 4749526"/>
              <a:gd name="connsiteX1617" fmla="*/ 5969921 w 7402822"/>
              <a:gd name="connsiteY1617" fmla="*/ 3356088 h 4749526"/>
              <a:gd name="connsiteX1618" fmla="*/ 5963849 w 7402822"/>
              <a:gd name="connsiteY1618" fmla="*/ 3356088 h 4749526"/>
              <a:gd name="connsiteX1619" fmla="*/ 5957777 w 7402822"/>
              <a:gd name="connsiteY1619" fmla="*/ 3353053 h 4749526"/>
              <a:gd name="connsiteX1620" fmla="*/ 5948669 w 7402822"/>
              <a:gd name="connsiteY1620" fmla="*/ 3356088 h 4749526"/>
              <a:gd name="connsiteX1621" fmla="*/ 5942597 w 7402822"/>
              <a:gd name="connsiteY1621" fmla="*/ 3365195 h 4749526"/>
              <a:gd name="connsiteX1622" fmla="*/ 5942597 w 7402822"/>
              <a:gd name="connsiteY1622" fmla="*/ 3377339 h 4749526"/>
              <a:gd name="connsiteX1623" fmla="*/ 5948669 w 7402822"/>
              <a:gd name="connsiteY1623" fmla="*/ 3383411 h 4749526"/>
              <a:gd name="connsiteX1624" fmla="*/ 5954741 w 7402822"/>
              <a:gd name="connsiteY1624" fmla="*/ 3389483 h 4749526"/>
              <a:gd name="connsiteX1625" fmla="*/ 5957777 w 7402822"/>
              <a:gd name="connsiteY1625" fmla="*/ 3392518 h 4749526"/>
              <a:gd name="connsiteX1626" fmla="*/ 5966884 w 7402822"/>
              <a:gd name="connsiteY1626" fmla="*/ 3389483 h 4749526"/>
              <a:gd name="connsiteX1627" fmla="*/ 5972956 w 7402822"/>
              <a:gd name="connsiteY1627" fmla="*/ 3383411 h 4749526"/>
              <a:gd name="connsiteX1628" fmla="*/ 5975992 w 7402822"/>
              <a:gd name="connsiteY1628" fmla="*/ 3380374 h 4749526"/>
              <a:gd name="connsiteX1629" fmla="*/ 5994207 w 7402822"/>
              <a:gd name="connsiteY1629" fmla="*/ 3380374 h 4749526"/>
              <a:gd name="connsiteX1630" fmla="*/ 6000279 w 7402822"/>
              <a:gd name="connsiteY1630" fmla="*/ 3377339 h 4749526"/>
              <a:gd name="connsiteX1631" fmla="*/ 6003314 w 7402822"/>
              <a:gd name="connsiteY1631" fmla="*/ 3377339 h 4749526"/>
              <a:gd name="connsiteX1632" fmla="*/ 6006351 w 7402822"/>
              <a:gd name="connsiteY1632" fmla="*/ 3377339 h 4749526"/>
              <a:gd name="connsiteX1633" fmla="*/ 6012421 w 7402822"/>
              <a:gd name="connsiteY1633" fmla="*/ 3383411 h 4749526"/>
              <a:gd name="connsiteX1634" fmla="*/ 6009386 w 7402822"/>
              <a:gd name="connsiteY1634" fmla="*/ 3386446 h 4749526"/>
              <a:gd name="connsiteX1635" fmla="*/ 6006351 w 7402822"/>
              <a:gd name="connsiteY1635" fmla="*/ 3383411 h 4749526"/>
              <a:gd name="connsiteX1636" fmla="*/ 6003314 w 7402822"/>
              <a:gd name="connsiteY1636" fmla="*/ 3383411 h 4749526"/>
              <a:gd name="connsiteX1637" fmla="*/ 6000279 w 7402822"/>
              <a:gd name="connsiteY1637" fmla="*/ 3383411 h 4749526"/>
              <a:gd name="connsiteX1638" fmla="*/ 5979027 w 7402822"/>
              <a:gd name="connsiteY1638" fmla="*/ 3398590 h 4749526"/>
              <a:gd name="connsiteX1639" fmla="*/ 5972956 w 7402822"/>
              <a:gd name="connsiteY1639" fmla="*/ 3404662 h 4749526"/>
              <a:gd name="connsiteX1640" fmla="*/ 5982063 w 7402822"/>
              <a:gd name="connsiteY1640" fmla="*/ 3416804 h 4749526"/>
              <a:gd name="connsiteX1641" fmla="*/ 5988135 w 7402822"/>
              <a:gd name="connsiteY1641" fmla="*/ 3422876 h 4749526"/>
              <a:gd name="connsiteX1642" fmla="*/ 5991171 w 7402822"/>
              <a:gd name="connsiteY1642" fmla="*/ 3431983 h 4749526"/>
              <a:gd name="connsiteX1643" fmla="*/ 5988135 w 7402822"/>
              <a:gd name="connsiteY1643" fmla="*/ 3435020 h 4749526"/>
              <a:gd name="connsiteX1644" fmla="*/ 5988135 w 7402822"/>
              <a:gd name="connsiteY1644" fmla="*/ 3438055 h 4749526"/>
              <a:gd name="connsiteX1645" fmla="*/ 5991171 w 7402822"/>
              <a:gd name="connsiteY1645" fmla="*/ 3441091 h 4749526"/>
              <a:gd name="connsiteX1646" fmla="*/ 5997242 w 7402822"/>
              <a:gd name="connsiteY1646" fmla="*/ 3450198 h 4749526"/>
              <a:gd name="connsiteX1647" fmla="*/ 6000279 w 7402822"/>
              <a:gd name="connsiteY1647" fmla="*/ 3447163 h 4749526"/>
              <a:gd name="connsiteX1648" fmla="*/ 6000279 w 7402822"/>
              <a:gd name="connsiteY1648" fmla="*/ 3456270 h 4749526"/>
              <a:gd name="connsiteX1649" fmla="*/ 5997242 w 7402822"/>
              <a:gd name="connsiteY1649" fmla="*/ 3456270 h 4749526"/>
              <a:gd name="connsiteX1650" fmla="*/ 5994207 w 7402822"/>
              <a:gd name="connsiteY1650" fmla="*/ 3456270 h 4749526"/>
              <a:gd name="connsiteX1651" fmla="*/ 5985099 w 7402822"/>
              <a:gd name="connsiteY1651" fmla="*/ 3459306 h 4749526"/>
              <a:gd name="connsiteX1652" fmla="*/ 5985099 w 7402822"/>
              <a:gd name="connsiteY1652" fmla="*/ 3462342 h 4749526"/>
              <a:gd name="connsiteX1653" fmla="*/ 5975992 w 7402822"/>
              <a:gd name="connsiteY1653" fmla="*/ 3462342 h 4749526"/>
              <a:gd name="connsiteX1654" fmla="*/ 5972956 w 7402822"/>
              <a:gd name="connsiteY1654" fmla="*/ 3456270 h 4749526"/>
              <a:gd name="connsiteX1655" fmla="*/ 5972956 w 7402822"/>
              <a:gd name="connsiteY1655" fmla="*/ 3453234 h 4749526"/>
              <a:gd name="connsiteX1656" fmla="*/ 5972956 w 7402822"/>
              <a:gd name="connsiteY1656" fmla="*/ 3447163 h 4749526"/>
              <a:gd name="connsiteX1657" fmla="*/ 5963849 w 7402822"/>
              <a:gd name="connsiteY1657" fmla="*/ 3441091 h 4749526"/>
              <a:gd name="connsiteX1658" fmla="*/ 5960813 w 7402822"/>
              <a:gd name="connsiteY1658" fmla="*/ 3435020 h 4749526"/>
              <a:gd name="connsiteX1659" fmla="*/ 5963849 w 7402822"/>
              <a:gd name="connsiteY1659" fmla="*/ 3431983 h 4749526"/>
              <a:gd name="connsiteX1660" fmla="*/ 5963849 w 7402822"/>
              <a:gd name="connsiteY1660" fmla="*/ 3425912 h 4749526"/>
              <a:gd name="connsiteX1661" fmla="*/ 5963849 w 7402822"/>
              <a:gd name="connsiteY1661" fmla="*/ 3419841 h 4749526"/>
              <a:gd name="connsiteX1662" fmla="*/ 5954741 w 7402822"/>
              <a:gd name="connsiteY1662" fmla="*/ 3419841 h 4749526"/>
              <a:gd name="connsiteX1663" fmla="*/ 5945634 w 7402822"/>
              <a:gd name="connsiteY1663" fmla="*/ 3425912 h 4749526"/>
              <a:gd name="connsiteX1664" fmla="*/ 5948669 w 7402822"/>
              <a:gd name="connsiteY1664" fmla="*/ 3431983 h 4749526"/>
              <a:gd name="connsiteX1665" fmla="*/ 5948669 w 7402822"/>
              <a:gd name="connsiteY1665" fmla="*/ 3438055 h 4749526"/>
              <a:gd name="connsiteX1666" fmla="*/ 5948669 w 7402822"/>
              <a:gd name="connsiteY1666" fmla="*/ 3450198 h 4749526"/>
              <a:gd name="connsiteX1667" fmla="*/ 5948669 w 7402822"/>
              <a:gd name="connsiteY1667" fmla="*/ 3477521 h 4749526"/>
              <a:gd name="connsiteX1668" fmla="*/ 5936527 w 7402822"/>
              <a:gd name="connsiteY1668" fmla="*/ 3480556 h 4749526"/>
              <a:gd name="connsiteX1669" fmla="*/ 5927419 w 7402822"/>
              <a:gd name="connsiteY1669" fmla="*/ 3477521 h 4749526"/>
              <a:gd name="connsiteX1670" fmla="*/ 5930455 w 7402822"/>
              <a:gd name="connsiteY1670" fmla="*/ 3468413 h 4749526"/>
              <a:gd name="connsiteX1671" fmla="*/ 5933491 w 7402822"/>
              <a:gd name="connsiteY1671" fmla="*/ 3456270 h 4749526"/>
              <a:gd name="connsiteX1672" fmla="*/ 5933491 w 7402822"/>
              <a:gd name="connsiteY1672" fmla="*/ 3450198 h 4749526"/>
              <a:gd name="connsiteX1673" fmla="*/ 5930455 w 7402822"/>
              <a:gd name="connsiteY1673" fmla="*/ 3438055 h 4749526"/>
              <a:gd name="connsiteX1674" fmla="*/ 5927419 w 7402822"/>
              <a:gd name="connsiteY1674" fmla="*/ 3435020 h 4749526"/>
              <a:gd name="connsiteX1675" fmla="*/ 5921348 w 7402822"/>
              <a:gd name="connsiteY1675" fmla="*/ 3438055 h 4749526"/>
              <a:gd name="connsiteX1676" fmla="*/ 5918312 w 7402822"/>
              <a:gd name="connsiteY1676" fmla="*/ 3435020 h 4749526"/>
              <a:gd name="connsiteX1677" fmla="*/ 5918312 w 7402822"/>
              <a:gd name="connsiteY1677" fmla="*/ 3428948 h 4749526"/>
              <a:gd name="connsiteX1678" fmla="*/ 5921348 w 7402822"/>
              <a:gd name="connsiteY1678" fmla="*/ 3416804 h 4749526"/>
              <a:gd name="connsiteX1679" fmla="*/ 5924383 w 7402822"/>
              <a:gd name="connsiteY1679" fmla="*/ 3413769 h 4749526"/>
              <a:gd name="connsiteX1680" fmla="*/ 5927419 w 7402822"/>
              <a:gd name="connsiteY1680" fmla="*/ 3407697 h 4749526"/>
              <a:gd name="connsiteX1681" fmla="*/ 5927419 w 7402822"/>
              <a:gd name="connsiteY1681" fmla="*/ 3401625 h 4749526"/>
              <a:gd name="connsiteX1682" fmla="*/ 5927419 w 7402822"/>
              <a:gd name="connsiteY1682" fmla="*/ 3392518 h 4749526"/>
              <a:gd name="connsiteX1683" fmla="*/ 5933491 w 7402822"/>
              <a:gd name="connsiteY1683" fmla="*/ 3383411 h 4749526"/>
              <a:gd name="connsiteX1684" fmla="*/ 5936527 w 7402822"/>
              <a:gd name="connsiteY1684" fmla="*/ 3377339 h 4749526"/>
              <a:gd name="connsiteX1685" fmla="*/ 5939562 w 7402822"/>
              <a:gd name="connsiteY1685" fmla="*/ 3359124 h 4749526"/>
              <a:gd name="connsiteX1686" fmla="*/ 5945634 w 7402822"/>
              <a:gd name="connsiteY1686" fmla="*/ 3346981 h 4749526"/>
              <a:gd name="connsiteX1687" fmla="*/ 5948669 w 7402822"/>
              <a:gd name="connsiteY1687" fmla="*/ 3346981 h 4749526"/>
              <a:gd name="connsiteX1688" fmla="*/ 5954741 w 7402822"/>
              <a:gd name="connsiteY1688" fmla="*/ 3350017 h 4749526"/>
              <a:gd name="connsiteX1689" fmla="*/ 5957777 w 7402822"/>
              <a:gd name="connsiteY1689" fmla="*/ 3343945 h 4749526"/>
              <a:gd name="connsiteX1690" fmla="*/ 5957777 w 7402822"/>
              <a:gd name="connsiteY1690" fmla="*/ 3340909 h 4749526"/>
              <a:gd name="connsiteX1691" fmla="*/ 5963849 w 7402822"/>
              <a:gd name="connsiteY1691" fmla="*/ 3337873 h 4749526"/>
              <a:gd name="connsiteX1692" fmla="*/ 5988135 w 7402822"/>
              <a:gd name="connsiteY1692" fmla="*/ 3343945 h 4749526"/>
              <a:gd name="connsiteX1693" fmla="*/ 5994207 w 7402822"/>
              <a:gd name="connsiteY1693" fmla="*/ 3343945 h 4749526"/>
              <a:gd name="connsiteX1694" fmla="*/ 6009386 w 7402822"/>
              <a:gd name="connsiteY1694" fmla="*/ 3346981 h 4749526"/>
              <a:gd name="connsiteX1695" fmla="*/ 6018493 w 7402822"/>
              <a:gd name="connsiteY1695" fmla="*/ 3346981 h 4749526"/>
              <a:gd name="connsiteX1696" fmla="*/ 6030637 w 7402822"/>
              <a:gd name="connsiteY1696" fmla="*/ 3343945 h 4749526"/>
              <a:gd name="connsiteX1697" fmla="*/ 6030637 w 7402822"/>
              <a:gd name="connsiteY1697" fmla="*/ 3340909 h 4749526"/>
              <a:gd name="connsiteX1698" fmla="*/ 6036707 w 7402822"/>
              <a:gd name="connsiteY1698" fmla="*/ 3337873 h 4749526"/>
              <a:gd name="connsiteX1699" fmla="*/ 6042779 w 7402822"/>
              <a:gd name="connsiteY1699" fmla="*/ 3331802 h 4749526"/>
              <a:gd name="connsiteX1700" fmla="*/ 5569193 w 7402822"/>
              <a:gd name="connsiteY1700" fmla="*/ 3328765 h 4749526"/>
              <a:gd name="connsiteX1701" fmla="*/ 5575264 w 7402822"/>
              <a:gd name="connsiteY1701" fmla="*/ 3328765 h 4749526"/>
              <a:gd name="connsiteX1702" fmla="*/ 5581336 w 7402822"/>
              <a:gd name="connsiteY1702" fmla="*/ 3331801 h 4749526"/>
              <a:gd name="connsiteX1703" fmla="*/ 5581336 w 7402822"/>
              <a:gd name="connsiteY1703" fmla="*/ 3334837 h 4749526"/>
              <a:gd name="connsiteX1704" fmla="*/ 5575264 w 7402822"/>
              <a:gd name="connsiteY1704" fmla="*/ 3334837 h 4749526"/>
              <a:gd name="connsiteX1705" fmla="*/ 5560085 w 7402822"/>
              <a:gd name="connsiteY1705" fmla="*/ 3322693 h 4749526"/>
              <a:gd name="connsiteX1706" fmla="*/ 5569193 w 7402822"/>
              <a:gd name="connsiteY1706" fmla="*/ 3322693 h 4749526"/>
              <a:gd name="connsiteX1707" fmla="*/ 5563122 w 7402822"/>
              <a:gd name="connsiteY1707" fmla="*/ 3325729 h 4749526"/>
              <a:gd name="connsiteX1708" fmla="*/ 6106531 w 7402822"/>
              <a:gd name="connsiteY1708" fmla="*/ 3319659 h 4749526"/>
              <a:gd name="connsiteX1709" fmla="*/ 6106531 w 7402822"/>
              <a:gd name="connsiteY1709" fmla="*/ 3328766 h 4749526"/>
              <a:gd name="connsiteX1710" fmla="*/ 6106531 w 7402822"/>
              <a:gd name="connsiteY1710" fmla="*/ 3340909 h 4749526"/>
              <a:gd name="connsiteX1711" fmla="*/ 6100461 w 7402822"/>
              <a:gd name="connsiteY1711" fmla="*/ 3346981 h 4749526"/>
              <a:gd name="connsiteX1712" fmla="*/ 6106531 w 7402822"/>
              <a:gd name="connsiteY1712" fmla="*/ 3346981 h 4749526"/>
              <a:gd name="connsiteX1713" fmla="*/ 6109567 w 7402822"/>
              <a:gd name="connsiteY1713" fmla="*/ 3337873 h 4749526"/>
              <a:gd name="connsiteX1714" fmla="*/ 6115639 w 7402822"/>
              <a:gd name="connsiteY1714" fmla="*/ 3334838 h 4749526"/>
              <a:gd name="connsiteX1715" fmla="*/ 6121711 w 7402822"/>
              <a:gd name="connsiteY1715" fmla="*/ 3331802 h 4749526"/>
              <a:gd name="connsiteX1716" fmla="*/ 6121711 w 7402822"/>
              <a:gd name="connsiteY1716" fmla="*/ 3334838 h 4749526"/>
              <a:gd name="connsiteX1717" fmla="*/ 6121711 w 7402822"/>
              <a:gd name="connsiteY1717" fmla="*/ 3337873 h 4749526"/>
              <a:gd name="connsiteX1718" fmla="*/ 6121711 w 7402822"/>
              <a:gd name="connsiteY1718" fmla="*/ 3343945 h 4749526"/>
              <a:gd name="connsiteX1719" fmla="*/ 6115639 w 7402822"/>
              <a:gd name="connsiteY1719" fmla="*/ 3346981 h 4749526"/>
              <a:gd name="connsiteX1720" fmla="*/ 6112603 w 7402822"/>
              <a:gd name="connsiteY1720" fmla="*/ 3350017 h 4749526"/>
              <a:gd name="connsiteX1721" fmla="*/ 6115639 w 7402822"/>
              <a:gd name="connsiteY1721" fmla="*/ 3353053 h 4749526"/>
              <a:gd name="connsiteX1722" fmla="*/ 6124747 w 7402822"/>
              <a:gd name="connsiteY1722" fmla="*/ 3359124 h 4749526"/>
              <a:gd name="connsiteX1723" fmla="*/ 6118675 w 7402822"/>
              <a:gd name="connsiteY1723" fmla="*/ 3359124 h 4749526"/>
              <a:gd name="connsiteX1724" fmla="*/ 6115639 w 7402822"/>
              <a:gd name="connsiteY1724" fmla="*/ 3356088 h 4749526"/>
              <a:gd name="connsiteX1725" fmla="*/ 6106531 w 7402822"/>
              <a:gd name="connsiteY1725" fmla="*/ 3356088 h 4749526"/>
              <a:gd name="connsiteX1726" fmla="*/ 6112603 w 7402822"/>
              <a:gd name="connsiteY1726" fmla="*/ 3380374 h 4749526"/>
              <a:gd name="connsiteX1727" fmla="*/ 6100461 w 7402822"/>
              <a:gd name="connsiteY1727" fmla="*/ 3368232 h 4749526"/>
              <a:gd name="connsiteX1728" fmla="*/ 6100461 w 7402822"/>
              <a:gd name="connsiteY1728" fmla="*/ 3365195 h 4749526"/>
              <a:gd name="connsiteX1729" fmla="*/ 6097424 w 7402822"/>
              <a:gd name="connsiteY1729" fmla="*/ 3353053 h 4749526"/>
              <a:gd name="connsiteX1730" fmla="*/ 6097424 w 7402822"/>
              <a:gd name="connsiteY1730" fmla="*/ 3340909 h 4749526"/>
              <a:gd name="connsiteX1731" fmla="*/ 6100461 w 7402822"/>
              <a:gd name="connsiteY1731" fmla="*/ 3328766 h 4749526"/>
              <a:gd name="connsiteX1732" fmla="*/ 5833310 w 7402822"/>
              <a:gd name="connsiteY1732" fmla="*/ 3319659 h 4749526"/>
              <a:gd name="connsiteX1733" fmla="*/ 5833309 w 7402822"/>
              <a:gd name="connsiteY1733" fmla="*/ 3319660 h 4749526"/>
              <a:gd name="connsiteX1734" fmla="*/ 5836344 w 7402822"/>
              <a:gd name="connsiteY1734" fmla="*/ 3322693 h 4749526"/>
              <a:gd name="connsiteX1735" fmla="*/ 6118675 w 7402822"/>
              <a:gd name="connsiteY1735" fmla="*/ 3310551 h 4749526"/>
              <a:gd name="connsiteX1736" fmla="*/ 6121711 w 7402822"/>
              <a:gd name="connsiteY1736" fmla="*/ 3313587 h 4749526"/>
              <a:gd name="connsiteX1737" fmla="*/ 6118675 w 7402822"/>
              <a:gd name="connsiteY1737" fmla="*/ 3319659 h 4749526"/>
              <a:gd name="connsiteX1738" fmla="*/ 6112603 w 7402822"/>
              <a:gd name="connsiteY1738" fmla="*/ 3322694 h 4749526"/>
              <a:gd name="connsiteX1739" fmla="*/ 6112603 w 7402822"/>
              <a:gd name="connsiteY1739" fmla="*/ 3313587 h 4749526"/>
              <a:gd name="connsiteX1740" fmla="*/ 5441689 w 7402822"/>
              <a:gd name="connsiteY1740" fmla="*/ 3304479 h 4749526"/>
              <a:gd name="connsiteX1741" fmla="*/ 5444725 w 7402822"/>
              <a:gd name="connsiteY1741" fmla="*/ 3307514 h 4749526"/>
              <a:gd name="connsiteX1742" fmla="*/ 5447761 w 7402822"/>
              <a:gd name="connsiteY1742" fmla="*/ 3307514 h 4749526"/>
              <a:gd name="connsiteX1743" fmla="*/ 5453832 w 7402822"/>
              <a:gd name="connsiteY1743" fmla="*/ 3313586 h 4749526"/>
              <a:gd name="connsiteX1744" fmla="*/ 5456868 w 7402822"/>
              <a:gd name="connsiteY1744" fmla="*/ 3316622 h 4749526"/>
              <a:gd name="connsiteX1745" fmla="*/ 5450796 w 7402822"/>
              <a:gd name="connsiteY1745" fmla="*/ 3313586 h 4749526"/>
              <a:gd name="connsiteX1746" fmla="*/ 5441689 w 7402822"/>
              <a:gd name="connsiteY1746" fmla="*/ 3310550 h 4749526"/>
              <a:gd name="connsiteX1747" fmla="*/ 5441689 w 7402822"/>
              <a:gd name="connsiteY1747" fmla="*/ 3307514 h 4749526"/>
              <a:gd name="connsiteX1748" fmla="*/ 3649045 w 7402822"/>
              <a:gd name="connsiteY1748" fmla="*/ 3289303 h 4749526"/>
              <a:gd name="connsiteX1749" fmla="*/ 3649045 w 7402822"/>
              <a:gd name="connsiteY1749" fmla="*/ 3295374 h 4749526"/>
              <a:gd name="connsiteX1750" fmla="*/ 3646009 w 7402822"/>
              <a:gd name="connsiteY1750" fmla="*/ 3298410 h 4749526"/>
              <a:gd name="connsiteX1751" fmla="*/ 3639938 w 7402822"/>
              <a:gd name="connsiteY1751" fmla="*/ 3298410 h 4749526"/>
              <a:gd name="connsiteX1752" fmla="*/ 3642974 w 7402822"/>
              <a:gd name="connsiteY1752" fmla="*/ 3292338 h 4749526"/>
              <a:gd name="connsiteX1753" fmla="*/ 5696698 w 7402822"/>
              <a:gd name="connsiteY1753" fmla="*/ 3280193 h 4749526"/>
              <a:gd name="connsiteX1754" fmla="*/ 5699733 w 7402822"/>
              <a:gd name="connsiteY1754" fmla="*/ 3280193 h 4749526"/>
              <a:gd name="connsiteX1755" fmla="*/ 5702770 w 7402822"/>
              <a:gd name="connsiteY1755" fmla="*/ 3283229 h 4749526"/>
              <a:gd name="connsiteX1756" fmla="*/ 5699733 w 7402822"/>
              <a:gd name="connsiteY1756" fmla="*/ 3289301 h 4749526"/>
              <a:gd name="connsiteX1757" fmla="*/ 5696698 w 7402822"/>
              <a:gd name="connsiteY1757" fmla="*/ 3286264 h 4749526"/>
              <a:gd name="connsiteX1758" fmla="*/ 6082245 w 7402822"/>
              <a:gd name="connsiteY1758" fmla="*/ 3271085 h 4749526"/>
              <a:gd name="connsiteX1759" fmla="*/ 6082245 w 7402822"/>
              <a:gd name="connsiteY1759" fmla="*/ 3274122 h 4749526"/>
              <a:gd name="connsiteX1760" fmla="*/ 6082245 w 7402822"/>
              <a:gd name="connsiteY1760" fmla="*/ 3280193 h 4749526"/>
              <a:gd name="connsiteX1761" fmla="*/ 6079209 w 7402822"/>
              <a:gd name="connsiteY1761" fmla="*/ 3283229 h 4749526"/>
              <a:gd name="connsiteX1762" fmla="*/ 5432582 w 7402822"/>
              <a:gd name="connsiteY1762" fmla="*/ 3249834 h 4749526"/>
              <a:gd name="connsiteX1763" fmla="*/ 5441689 w 7402822"/>
              <a:gd name="connsiteY1763" fmla="*/ 3249834 h 4749526"/>
              <a:gd name="connsiteX1764" fmla="*/ 5444725 w 7402822"/>
              <a:gd name="connsiteY1764" fmla="*/ 3252870 h 4749526"/>
              <a:gd name="connsiteX1765" fmla="*/ 5447761 w 7402822"/>
              <a:gd name="connsiteY1765" fmla="*/ 3255905 h 4749526"/>
              <a:gd name="connsiteX1766" fmla="*/ 5459903 w 7402822"/>
              <a:gd name="connsiteY1766" fmla="*/ 3258942 h 4749526"/>
              <a:gd name="connsiteX1767" fmla="*/ 5462940 w 7402822"/>
              <a:gd name="connsiteY1767" fmla="*/ 3255905 h 4749526"/>
              <a:gd name="connsiteX1768" fmla="*/ 5469012 w 7402822"/>
              <a:gd name="connsiteY1768" fmla="*/ 3255905 h 4749526"/>
              <a:gd name="connsiteX1769" fmla="*/ 5478119 w 7402822"/>
              <a:gd name="connsiteY1769" fmla="*/ 3255905 h 4749526"/>
              <a:gd name="connsiteX1770" fmla="*/ 5481154 w 7402822"/>
              <a:gd name="connsiteY1770" fmla="*/ 3261977 h 4749526"/>
              <a:gd name="connsiteX1771" fmla="*/ 5490261 w 7402822"/>
              <a:gd name="connsiteY1771" fmla="*/ 3271084 h 4749526"/>
              <a:gd name="connsiteX1772" fmla="*/ 5496333 w 7402822"/>
              <a:gd name="connsiteY1772" fmla="*/ 3280192 h 4749526"/>
              <a:gd name="connsiteX1773" fmla="*/ 5508477 w 7402822"/>
              <a:gd name="connsiteY1773" fmla="*/ 3289300 h 4749526"/>
              <a:gd name="connsiteX1774" fmla="*/ 5517584 w 7402822"/>
              <a:gd name="connsiteY1774" fmla="*/ 3295372 h 4749526"/>
              <a:gd name="connsiteX1775" fmla="*/ 5526691 w 7402822"/>
              <a:gd name="connsiteY1775" fmla="*/ 3304479 h 4749526"/>
              <a:gd name="connsiteX1776" fmla="*/ 5535799 w 7402822"/>
              <a:gd name="connsiteY1776" fmla="*/ 3313586 h 4749526"/>
              <a:gd name="connsiteX1777" fmla="*/ 5544906 w 7402822"/>
              <a:gd name="connsiteY1777" fmla="*/ 3322693 h 4749526"/>
              <a:gd name="connsiteX1778" fmla="*/ 5547942 w 7402822"/>
              <a:gd name="connsiteY1778" fmla="*/ 3316622 h 4749526"/>
              <a:gd name="connsiteX1779" fmla="*/ 5550978 w 7402822"/>
              <a:gd name="connsiteY1779" fmla="*/ 3319658 h 4749526"/>
              <a:gd name="connsiteX1780" fmla="*/ 5569193 w 7402822"/>
              <a:gd name="connsiteY1780" fmla="*/ 3334837 h 4749526"/>
              <a:gd name="connsiteX1781" fmla="*/ 5575264 w 7402822"/>
              <a:gd name="connsiteY1781" fmla="*/ 3337872 h 4749526"/>
              <a:gd name="connsiteX1782" fmla="*/ 5575264 w 7402822"/>
              <a:gd name="connsiteY1782" fmla="*/ 3343944 h 4749526"/>
              <a:gd name="connsiteX1783" fmla="*/ 5584371 w 7402822"/>
              <a:gd name="connsiteY1783" fmla="*/ 3350016 h 4749526"/>
              <a:gd name="connsiteX1784" fmla="*/ 5602587 w 7402822"/>
              <a:gd name="connsiteY1784" fmla="*/ 3356087 h 4749526"/>
              <a:gd name="connsiteX1785" fmla="*/ 5608659 w 7402822"/>
              <a:gd name="connsiteY1785" fmla="*/ 3365195 h 4749526"/>
              <a:gd name="connsiteX1786" fmla="*/ 5605622 w 7402822"/>
              <a:gd name="connsiteY1786" fmla="*/ 3365195 h 4749526"/>
              <a:gd name="connsiteX1787" fmla="*/ 5602587 w 7402822"/>
              <a:gd name="connsiteY1787" fmla="*/ 3368231 h 4749526"/>
              <a:gd name="connsiteX1788" fmla="*/ 5599551 w 7402822"/>
              <a:gd name="connsiteY1788" fmla="*/ 3377338 h 4749526"/>
              <a:gd name="connsiteX1789" fmla="*/ 5605622 w 7402822"/>
              <a:gd name="connsiteY1789" fmla="*/ 3383410 h 4749526"/>
              <a:gd name="connsiteX1790" fmla="*/ 5614730 w 7402822"/>
              <a:gd name="connsiteY1790" fmla="*/ 3386445 h 4749526"/>
              <a:gd name="connsiteX1791" fmla="*/ 5620801 w 7402822"/>
              <a:gd name="connsiteY1791" fmla="*/ 3389482 h 4749526"/>
              <a:gd name="connsiteX1792" fmla="*/ 5620801 w 7402822"/>
              <a:gd name="connsiteY1792" fmla="*/ 3392517 h 4749526"/>
              <a:gd name="connsiteX1793" fmla="*/ 5623838 w 7402822"/>
              <a:gd name="connsiteY1793" fmla="*/ 3404661 h 4749526"/>
              <a:gd name="connsiteX1794" fmla="*/ 5629909 w 7402822"/>
              <a:gd name="connsiteY1794" fmla="*/ 3410731 h 4749526"/>
              <a:gd name="connsiteX1795" fmla="*/ 5639017 w 7402822"/>
              <a:gd name="connsiteY1795" fmla="*/ 3413768 h 4749526"/>
              <a:gd name="connsiteX1796" fmla="*/ 5645088 w 7402822"/>
              <a:gd name="connsiteY1796" fmla="*/ 3416803 h 4749526"/>
              <a:gd name="connsiteX1797" fmla="*/ 5648124 w 7402822"/>
              <a:gd name="connsiteY1797" fmla="*/ 3422875 h 4749526"/>
              <a:gd name="connsiteX1798" fmla="*/ 5648124 w 7402822"/>
              <a:gd name="connsiteY1798" fmla="*/ 3425911 h 4749526"/>
              <a:gd name="connsiteX1799" fmla="*/ 5651160 w 7402822"/>
              <a:gd name="connsiteY1799" fmla="*/ 3435019 h 4749526"/>
              <a:gd name="connsiteX1800" fmla="*/ 5648124 w 7402822"/>
              <a:gd name="connsiteY1800" fmla="*/ 3441090 h 4749526"/>
              <a:gd name="connsiteX1801" fmla="*/ 5648124 w 7402822"/>
              <a:gd name="connsiteY1801" fmla="*/ 3450198 h 4749526"/>
              <a:gd name="connsiteX1802" fmla="*/ 5651160 w 7402822"/>
              <a:gd name="connsiteY1802" fmla="*/ 3456269 h 4749526"/>
              <a:gd name="connsiteX1803" fmla="*/ 5651160 w 7402822"/>
              <a:gd name="connsiteY1803" fmla="*/ 3462341 h 4749526"/>
              <a:gd name="connsiteX1804" fmla="*/ 5648124 w 7402822"/>
              <a:gd name="connsiteY1804" fmla="*/ 3474484 h 4749526"/>
              <a:gd name="connsiteX1805" fmla="*/ 5648124 w 7402822"/>
              <a:gd name="connsiteY1805" fmla="*/ 3483592 h 4749526"/>
              <a:gd name="connsiteX1806" fmla="*/ 5642052 w 7402822"/>
              <a:gd name="connsiteY1806" fmla="*/ 3480555 h 4749526"/>
              <a:gd name="connsiteX1807" fmla="*/ 5639017 w 7402822"/>
              <a:gd name="connsiteY1807" fmla="*/ 3477520 h 4749526"/>
              <a:gd name="connsiteX1808" fmla="*/ 5632945 w 7402822"/>
              <a:gd name="connsiteY1808" fmla="*/ 3477520 h 4749526"/>
              <a:gd name="connsiteX1809" fmla="*/ 5626873 w 7402822"/>
              <a:gd name="connsiteY1809" fmla="*/ 3480555 h 4749526"/>
              <a:gd name="connsiteX1810" fmla="*/ 5623838 w 7402822"/>
              <a:gd name="connsiteY1810" fmla="*/ 3483592 h 4749526"/>
              <a:gd name="connsiteX1811" fmla="*/ 5602587 w 7402822"/>
              <a:gd name="connsiteY1811" fmla="*/ 3465376 h 4749526"/>
              <a:gd name="connsiteX1812" fmla="*/ 5578301 w 7402822"/>
              <a:gd name="connsiteY1812" fmla="*/ 3447162 h 4749526"/>
              <a:gd name="connsiteX1813" fmla="*/ 5575264 w 7402822"/>
              <a:gd name="connsiteY1813" fmla="*/ 3441090 h 4749526"/>
              <a:gd name="connsiteX1814" fmla="*/ 5569193 w 7402822"/>
              <a:gd name="connsiteY1814" fmla="*/ 3435019 h 4749526"/>
              <a:gd name="connsiteX1815" fmla="*/ 5554014 w 7402822"/>
              <a:gd name="connsiteY1815" fmla="*/ 3422875 h 4749526"/>
              <a:gd name="connsiteX1816" fmla="*/ 5547942 w 7402822"/>
              <a:gd name="connsiteY1816" fmla="*/ 3413768 h 4749526"/>
              <a:gd name="connsiteX1817" fmla="*/ 5544906 w 7402822"/>
              <a:gd name="connsiteY1817" fmla="*/ 3407696 h 4749526"/>
              <a:gd name="connsiteX1818" fmla="*/ 5547942 w 7402822"/>
              <a:gd name="connsiteY1818" fmla="*/ 3407696 h 4749526"/>
              <a:gd name="connsiteX1819" fmla="*/ 5544906 w 7402822"/>
              <a:gd name="connsiteY1819" fmla="*/ 3398589 h 4749526"/>
              <a:gd name="connsiteX1820" fmla="*/ 5535799 w 7402822"/>
              <a:gd name="connsiteY1820" fmla="*/ 3383410 h 4749526"/>
              <a:gd name="connsiteX1821" fmla="*/ 5532763 w 7402822"/>
              <a:gd name="connsiteY1821" fmla="*/ 3377338 h 4749526"/>
              <a:gd name="connsiteX1822" fmla="*/ 5523656 w 7402822"/>
              <a:gd name="connsiteY1822" fmla="*/ 3365195 h 4749526"/>
              <a:gd name="connsiteX1823" fmla="*/ 5514549 w 7402822"/>
              <a:gd name="connsiteY1823" fmla="*/ 3359123 h 4749526"/>
              <a:gd name="connsiteX1824" fmla="*/ 5508477 w 7402822"/>
              <a:gd name="connsiteY1824" fmla="*/ 3346980 h 4749526"/>
              <a:gd name="connsiteX1825" fmla="*/ 5502405 w 7402822"/>
              <a:gd name="connsiteY1825" fmla="*/ 3331801 h 4749526"/>
              <a:gd name="connsiteX1826" fmla="*/ 5502405 w 7402822"/>
              <a:gd name="connsiteY1826" fmla="*/ 3328765 h 4749526"/>
              <a:gd name="connsiteX1827" fmla="*/ 5496333 w 7402822"/>
              <a:gd name="connsiteY1827" fmla="*/ 3322693 h 4749526"/>
              <a:gd name="connsiteX1828" fmla="*/ 5490261 w 7402822"/>
              <a:gd name="connsiteY1828" fmla="*/ 3319658 h 4749526"/>
              <a:gd name="connsiteX1829" fmla="*/ 5487226 w 7402822"/>
              <a:gd name="connsiteY1829" fmla="*/ 3316622 h 4749526"/>
              <a:gd name="connsiteX1830" fmla="*/ 5478119 w 7402822"/>
              <a:gd name="connsiteY1830" fmla="*/ 3307514 h 4749526"/>
              <a:gd name="connsiteX1831" fmla="*/ 5469012 w 7402822"/>
              <a:gd name="connsiteY1831" fmla="*/ 3298407 h 4749526"/>
              <a:gd name="connsiteX1832" fmla="*/ 5462940 w 7402822"/>
              <a:gd name="connsiteY1832" fmla="*/ 3289300 h 4749526"/>
              <a:gd name="connsiteX1833" fmla="*/ 5453832 w 7402822"/>
              <a:gd name="connsiteY1833" fmla="*/ 3286263 h 4749526"/>
              <a:gd name="connsiteX1834" fmla="*/ 5444725 w 7402822"/>
              <a:gd name="connsiteY1834" fmla="*/ 3277156 h 4749526"/>
              <a:gd name="connsiteX1835" fmla="*/ 5435617 w 7402822"/>
              <a:gd name="connsiteY1835" fmla="*/ 3268049 h 4749526"/>
              <a:gd name="connsiteX1836" fmla="*/ 5429546 w 7402822"/>
              <a:gd name="connsiteY1836" fmla="*/ 3255905 h 4749526"/>
              <a:gd name="connsiteX1837" fmla="*/ 5963847 w 7402822"/>
              <a:gd name="connsiteY1837" fmla="*/ 3240728 h 4749526"/>
              <a:gd name="connsiteX1838" fmla="*/ 5966883 w 7402822"/>
              <a:gd name="connsiteY1838" fmla="*/ 3240728 h 4749526"/>
              <a:gd name="connsiteX1839" fmla="*/ 5969919 w 7402822"/>
              <a:gd name="connsiteY1839" fmla="*/ 3240728 h 4749526"/>
              <a:gd name="connsiteX1840" fmla="*/ 5969919 w 7402822"/>
              <a:gd name="connsiteY1840" fmla="*/ 3243764 h 4749526"/>
              <a:gd name="connsiteX1841" fmla="*/ 5960812 w 7402822"/>
              <a:gd name="connsiteY1841" fmla="*/ 3243764 h 4749526"/>
              <a:gd name="connsiteX1842" fmla="*/ 5985099 w 7402822"/>
              <a:gd name="connsiteY1842" fmla="*/ 3225549 h 4749526"/>
              <a:gd name="connsiteX1843" fmla="*/ 5988134 w 7402822"/>
              <a:gd name="connsiteY1843" fmla="*/ 3228585 h 4749526"/>
              <a:gd name="connsiteX1844" fmla="*/ 5982062 w 7402822"/>
              <a:gd name="connsiteY1844" fmla="*/ 3234657 h 4749526"/>
              <a:gd name="connsiteX1845" fmla="*/ 5979027 w 7402822"/>
              <a:gd name="connsiteY1845" fmla="*/ 3228585 h 4749526"/>
              <a:gd name="connsiteX1846" fmla="*/ 5875811 w 7402822"/>
              <a:gd name="connsiteY1846" fmla="*/ 3225549 h 4749526"/>
              <a:gd name="connsiteX1847" fmla="*/ 5890990 w 7402822"/>
              <a:gd name="connsiteY1847" fmla="*/ 3231621 h 4749526"/>
              <a:gd name="connsiteX1848" fmla="*/ 5894025 w 7402822"/>
              <a:gd name="connsiteY1848" fmla="*/ 3231621 h 4749526"/>
              <a:gd name="connsiteX1849" fmla="*/ 5894025 w 7402822"/>
              <a:gd name="connsiteY1849" fmla="*/ 3237693 h 4749526"/>
              <a:gd name="connsiteX1850" fmla="*/ 5897062 w 7402822"/>
              <a:gd name="connsiteY1850" fmla="*/ 3243764 h 4749526"/>
              <a:gd name="connsiteX1851" fmla="*/ 5906169 w 7402822"/>
              <a:gd name="connsiteY1851" fmla="*/ 3243764 h 4749526"/>
              <a:gd name="connsiteX1852" fmla="*/ 5918312 w 7402822"/>
              <a:gd name="connsiteY1852" fmla="*/ 3249836 h 4749526"/>
              <a:gd name="connsiteX1853" fmla="*/ 5927419 w 7402822"/>
              <a:gd name="connsiteY1853" fmla="*/ 3255907 h 4749526"/>
              <a:gd name="connsiteX1854" fmla="*/ 5921348 w 7402822"/>
              <a:gd name="connsiteY1854" fmla="*/ 3261979 h 4749526"/>
              <a:gd name="connsiteX1855" fmla="*/ 5909204 w 7402822"/>
              <a:gd name="connsiteY1855" fmla="*/ 3261979 h 4749526"/>
              <a:gd name="connsiteX1856" fmla="*/ 5903132 w 7402822"/>
              <a:gd name="connsiteY1856" fmla="*/ 3265015 h 4749526"/>
              <a:gd name="connsiteX1857" fmla="*/ 5912241 w 7402822"/>
              <a:gd name="connsiteY1857" fmla="*/ 3271086 h 4749526"/>
              <a:gd name="connsiteX1858" fmla="*/ 5909204 w 7402822"/>
              <a:gd name="connsiteY1858" fmla="*/ 3277158 h 4749526"/>
              <a:gd name="connsiteX1859" fmla="*/ 5903132 w 7402822"/>
              <a:gd name="connsiteY1859" fmla="*/ 3277158 h 4749526"/>
              <a:gd name="connsiteX1860" fmla="*/ 5894025 w 7402822"/>
              <a:gd name="connsiteY1860" fmla="*/ 3274123 h 4749526"/>
              <a:gd name="connsiteX1861" fmla="*/ 5890991 w 7402822"/>
              <a:gd name="connsiteY1861" fmla="*/ 3280193 h 4749526"/>
              <a:gd name="connsiteX1862" fmla="*/ 5894024 w 7402822"/>
              <a:gd name="connsiteY1862" fmla="*/ 3283228 h 4749526"/>
              <a:gd name="connsiteX1863" fmla="*/ 5897061 w 7402822"/>
              <a:gd name="connsiteY1863" fmla="*/ 3289300 h 4749526"/>
              <a:gd name="connsiteX1864" fmla="*/ 5887953 w 7402822"/>
              <a:gd name="connsiteY1864" fmla="*/ 3289300 h 4749526"/>
              <a:gd name="connsiteX1865" fmla="*/ 5881881 w 7402822"/>
              <a:gd name="connsiteY1865" fmla="*/ 3289300 h 4749526"/>
              <a:gd name="connsiteX1866" fmla="*/ 5881881 w 7402822"/>
              <a:gd name="connsiteY1866" fmla="*/ 3292335 h 4749526"/>
              <a:gd name="connsiteX1867" fmla="*/ 5894024 w 7402822"/>
              <a:gd name="connsiteY1867" fmla="*/ 3304479 h 4749526"/>
              <a:gd name="connsiteX1868" fmla="*/ 5900096 w 7402822"/>
              <a:gd name="connsiteY1868" fmla="*/ 3316622 h 4749526"/>
              <a:gd name="connsiteX1869" fmla="*/ 5900096 w 7402822"/>
              <a:gd name="connsiteY1869" fmla="*/ 3322693 h 4749526"/>
              <a:gd name="connsiteX1870" fmla="*/ 5900096 w 7402822"/>
              <a:gd name="connsiteY1870" fmla="*/ 3325729 h 4749526"/>
              <a:gd name="connsiteX1871" fmla="*/ 5909203 w 7402822"/>
              <a:gd name="connsiteY1871" fmla="*/ 3334837 h 4749526"/>
              <a:gd name="connsiteX1872" fmla="*/ 5921347 w 7402822"/>
              <a:gd name="connsiteY1872" fmla="*/ 3340908 h 4749526"/>
              <a:gd name="connsiteX1873" fmla="*/ 5921347 w 7402822"/>
              <a:gd name="connsiteY1873" fmla="*/ 3346980 h 4749526"/>
              <a:gd name="connsiteX1874" fmla="*/ 5912240 w 7402822"/>
              <a:gd name="connsiteY1874" fmla="*/ 3346980 h 4749526"/>
              <a:gd name="connsiteX1875" fmla="*/ 5906168 w 7402822"/>
              <a:gd name="connsiteY1875" fmla="*/ 3346980 h 4749526"/>
              <a:gd name="connsiteX1876" fmla="*/ 5897061 w 7402822"/>
              <a:gd name="connsiteY1876" fmla="*/ 3346980 h 4749526"/>
              <a:gd name="connsiteX1877" fmla="*/ 5894024 w 7402822"/>
              <a:gd name="connsiteY1877" fmla="*/ 3353052 h 4749526"/>
              <a:gd name="connsiteX1878" fmla="*/ 5890989 w 7402822"/>
              <a:gd name="connsiteY1878" fmla="*/ 3359123 h 4749526"/>
              <a:gd name="connsiteX1879" fmla="*/ 5887953 w 7402822"/>
              <a:gd name="connsiteY1879" fmla="*/ 3371266 h 4749526"/>
              <a:gd name="connsiteX1880" fmla="*/ 5887953 w 7402822"/>
              <a:gd name="connsiteY1880" fmla="*/ 3374302 h 4749526"/>
              <a:gd name="connsiteX1881" fmla="*/ 5894024 w 7402822"/>
              <a:gd name="connsiteY1881" fmla="*/ 3374302 h 4749526"/>
              <a:gd name="connsiteX1882" fmla="*/ 5894024 w 7402822"/>
              <a:gd name="connsiteY1882" fmla="*/ 3380373 h 4749526"/>
              <a:gd name="connsiteX1883" fmla="*/ 5884917 w 7402822"/>
              <a:gd name="connsiteY1883" fmla="*/ 3383410 h 4749526"/>
              <a:gd name="connsiteX1884" fmla="*/ 5872774 w 7402822"/>
              <a:gd name="connsiteY1884" fmla="*/ 3395552 h 4749526"/>
              <a:gd name="connsiteX1885" fmla="*/ 5866702 w 7402822"/>
              <a:gd name="connsiteY1885" fmla="*/ 3401624 h 4749526"/>
              <a:gd name="connsiteX1886" fmla="*/ 5869738 w 7402822"/>
              <a:gd name="connsiteY1886" fmla="*/ 3407696 h 4749526"/>
              <a:gd name="connsiteX1887" fmla="*/ 5872774 w 7402822"/>
              <a:gd name="connsiteY1887" fmla="*/ 3410731 h 4749526"/>
              <a:gd name="connsiteX1888" fmla="*/ 5869738 w 7402822"/>
              <a:gd name="connsiteY1888" fmla="*/ 3419840 h 4749526"/>
              <a:gd name="connsiteX1889" fmla="*/ 5863666 w 7402822"/>
              <a:gd name="connsiteY1889" fmla="*/ 3431982 h 4749526"/>
              <a:gd name="connsiteX1890" fmla="*/ 5860631 w 7402822"/>
              <a:gd name="connsiteY1890" fmla="*/ 3438054 h 4749526"/>
              <a:gd name="connsiteX1891" fmla="*/ 5854559 w 7402822"/>
              <a:gd name="connsiteY1891" fmla="*/ 3441090 h 4749526"/>
              <a:gd name="connsiteX1892" fmla="*/ 5842416 w 7402822"/>
              <a:gd name="connsiteY1892" fmla="*/ 3447162 h 4749526"/>
              <a:gd name="connsiteX1893" fmla="*/ 5833308 w 7402822"/>
              <a:gd name="connsiteY1893" fmla="*/ 3450198 h 4749526"/>
              <a:gd name="connsiteX1894" fmla="*/ 5830272 w 7402822"/>
              <a:gd name="connsiteY1894" fmla="*/ 3447162 h 4749526"/>
              <a:gd name="connsiteX1895" fmla="*/ 5827237 w 7402822"/>
              <a:gd name="connsiteY1895" fmla="*/ 3438054 h 4749526"/>
              <a:gd name="connsiteX1896" fmla="*/ 5821165 w 7402822"/>
              <a:gd name="connsiteY1896" fmla="*/ 3435019 h 4749526"/>
              <a:gd name="connsiteX1897" fmla="*/ 5809021 w 7402822"/>
              <a:gd name="connsiteY1897" fmla="*/ 3435019 h 4749526"/>
              <a:gd name="connsiteX1898" fmla="*/ 5802951 w 7402822"/>
              <a:gd name="connsiteY1898" fmla="*/ 3431982 h 4749526"/>
              <a:gd name="connsiteX1899" fmla="*/ 5799914 w 7402822"/>
              <a:gd name="connsiteY1899" fmla="*/ 3428947 h 4749526"/>
              <a:gd name="connsiteX1900" fmla="*/ 5787772 w 7402822"/>
              <a:gd name="connsiteY1900" fmla="*/ 3435019 h 4749526"/>
              <a:gd name="connsiteX1901" fmla="*/ 5772592 w 7402822"/>
              <a:gd name="connsiteY1901" fmla="*/ 3435019 h 4749526"/>
              <a:gd name="connsiteX1902" fmla="*/ 5772592 w 7402822"/>
              <a:gd name="connsiteY1902" fmla="*/ 3422875 h 4749526"/>
              <a:gd name="connsiteX1903" fmla="*/ 5769556 w 7402822"/>
              <a:gd name="connsiteY1903" fmla="*/ 3422875 h 4749526"/>
              <a:gd name="connsiteX1904" fmla="*/ 5763485 w 7402822"/>
              <a:gd name="connsiteY1904" fmla="*/ 3425911 h 4749526"/>
              <a:gd name="connsiteX1905" fmla="*/ 5751341 w 7402822"/>
              <a:gd name="connsiteY1905" fmla="*/ 3428947 h 4749526"/>
              <a:gd name="connsiteX1906" fmla="*/ 5739198 w 7402822"/>
              <a:gd name="connsiteY1906" fmla="*/ 3422875 h 4749526"/>
              <a:gd name="connsiteX1907" fmla="*/ 5739198 w 7402822"/>
              <a:gd name="connsiteY1907" fmla="*/ 3410731 h 4749526"/>
              <a:gd name="connsiteX1908" fmla="*/ 5736162 w 7402822"/>
              <a:gd name="connsiteY1908" fmla="*/ 3395552 h 4749526"/>
              <a:gd name="connsiteX1909" fmla="*/ 5733127 w 7402822"/>
              <a:gd name="connsiteY1909" fmla="*/ 3386445 h 4749526"/>
              <a:gd name="connsiteX1910" fmla="*/ 5724019 w 7402822"/>
              <a:gd name="connsiteY1910" fmla="*/ 3377338 h 4749526"/>
              <a:gd name="connsiteX1911" fmla="*/ 5720983 w 7402822"/>
              <a:gd name="connsiteY1911" fmla="*/ 3377338 h 4749526"/>
              <a:gd name="connsiteX1912" fmla="*/ 5717948 w 7402822"/>
              <a:gd name="connsiteY1912" fmla="*/ 3368231 h 4749526"/>
              <a:gd name="connsiteX1913" fmla="*/ 5714911 w 7402822"/>
              <a:gd name="connsiteY1913" fmla="*/ 3356087 h 4749526"/>
              <a:gd name="connsiteX1914" fmla="*/ 5714911 w 7402822"/>
              <a:gd name="connsiteY1914" fmla="*/ 3343944 h 4749526"/>
              <a:gd name="connsiteX1915" fmla="*/ 5717948 w 7402822"/>
              <a:gd name="connsiteY1915" fmla="*/ 3331801 h 4749526"/>
              <a:gd name="connsiteX1916" fmla="*/ 5727055 w 7402822"/>
              <a:gd name="connsiteY1916" fmla="*/ 3322693 h 4749526"/>
              <a:gd name="connsiteX1917" fmla="*/ 5727055 w 7402822"/>
              <a:gd name="connsiteY1917" fmla="*/ 3325729 h 4749526"/>
              <a:gd name="connsiteX1918" fmla="*/ 5727056 w 7402822"/>
              <a:gd name="connsiteY1918" fmla="*/ 3325731 h 4749526"/>
              <a:gd name="connsiteX1919" fmla="*/ 5727056 w 7402822"/>
              <a:gd name="connsiteY1919" fmla="*/ 3322695 h 4749526"/>
              <a:gd name="connsiteX1920" fmla="*/ 5730092 w 7402822"/>
              <a:gd name="connsiteY1920" fmla="*/ 3328767 h 4749526"/>
              <a:gd name="connsiteX1921" fmla="*/ 5736163 w 7402822"/>
              <a:gd name="connsiteY1921" fmla="*/ 3328767 h 4749526"/>
              <a:gd name="connsiteX1922" fmla="*/ 5739199 w 7402822"/>
              <a:gd name="connsiteY1922" fmla="*/ 3328767 h 4749526"/>
              <a:gd name="connsiteX1923" fmla="*/ 5760450 w 7402822"/>
              <a:gd name="connsiteY1923" fmla="*/ 3334839 h 4749526"/>
              <a:gd name="connsiteX1924" fmla="*/ 5757414 w 7402822"/>
              <a:gd name="connsiteY1924" fmla="*/ 3331803 h 4749526"/>
              <a:gd name="connsiteX1925" fmla="*/ 5760450 w 7402822"/>
              <a:gd name="connsiteY1925" fmla="*/ 3322695 h 4749526"/>
              <a:gd name="connsiteX1926" fmla="*/ 5760450 w 7402822"/>
              <a:gd name="connsiteY1926" fmla="*/ 3313588 h 4749526"/>
              <a:gd name="connsiteX1927" fmla="*/ 5763485 w 7402822"/>
              <a:gd name="connsiteY1927" fmla="*/ 3316624 h 4749526"/>
              <a:gd name="connsiteX1928" fmla="*/ 5766522 w 7402822"/>
              <a:gd name="connsiteY1928" fmla="*/ 3316624 h 4749526"/>
              <a:gd name="connsiteX1929" fmla="*/ 5766522 w 7402822"/>
              <a:gd name="connsiteY1929" fmla="*/ 3310552 h 4749526"/>
              <a:gd name="connsiteX1930" fmla="*/ 5769557 w 7402822"/>
              <a:gd name="connsiteY1930" fmla="*/ 3307516 h 4749526"/>
              <a:gd name="connsiteX1931" fmla="*/ 5778664 w 7402822"/>
              <a:gd name="connsiteY1931" fmla="*/ 3304481 h 4749526"/>
              <a:gd name="connsiteX1932" fmla="*/ 5790808 w 7402822"/>
              <a:gd name="connsiteY1932" fmla="*/ 3301444 h 4749526"/>
              <a:gd name="connsiteX1933" fmla="*/ 5799915 w 7402822"/>
              <a:gd name="connsiteY1933" fmla="*/ 3298409 h 4749526"/>
              <a:gd name="connsiteX1934" fmla="*/ 5809022 w 7402822"/>
              <a:gd name="connsiteY1934" fmla="*/ 3286265 h 4749526"/>
              <a:gd name="connsiteX1935" fmla="*/ 5821166 w 7402822"/>
              <a:gd name="connsiteY1935" fmla="*/ 3271086 h 4749526"/>
              <a:gd name="connsiteX1936" fmla="*/ 5830273 w 7402822"/>
              <a:gd name="connsiteY1936" fmla="*/ 3268051 h 4749526"/>
              <a:gd name="connsiteX1937" fmla="*/ 5842417 w 7402822"/>
              <a:gd name="connsiteY1937" fmla="*/ 3265015 h 4749526"/>
              <a:gd name="connsiteX1938" fmla="*/ 5851524 w 7402822"/>
              <a:gd name="connsiteY1938" fmla="*/ 3258944 h 4749526"/>
              <a:gd name="connsiteX1939" fmla="*/ 5845452 w 7402822"/>
              <a:gd name="connsiteY1939" fmla="*/ 3255907 h 4749526"/>
              <a:gd name="connsiteX1940" fmla="*/ 5848488 w 7402822"/>
              <a:gd name="connsiteY1940" fmla="*/ 3252872 h 4749526"/>
              <a:gd name="connsiteX1941" fmla="*/ 5851524 w 7402822"/>
              <a:gd name="connsiteY1941" fmla="*/ 3249836 h 4749526"/>
              <a:gd name="connsiteX1942" fmla="*/ 5854560 w 7402822"/>
              <a:gd name="connsiteY1942" fmla="*/ 3249836 h 4749526"/>
              <a:gd name="connsiteX1943" fmla="*/ 5860632 w 7402822"/>
              <a:gd name="connsiteY1943" fmla="*/ 3243764 h 4749526"/>
              <a:gd name="connsiteX1944" fmla="*/ 5866703 w 7402822"/>
              <a:gd name="connsiteY1944" fmla="*/ 3231621 h 4749526"/>
              <a:gd name="connsiteX1945" fmla="*/ 5399188 w 7402822"/>
              <a:gd name="connsiteY1945" fmla="*/ 3216440 h 4749526"/>
              <a:gd name="connsiteX1946" fmla="*/ 5402223 w 7402822"/>
              <a:gd name="connsiteY1946" fmla="*/ 3216440 h 4749526"/>
              <a:gd name="connsiteX1947" fmla="*/ 5402223 w 7402822"/>
              <a:gd name="connsiteY1947" fmla="*/ 3225548 h 4749526"/>
              <a:gd name="connsiteX1948" fmla="*/ 5399188 w 7402822"/>
              <a:gd name="connsiteY1948" fmla="*/ 3222512 h 4749526"/>
              <a:gd name="connsiteX1949" fmla="*/ 1778984 w 7402822"/>
              <a:gd name="connsiteY1949" fmla="*/ 3207334 h 4749526"/>
              <a:gd name="connsiteX1950" fmla="*/ 1782019 w 7402822"/>
              <a:gd name="connsiteY1950" fmla="*/ 3213406 h 4749526"/>
              <a:gd name="connsiteX1951" fmla="*/ 1778984 w 7402822"/>
              <a:gd name="connsiteY1951" fmla="*/ 3213406 h 4749526"/>
              <a:gd name="connsiteX1952" fmla="*/ 6054922 w 7402822"/>
              <a:gd name="connsiteY1952" fmla="*/ 3164834 h 4749526"/>
              <a:gd name="connsiteX1953" fmla="*/ 6057957 w 7402822"/>
              <a:gd name="connsiteY1953" fmla="*/ 3164834 h 4749526"/>
              <a:gd name="connsiteX1954" fmla="*/ 6060994 w 7402822"/>
              <a:gd name="connsiteY1954" fmla="*/ 3167869 h 4749526"/>
              <a:gd name="connsiteX1955" fmla="*/ 6067065 w 7402822"/>
              <a:gd name="connsiteY1955" fmla="*/ 3173941 h 4749526"/>
              <a:gd name="connsiteX1956" fmla="*/ 6070101 w 7402822"/>
              <a:gd name="connsiteY1956" fmla="*/ 3173941 h 4749526"/>
              <a:gd name="connsiteX1957" fmla="*/ 6079209 w 7402822"/>
              <a:gd name="connsiteY1957" fmla="*/ 3207334 h 4749526"/>
              <a:gd name="connsiteX1958" fmla="*/ 6079209 w 7402822"/>
              <a:gd name="connsiteY1958" fmla="*/ 3216442 h 4749526"/>
              <a:gd name="connsiteX1959" fmla="*/ 6073137 w 7402822"/>
              <a:gd name="connsiteY1959" fmla="*/ 3222514 h 4749526"/>
              <a:gd name="connsiteX1960" fmla="*/ 6070101 w 7402822"/>
              <a:gd name="connsiteY1960" fmla="*/ 3228585 h 4749526"/>
              <a:gd name="connsiteX1961" fmla="*/ 6067065 w 7402822"/>
              <a:gd name="connsiteY1961" fmla="*/ 3225549 h 4749526"/>
              <a:gd name="connsiteX1962" fmla="*/ 6060994 w 7402822"/>
              <a:gd name="connsiteY1962" fmla="*/ 3216442 h 4749526"/>
              <a:gd name="connsiteX1963" fmla="*/ 6057957 w 7402822"/>
              <a:gd name="connsiteY1963" fmla="*/ 3216442 h 4749526"/>
              <a:gd name="connsiteX1964" fmla="*/ 6054922 w 7402822"/>
              <a:gd name="connsiteY1964" fmla="*/ 3222514 h 4749526"/>
              <a:gd name="connsiteX1965" fmla="*/ 6054922 w 7402822"/>
              <a:gd name="connsiteY1965" fmla="*/ 3228585 h 4749526"/>
              <a:gd name="connsiteX1966" fmla="*/ 6054922 w 7402822"/>
              <a:gd name="connsiteY1966" fmla="*/ 3231621 h 4749526"/>
              <a:gd name="connsiteX1967" fmla="*/ 6057957 w 7402822"/>
              <a:gd name="connsiteY1967" fmla="*/ 3234657 h 4749526"/>
              <a:gd name="connsiteX1968" fmla="*/ 6057957 w 7402822"/>
              <a:gd name="connsiteY1968" fmla="*/ 3243764 h 4749526"/>
              <a:gd name="connsiteX1969" fmla="*/ 6051885 w 7402822"/>
              <a:gd name="connsiteY1969" fmla="*/ 3249836 h 4749526"/>
              <a:gd name="connsiteX1970" fmla="*/ 6048851 w 7402822"/>
              <a:gd name="connsiteY1970" fmla="*/ 3246800 h 4749526"/>
              <a:gd name="connsiteX1971" fmla="*/ 6045815 w 7402822"/>
              <a:gd name="connsiteY1971" fmla="*/ 3243764 h 4749526"/>
              <a:gd name="connsiteX1972" fmla="*/ 6036707 w 7402822"/>
              <a:gd name="connsiteY1972" fmla="*/ 3240728 h 4749526"/>
              <a:gd name="connsiteX1973" fmla="*/ 6027599 w 7402822"/>
              <a:gd name="connsiteY1973" fmla="*/ 3234657 h 4749526"/>
              <a:gd name="connsiteX1974" fmla="*/ 6024564 w 7402822"/>
              <a:gd name="connsiteY1974" fmla="*/ 3225549 h 4749526"/>
              <a:gd name="connsiteX1975" fmla="*/ 6027599 w 7402822"/>
              <a:gd name="connsiteY1975" fmla="*/ 3216442 h 4749526"/>
              <a:gd name="connsiteX1976" fmla="*/ 6018492 w 7402822"/>
              <a:gd name="connsiteY1976" fmla="*/ 3204299 h 4749526"/>
              <a:gd name="connsiteX1977" fmla="*/ 6012420 w 7402822"/>
              <a:gd name="connsiteY1977" fmla="*/ 3204299 h 4749526"/>
              <a:gd name="connsiteX1978" fmla="*/ 6012420 w 7402822"/>
              <a:gd name="connsiteY1978" fmla="*/ 3213406 h 4749526"/>
              <a:gd name="connsiteX1979" fmla="*/ 6000277 w 7402822"/>
              <a:gd name="connsiteY1979" fmla="*/ 3210370 h 4749526"/>
              <a:gd name="connsiteX1980" fmla="*/ 5997241 w 7402822"/>
              <a:gd name="connsiteY1980" fmla="*/ 3204299 h 4749526"/>
              <a:gd name="connsiteX1981" fmla="*/ 5994205 w 7402822"/>
              <a:gd name="connsiteY1981" fmla="*/ 3207334 h 4749526"/>
              <a:gd name="connsiteX1982" fmla="*/ 5991171 w 7402822"/>
              <a:gd name="connsiteY1982" fmla="*/ 3210370 h 4749526"/>
              <a:gd name="connsiteX1983" fmla="*/ 5985099 w 7402822"/>
              <a:gd name="connsiteY1983" fmla="*/ 3222514 h 4749526"/>
              <a:gd name="connsiteX1984" fmla="*/ 5982062 w 7402822"/>
              <a:gd name="connsiteY1984" fmla="*/ 3219478 h 4749526"/>
              <a:gd name="connsiteX1985" fmla="*/ 5985099 w 7402822"/>
              <a:gd name="connsiteY1985" fmla="*/ 3207334 h 4749526"/>
              <a:gd name="connsiteX1986" fmla="*/ 5988134 w 7402822"/>
              <a:gd name="connsiteY1986" fmla="*/ 3201263 h 4749526"/>
              <a:gd name="connsiteX1987" fmla="*/ 6012420 w 7402822"/>
              <a:gd name="connsiteY1987" fmla="*/ 3186084 h 4749526"/>
              <a:gd name="connsiteX1988" fmla="*/ 6021529 w 7402822"/>
              <a:gd name="connsiteY1988" fmla="*/ 3192155 h 4749526"/>
              <a:gd name="connsiteX1989" fmla="*/ 6021529 w 7402822"/>
              <a:gd name="connsiteY1989" fmla="*/ 3195192 h 4749526"/>
              <a:gd name="connsiteX1990" fmla="*/ 6021529 w 7402822"/>
              <a:gd name="connsiteY1990" fmla="*/ 3198227 h 4749526"/>
              <a:gd name="connsiteX1991" fmla="*/ 6027599 w 7402822"/>
              <a:gd name="connsiteY1991" fmla="*/ 3195192 h 4749526"/>
              <a:gd name="connsiteX1992" fmla="*/ 6030635 w 7402822"/>
              <a:gd name="connsiteY1992" fmla="*/ 3195192 h 4749526"/>
              <a:gd name="connsiteX1993" fmla="*/ 6030635 w 7402822"/>
              <a:gd name="connsiteY1993" fmla="*/ 3192155 h 4749526"/>
              <a:gd name="connsiteX1994" fmla="*/ 6033671 w 7402822"/>
              <a:gd name="connsiteY1994" fmla="*/ 3189120 h 4749526"/>
              <a:gd name="connsiteX1995" fmla="*/ 6039743 w 7402822"/>
              <a:gd name="connsiteY1995" fmla="*/ 3189120 h 4749526"/>
              <a:gd name="connsiteX1996" fmla="*/ 6039743 w 7402822"/>
              <a:gd name="connsiteY1996" fmla="*/ 3186084 h 4749526"/>
              <a:gd name="connsiteX1997" fmla="*/ 6045815 w 7402822"/>
              <a:gd name="connsiteY1997" fmla="*/ 3183048 h 4749526"/>
              <a:gd name="connsiteX1998" fmla="*/ 6051885 w 7402822"/>
              <a:gd name="connsiteY1998" fmla="*/ 3180013 h 4749526"/>
              <a:gd name="connsiteX1999" fmla="*/ 6054922 w 7402822"/>
              <a:gd name="connsiteY1999" fmla="*/ 3173941 h 4749526"/>
              <a:gd name="connsiteX2000" fmla="*/ 5119894 w 7402822"/>
              <a:gd name="connsiteY2000" fmla="*/ 3161797 h 4749526"/>
              <a:gd name="connsiteX2001" fmla="*/ 5135073 w 7402822"/>
              <a:gd name="connsiteY2001" fmla="*/ 3176976 h 4749526"/>
              <a:gd name="connsiteX2002" fmla="*/ 5144181 w 7402822"/>
              <a:gd name="connsiteY2002" fmla="*/ 3195192 h 4749526"/>
              <a:gd name="connsiteX2003" fmla="*/ 5156323 w 7402822"/>
              <a:gd name="connsiteY2003" fmla="*/ 3213406 h 4749526"/>
              <a:gd name="connsiteX2004" fmla="*/ 5153288 w 7402822"/>
              <a:gd name="connsiteY2004" fmla="*/ 3225549 h 4749526"/>
              <a:gd name="connsiteX2005" fmla="*/ 5138109 w 7402822"/>
              <a:gd name="connsiteY2005" fmla="*/ 3240728 h 4749526"/>
              <a:gd name="connsiteX2006" fmla="*/ 5119894 w 7402822"/>
              <a:gd name="connsiteY2006" fmla="*/ 3237693 h 4749526"/>
              <a:gd name="connsiteX2007" fmla="*/ 5113823 w 7402822"/>
              <a:gd name="connsiteY2007" fmla="*/ 3219478 h 4749526"/>
              <a:gd name="connsiteX2008" fmla="*/ 5110787 w 7402822"/>
              <a:gd name="connsiteY2008" fmla="*/ 3201263 h 4749526"/>
              <a:gd name="connsiteX2009" fmla="*/ 5110787 w 7402822"/>
              <a:gd name="connsiteY2009" fmla="*/ 3195192 h 4749526"/>
              <a:gd name="connsiteX2010" fmla="*/ 5113823 w 7402822"/>
              <a:gd name="connsiteY2010" fmla="*/ 3186084 h 4749526"/>
              <a:gd name="connsiteX2011" fmla="*/ 5119894 w 7402822"/>
              <a:gd name="connsiteY2011" fmla="*/ 3173941 h 4749526"/>
              <a:gd name="connsiteX2012" fmla="*/ 5119894 w 7402822"/>
              <a:gd name="connsiteY2012" fmla="*/ 3167869 h 4749526"/>
              <a:gd name="connsiteX2013" fmla="*/ 5113823 w 7402822"/>
              <a:gd name="connsiteY2013" fmla="*/ 3164834 h 4749526"/>
              <a:gd name="connsiteX2014" fmla="*/ 6067065 w 7402822"/>
              <a:gd name="connsiteY2014" fmla="*/ 3158762 h 4749526"/>
              <a:gd name="connsiteX2015" fmla="*/ 6070101 w 7402822"/>
              <a:gd name="connsiteY2015" fmla="*/ 3161797 h 4749526"/>
              <a:gd name="connsiteX2016" fmla="*/ 6067065 w 7402822"/>
              <a:gd name="connsiteY2016" fmla="*/ 3161797 h 4749526"/>
              <a:gd name="connsiteX2017" fmla="*/ 6033671 w 7402822"/>
              <a:gd name="connsiteY2017" fmla="*/ 3155725 h 4749526"/>
              <a:gd name="connsiteX2018" fmla="*/ 6036707 w 7402822"/>
              <a:gd name="connsiteY2018" fmla="*/ 3161797 h 4749526"/>
              <a:gd name="connsiteX2019" fmla="*/ 6033671 w 7402822"/>
              <a:gd name="connsiteY2019" fmla="*/ 3164834 h 4749526"/>
              <a:gd name="connsiteX2020" fmla="*/ 6024564 w 7402822"/>
              <a:gd name="connsiteY2020" fmla="*/ 3167869 h 4749526"/>
              <a:gd name="connsiteX2021" fmla="*/ 6021529 w 7402822"/>
              <a:gd name="connsiteY2021" fmla="*/ 3158762 h 4749526"/>
              <a:gd name="connsiteX2022" fmla="*/ 6057957 w 7402822"/>
              <a:gd name="connsiteY2022" fmla="*/ 3149654 h 4749526"/>
              <a:gd name="connsiteX2023" fmla="*/ 6057957 w 7402822"/>
              <a:gd name="connsiteY2023" fmla="*/ 3152690 h 4749526"/>
              <a:gd name="connsiteX2024" fmla="*/ 6057957 w 7402822"/>
              <a:gd name="connsiteY2024" fmla="*/ 3155725 h 4749526"/>
              <a:gd name="connsiteX2025" fmla="*/ 6060994 w 7402822"/>
              <a:gd name="connsiteY2025" fmla="*/ 3161797 h 4749526"/>
              <a:gd name="connsiteX2026" fmla="*/ 6054922 w 7402822"/>
              <a:gd name="connsiteY2026" fmla="*/ 3155725 h 4749526"/>
              <a:gd name="connsiteX2027" fmla="*/ 2207033 w 7402822"/>
              <a:gd name="connsiteY2027" fmla="*/ 3140547 h 4749526"/>
              <a:gd name="connsiteX2028" fmla="*/ 2210068 w 7402822"/>
              <a:gd name="connsiteY2028" fmla="*/ 3143583 h 4749526"/>
              <a:gd name="connsiteX2029" fmla="*/ 2207033 w 7402822"/>
              <a:gd name="connsiteY2029" fmla="*/ 3146619 h 4749526"/>
              <a:gd name="connsiteX2030" fmla="*/ 2207033 w 7402822"/>
              <a:gd name="connsiteY2030" fmla="*/ 3155726 h 4749526"/>
              <a:gd name="connsiteX2031" fmla="*/ 2197924 w 7402822"/>
              <a:gd name="connsiteY2031" fmla="*/ 3158762 h 4749526"/>
              <a:gd name="connsiteX2032" fmla="*/ 2191853 w 7402822"/>
              <a:gd name="connsiteY2032" fmla="*/ 3155726 h 4749526"/>
              <a:gd name="connsiteX2033" fmla="*/ 2197924 w 7402822"/>
              <a:gd name="connsiteY2033" fmla="*/ 3152690 h 4749526"/>
              <a:gd name="connsiteX2034" fmla="*/ 2197924 w 7402822"/>
              <a:gd name="connsiteY2034" fmla="*/ 3149654 h 4749526"/>
              <a:gd name="connsiteX2035" fmla="*/ 2197924 w 7402822"/>
              <a:gd name="connsiteY2035" fmla="*/ 3143583 h 4749526"/>
              <a:gd name="connsiteX2036" fmla="*/ 2200961 w 7402822"/>
              <a:gd name="connsiteY2036" fmla="*/ 3143583 h 4749526"/>
              <a:gd name="connsiteX2037" fmla="*/ 6009385 w 7402822"/>
              <a:gd name="connsiteY2037" fmla="*/ 3137511 h 4749526"/>
              <a:gd name="connsiteX2038" fmla="*/ 6015457 w 7402822"/>
              <a:gd name="connsiteY2038" fmla="*/ 3140546 h 4749526"/>
              <a:gd name="connsiteX2039" fmla="*/ 6012420 w 7402822"/>
              <a:gd name="connsiteY2039" fmla="*/ 3149654 h 4749526"/>
              <a:gd name="connsiteX2040" fmla="*/ 6006349 w 7402822"/>
              <a:gd name="connsiteY2040" fmla="*/ 3161797 h 4749526"/>
              <a:gd name="connsiteX2041" fmla="*/ 6006349 w 7402822"/>
              <a:gd name="connsiteY2041" fmla="*/ 3167869 h 4749526"/>
              <a:gd name="connsiteX2042" fmla="*/ 6009385 w 7402822"/>
              <a:gd name="connsiteY2042" fmla="*/ 3173941 h 4749526"/>
              <a:gd name="connsiteX2043" fmla="*/ 6003313 w 7402822"/>
              <a:gd name="connsiteY2043" fmla="*/ 3176976 h 4749526"/>
              <a:gd name="connsiteX2044" fmla="*/ 5997241 w 7402822"/>
              <a:gd name="connsiteY2044" fmla="*/ 3170904 h 4749526"/>
              <a:gd name="connsiteX2045" fmla="*/ 5991171 w 7402822"/>
              <a:gd name="connsiteY2045" fmla="*/ 3164834 h 4749526"/>
              <a:gd name="connsiteX2046" fmla="*/ 5994205 w 7402822"/>
              <a:gd name="connsiteY2046" fmla="*/ 3158762 h 4749526"/>
              <a:gd name="connsiteX2047" fmla="*/ 5997241 w 7402822"/>
              <a:gd name="connsiteY2047" fmla="*/ 3158762 h 4749526"/>
              <a:gd name="connsiteX2048" fmla="*/ 6000277 w 7402822"/>
              <a:gd name="connsiteY2048" fmla="*/ 3158762 h 4749526"/>
              <a:gd name="connsiteX2049" fmla="*/ 6000277 w 7402822"/>
              <a:gd name="connsiteY2049" fmla="*/ 3152690 h 4749526"/>
              <a:gd name="connsiteX2050" fmla="*/ 6003313 w 7402822"/>
              <a:gd name="connsiteY2050" fmla="*/ 3143583 h 4749526"/>
              <a:gd name="connsiteX2051" fmla="*/ 6024564 w 7402822"/>
              <a:gd name="connsiteY2051" fmla="*/ 3134475 h 4749526"/>
              <a:gd name="connsiteX2052" fmla="*/ 6024564 w 7402822"/>
              <a:gd name="connsiteY2052" fmla="*/ 3152690 h 4749526"/>
              <a:gd name="connsiteX2053" fmla="*/ 6009385 w 7402822"/>
              <a:gd name="connsiteY2053" fmla="*/ 3170904 h 4749526"/>
              <a:gd name="connsiteX2054" fmla="*/ 6012420 w 7402822"/>
              <a:gd name="connsiteY2054" fmla="*/ 3161797 h 4749526"/>
              <a:gd name="connsiteX2055" fmla="*/ 6015457 w 7402822"/>
              <a:gd name="connsiteY2055" fmla="*/ 3152690 h 4749526"/>
              <a:gd name="connsiteX2056" fmla="*/ 2146316 w 7402822"/>
              <a:gd name="connsiteY2056" fmla="*/ 3134475 h 4749526"/>
              <a:gd name="connsiteX2057" fmla="*/ 2149352 w 7402822"/>
              <a:gd name="connsiteY2057" fmla="*/ 3137512 h 4749526"/>
              <a:gd name="connsiteX2058" fmla="*/ 2146316 w 7402822"/>
              <a:gd name="connsiteY2058" fmla="*/ 3140547 h 4749526"/>
              <a:gd name="connsiteX2059" fmla="*/ 2143280 w 7402822"/>
              <a:gd name="connsiteY2059" fmla="*/ 3140547 h 4749526"/>
              <a:gd name="connsiteX2060" fmla="*/ 2137209 w 7402822"/>
              <a:gd name="connsiteY2060" fmla="*/ 3137512 h 4749526"/>
              <a:gd name="connsiteX2061" fmla="*/ 2140244 w 7402822"/>
              <a:gd name="connsiteY2061" fmla="*/ 3137512 h 4749526"/>
              <a:gd name="connsiteX2062" fmla="*/ 5930454 w 7402822"/>
              <a:gd name="connsiteY2062" fmla="*/ 3128404 h 4749526"/>
              <a:gd name="connsiteX2063" fmla="*/ 5933489 w 7402822"/>
              <a:gd name="connsiteY2063" fmla="*/ 3134475 h 4749526"/>
              <a:gd name="connsiteX2064" fmla="*/ 5933489 w 7402822"/>
              <a:gd name="connsiteY2064" fmla="*/ 3149654 h 4749526"/>
              <a:gd name="connsiteX2065" fmla="*/ 5927417 w 7402822"/>
              <a:gd name="connsiteY2065" fmla="*/ 3152690 h 4749526"/>
              <a:gd name="connsiteX2066" fmla="*/ 5915275 w 7402822"/>
              <a:gd name="connsiteY2066" fmla="*/ 3167869 h 4749526"/>
              <a:gd name="connsiteX2067" fmla="*/ 5900096 w 7402822"/>
              <a:gd name="connsiteY2067" fmla="*/ 3183048 h 4749526"/>
              <a:gd name="connsiteX2068" fmla="*/ 5887953 w 7402822"/>
              <a:gd name="connsiteY2068" fmla="*/ 3189120 h 4749526"/>
              <a:gd name="connsiteX2069" fmla="*/ 5884917 w 7402822"/>
              <a:gd name="connsiteY2069" fmla="*/ 3192155 h 4749526"/>
              <a:gd name="connsiteX2070" fmla="*/ 5897061 w 7402822"/>
              <a:gd name="connsiteY2070" fmla="*/ 3173941 h 4749526"/>
              <a:gd name="connsiteX2071" fmla="*/ 5900096 w 7402822"/>
              <a:gd name="connsiteY2071" fmla="*/ 3173941 h 4749526"/>
              <a:gd name="connsiteX2072" fmla="*/ 5906168 w 7402822"/>
              <a:gd name="connsiteY2072" fmla="*/ 3170904 h 4749526"/>
              <a:gd name="connsiteX2073" fmla="*/ 5912240 w 7402822"/>
              <a:gd name="connsiteY2073" fmla="*/ 3161797 h 4749526"/>
              <a:gd name="connsiteX2074" fmla="*/ 5921347 w 7402822"/>
              <a:gd name="connsiteY2074" fmla="*/ 3152690 h 4749526"/>
              <a:gd name="connsiteX2075" fmla="*/ 5930454 w 7402822"/>
              <a:gd name="connsiteY2075" fmla="*/ 3143583 h 4749526"/>
              <a:gd name="connsiteX2076" fmla="*/ 5927417 w 7402822"/>
              <a:gd name="connsiteY2076" fmla="*/ 3137511 h 4749526"/>
              <a:gd name="connsiteX2077" fmla="*/ 5930454 w 7402822"/>
              <a:gd name="connsiteY2077" fmla="*/ 3131439 h 4749526"/>
              <a:gd name="connsiteX2078" fmla="*/ 6030635 w 7402822"/>
              <a:gd name="connsiteY2078" fmla="*/ 3125368 h 4749526"/>
              <a:gd name="connsiteX2079" fmla="*/ 6039743 w 7402822"/>
              <a:gd name="connsiteY2079" fmla="*/ 3128404 h 4749526"/>
              <a:gd name="connsiteX2080" fmla="*/ 6045815 w 7402822"/>
              <a:gd name="connsiteY2080" fmla="*/ 3137511 h 4749526"/>
              <a:gd name="connsiteX2081" fmla="*/ 6048851 w 7402822"/>
              <a:gd name="connsiteY2081" fmla="*/ 3149654 h 4749526"/>
              <a:gd name="connsiteX2082" fmla="*/ 6048851 w 7402822"/>
              <a:gd name="connsiteY2082" fmla="*/ 3152690 h 4749526"/>
              <a:gd name="connsiteX2083" fmla="*/ 6045815 w 7402822"/>
              <a:gd name="connsiteY2083" fmla="*/ 3158762 h 4749526"/>
              <a:gd name="connsiteX2084" fmla="*/ 6042779 w 7402822"/>
              <a:gd name="connsiteY2084" fmla="*/ 3155725 h 4749526"/>
              <a:gd name="connsiteX2085" fmla="*/ 6039743 w 7402822"/>
              <a:gd name="connsiteY2085" fmla="*/ 3152690 h 4749526"/>
              <a:gd name="connsiteX2086" fmla="*/ 6033671 w 7402822"/>
              <a:gd name="connsiteY2086" fmla="*/ 3140546 h 4749526"/>
              <a:gd name="connsiteX2087" fmla="*/ 6030635 w 7402822"/>
              <a:gd name="connsiteY2087" fmla="*/ 3131439 h 4749526"/>
              <a:gd name="connsiteX2088" fmla="*/ 5982062 w 7402822"/>
              <a:gd name="connsiteY2088" fmla="*/ 3119296 h 4749526"/>
              <a:gd name="connsiteX2089" fmla="*/ 5988134 w 7402822"/>
              <a:gd name="connsiteY2089" fmla="*/ 3122332 h 4749526"/>
              <a:gd name="connsiteX2090" fmla="*/ 5991171 w 7402822"/>
              <a:gd name="connsiteY2090" fmla="*/ 3122332 h 4749526"/>
              <a:gd name="connsiteX2091" fmla="*/ 6003313 w 7402822"/>
              <a:gd name="connsiteY2091" fmla="*/ 3125368 h 4749526"/>
              <a:gd name="connsiteX2092" fmla="*/ 6006349 w 7402822"/>
              <a:gd name="connsiteY2092" fmla="*/ 3128404 h 4749526"/>
              <a:gd name="connsiteX2093" fmla="*/ 6006349 w 7402822"/>
              <a:gd name="connsiteY2093" fmla="*/ 3134475 h 4749526"/>
              <a:gd name="connsiteX2094" fmla="*/ 5997241 w 7402822"/>
              <a:gd name="connsiteY2094" fmla="*/ 3143583 h 4749526"/>
              <a:gd name="connsiteX2095" fmla="*/ 5982062 w 7402822"/>
              <a:gd name="connsiteY2095" fmla="*/ 3149654 h 4749526"/>
              <a:gd name="connsiteX2096" fmla="*/ 5982062 w 7402822"/>
              <a:gd name="connsiteY2096" fmla="*/ 3143583 h 4749526"/>
              <a:gd name="connsiteX2097" fmla="*/ 5985099 w 7402822"/>
              <a:gd name="connsiteY2097" fmla="*/ 3128404 h 4749526"/>
              <a:gd name="connsiteX2098" fmla="*/ 5982062 w 7402822"/>
              <a:gd name="connsiteY2098" fmla="*/ 3122332 h 4749526"/>
              <a:gd name="connsiteX2099" fmla="*/ 5979027 w 7402822"/>
              <a:gd name="connsiteY2099" fmla="*/ 3122332 h 4749526"/>
              <a:gd name="connsiteX2100" fmla="*/ 5939561 w 7402822"/>
              <a:gd name="connsiteY2100" fmla="*/ 3110189 h 4749526"/>
              <a:gd name="connsiteX2101" fmla="*/ 5948669 w 7402822"/>
              <a:gd name="connsiteY2101" fmla="*/ 3113224 h 4749526"/>
              <a:gd name="connsiteX2102" fmla="*/ 5948669 w 7402822"/>
              <a:gd name="connsiteY2102" fmla="*/ 3116260 h 4749526"/>
              <a:gd name="connsiteX2103" fmla="*/ 5939561 w 7402822"/>
              <a:gd name="connsiteY2103" fmla="*/ 3116260 h 4749526"/>
              <a:gd name="connsiteX2104" fmla="*/ 6030635 w 7402822"/>
              <a:gd name="connsiteY2104" fmla="*/ 3104117 h 4749526"/>
              <a:gd name="connsiteX2105" fmla="*/ 6042779 w 7402822"/>
              <a:gd name="connsiteY2105" fmla="*/ 3107153 h 4749526"/>
              <a:gd name="connsiteX2106" fmla="*/ 6051885 w 7402822"/>
              <a:gd name="connsiteY2106" fmla="*/ 3110189 h 4749526"/>
              <a:gd name="connsiteX2107" fmla="*/ 6054922 w 7402822"/>
              <a:gd name="connsiteY2107" fmla="*/ 3110189 h 4749526"/>
              <a:gd name="connsiteX2108" fmla="*/ 6054922 w 7402822"/>
              <a:gd name="connsiteY2108" fmla="*/ 3113224 h 4749526"/>
              <a:gd name="connsiteX2109" fmla="*/ 6054922 w 7402822"/>
              <a:gd name="connsiteY2109" fmla="*/ 3122332 h 4749526"/>
              <a:gd name="connsiteX2110" fmla="*/ 6060994 w 7402822"/>
              <a:gd name="connsiteY2110" fmla="*/ 3137511 h 4749526"/>
              <a:gd name="connsiteX2111" fmla="*/ 6051885 w 7402822"/>
              <a:gd name="connsiteY2111" fmla="*/ 3134475 h 4749526"/>
              <a:gd name="connsiteX2112" fmla="*/ 6048851 w 7402822"/>
              <a:gd name="connsiteY2112" fmla="*/ 3134475 h 4749526"/>
              <a:gd name="connsiteX2113" fmla="*/ 6042779 w 7402822"/>
              <a:gd name="connsiteY2113" fmla="*/ 3128404 h 4749526"/>
              <a:gd name="connsiteX2114" fmla="*/ 6042779 w 7402822"/>
              <a:gd name="connsiteY2114" fmla="*/ 3122332 h 4749526"/>
              <a:gd name="connsiteX2115" fmla="*/ 6033671 w 7402822"/>
              <a:gd name="connsiteY2115" fmla="*/ 3113224 h 4749526"/>
              <a:gd name="connsiteX2116" fmla="*/ 6009385 w 7402822"/>
              <a:gd name="connsiteY2116" fmla="*/ 3104117 h 4749526"/>
              <a:gd name="connsiteX2117" fmla="*/ 6021529 w 7402822"/>
              <a:gd name="connsiteY2117" fmla="*/ 3110189 h 4749526"/>
              <a:gd name="connsiteX2118" fmla="*/ 6024564 w 7402822"/>
              <a:gd name="connsiteY2118" fmla="*/ 3116260 h 4749526"/>
              <a:gd name="connsiteX2119" fmla="*/ 6024564 w 7402822"/>
              <a:gd name="connsiteY2119" fmla="*/ 3122332 h 4749526"/>
              <a:gd name="connsiteX2120" fmla="*/ 6012420 w 7402822"/>
              <a:gd name="connsiteY2120" fmla="*/ 3113224 h 4749526"/>
              <a:gd name="connsiteX2121" fmla="*/ 6009385 w 7402822"/>
              <a:gd name="connsiteY2121" fmla="*/ 3107153 h 4749526"/>
              <a:gd name="connsiteX2122" fmla="*/ 4570414 w 7402822"/>
              <a:gd name="connsiteY2122" fmla="*/ 3101083 h 4749526"/>
              <a:gd name="connsiteX2123" fmla="*/ 4579521 w 7402822"/>
              <a:gd name="connsiteY2123" fmla="*/ 3101083 h 4749526"/>
              <a:gd name="connsiteX2124" fmla="*/ 4591665 w 7402822"/>
              <a:gd name="connsiteY2124" fmla="*/ 3107155 h 4749526"/>
              <a:gd name="connsiteX2125" fmla="*/ 4576485 w 7402822"/>
              <a:gd name="connsiteY2125" fmla="*/ 3110190 h 4749526"/>
              <a:gd name="connsiteX2126" fmla="*/ 4564342 w 7402822"/>
              <a:gd name="connsiteY2126" fmla="*/ 3107155 h 4749526"/>
              <a:gd name="connsiteX2127" fmla="*/ 5948669 w 7402822"/>
              <a:gd name="connsiteY2127" fmla="*/ 3085902 h 4749526"/>
              <a:gd name="connsiteX2128" fmla="*/ 5954741 w 7402822"/>
              <a:gd name="connsiteY2128" fmla="*/ 3085902 h 4749526"/>
              <a:gd name="connsiteX2129" fmla="*/ 5966883 w 7402822"/>
              <a:gd name="connsiteY2129" fmla="*/ 3088938 h 4749526"/>
              <a:gd name="connsiteX2130" fmla="*/ 5972955 w 7402822"/>
              <a:gd name="connsiteY2130" fmla="*/ 3091974 h 4749526"/>
              <a:gd name="connsiteX2131" fmla="*/ 5972955 w 7402822"/>
              <a:gd name="connsiteY2131" fmla="*/ 3098045 h 4749526"/>
              <a:gd name="connsiteX2132" fmla="*/ 5969919 w 7402822"/>
              <a:gd name="connsiteY2132" fmla="*/ 3110189 h 4749526"/>
              <a:gd name="connsiteX2133" fmla="*/ 5966883 w 7402822"/>
              <a:gd name="connsiteY2133" fmla="*/ 3113224 h 4749526"/>
              <a:gd name="connsiteX2134" fmla="*/ 5960812 w 7402822"/>
              <a:gd name="connsiteY2134" fmla="*/ 3107153 h 4749526"/>
              <a:gd name="connsiteX2135" fmla="*/ 5957775 w 7402822"/>
              <a:gd name="connsiteY2135" fmla="*/ 3098045 h 4749526"/>
              <a:gd name="connsiteX2136" fmla="*/ 5954741 w 7402822"/>
              <a:gd name="connsiteY2136" fmla="*/ 3091974 h 4749526"/>
              <a:gd name="connsiteX2137" fmla="*/ 5951705 w 7402822"/>
              <a:gd name="connsiteY2137" fmla="*/ 3091974 h 4749526"/>
              <a:gd name="connsiteX2138" fmla="*/ 5380972 w 7402822"/>
              <a:gd name="connsiteY2138" fmla="*/ 3085901 h 4749526"/>
              <a:gd name="connsiteX2139" fmla="*/ 5387044 w 7402822"/>
              <a:gd name="connsiteY2139" fmla="*/ 3085901 h 4749526"/>
              <a:gd name="connsiteX2140" fmla="*/ 5384009 w 7402822"/>
              <a:gd name="connsiteY2140" fmla="*/ 3095008 h 4749526"/>
              <a:gd name="connsiteX2141" fmla="*/ 5380972 w 7402822"/>
              <a:gd name="connsiteY2141" fmla="*/ 3110187 h 4749526"/>
              <a:gd name="connsiteX2142" fmla="*/ 5380972 w 7402822"/>
              <a:gd name="connsiteY2142" fmla="*/ 3119294 h 4749526"/>
              <a:gd name="connsiteX2143" fmla="*/ 5377937 w 7402822"/>
              <a:gd name="connsiteY2143" fmla="*/ 3128402 h 4749526"/>
              <a:gd name="connsiteX2144" fmla="*/ 5374902 w 7402822"/>
              <a:gd name="connsiteY2144" fmla="*/ 3122330 h 4749526"/>
              <a:gd name="connsiteX2145" fmla="*/ 5377937 w 7402822"/>
              <a:gd name="connsiteY2145" fmla="*/ 3113222 h 4749526"/>
              <a:gd name="connsiteX2146" fmla="*/ 5380972 w 7402822"/>
              <a:gd name="connsiteY2146" fmla="*/ 3095008 h 4749526"/>
              <a:gd name="connsiteX2147" fmla="*/ 6027599 w 7402822"/>
              <a:gd name="connsiteY2147" fmla="*/ 3073759 h 4749526"/>
              <a:gd name="connsiteX2148" fmla="*/ 6030635 w 7402822"/>
              <a:gd name="connsiteY2148" fmla="*/ 3073759 h 4749526"/>
              <a:gd name="connsiteX2149" fmla="*/ 6033671 w 7402822"/>
              <a:gd name="connsiteY2149" fmla="*/ 3076794 h 4749526"/>
              <a:gd name="connsiteX2150" fmla="*/ 6030635 w 7402822"/>
              <a:gd name="connsiteY2150" fmla="*/ 3082866 h 4749526"/>
              <a:gd name="connsiteX2151" fmla="*/ 6024564 w 7402822"/>
              <a:gd name="connsiteY2151" fmla="*/ 3082866 h 4749526"/>
              <a:gd name="connsiteX2152" fmla="*/ 6027599 w 7402822"/>
              <a:gd name="connsiteY2152" fmla="*/ 3079831 h 4749526"/>
              <a:gd name="connsiteX2153" fmla="*/ 6027599 w 7402822"/>
              <a:gd name="connsiteY2153" fmla="*/ 3076794 h 4749526"/>
              <a:gd name="connsiteX2154" fmla="*/ 2203996 w 7402822"/>
              <a:gd name="connsiteY2154" fmla="*/ 3055544 h 4749526"/>
              <a:gd name="connsiteX2155" fmla="*/ 2210068 w 7402822"/>
              <a:gd name="connsiteY2155" fmla="*/ 3061615 h 4749526"/>
              <a:gd name="connsiteX2156" fmla="*/ 2210068 w 7402822"/>
              <a:gd name="connsiteY2156" fmla="*/ 3064651 h 4749526"/>
              <a:gd name="connsiteX2157" fmla="*/ 2207033 w 7402822"/>
              <a:gd name="connsiteY2157" fmla="*/ 3064651 h 4749526"/>
              <a:gd name="connsiteX2158" fmla="*/ 2975095 w 7402822"/>
              <a:gd name="connsiteY2158" fmla="*/ 3046438 h 4749526"/>
              <a:gd name="connsiteX2159" fmla="*/ 2981167 w 7402822"/>
              <a:gd name="connsiteY2159" fmla="*/ 3052510 h 4749526"/>
              <a:gd name="connsiteX2160" fmla="*/ 2978132 w 7402822"/>
              <a:gd name="connsiteY2160" fmla="*/ 3052510 h 4749526"/>
              <a:gd name="connsiteX2161" fmla="*/ 4291119 w 7402822"/>
              <a:gd name="connsiteY2161" fmla="*/ 3034295 h 4749526"/>
              <a:gd name="connsiteX2162" fmla="*/ 4300226 w 7402822"/>
              <a:gd name="connsiteY2162" fmla="*/ 3040366 h 4749526"/>
              <a:gd name="connsiteX2163" fmla="*/ 4294155 w 7402822"/>
              <a:gd name="connsiteY2163" fmla="*/ 3040366 h 4749526"/>
              <a:gd name="connsiteX2164" fmla="*/ 4291119 w 7402822"/>
              <a:gd name="connsiteY2164" fmla="*/ 3040366 h 4749526"/>
              <a:gd name="connsiteX2165" fmla="*/ 2993311 w 7402822"/>
              <a:gd name="connsiteY2165" fmla="*/ 3028224 h 4749526"/>
              <a:gd name="connsiteX2166" fmla="*/ 2996346 w 7402822"/>
              <a:gd name="connsiteY2166" fmla="*/ 3028224 h 4749526"/>
              <a:gd name="connsiteX2167" fmla="*/ 2999382 w 7402822"/>
              <a:gd name="connsiteY2167" fmla="*/ 3031259 h 4749526"/>
              <a:gd name="connsiteX2168" fmla="*/ 2993311 w 7402822"/>
              <a:gd name="connsiteY2168" fmla="*/ 3031259 h 4749526"/>
              <a:gd name="connsiteX2169" fmla="*/ 2197924 w 7402822"/>
              <a:gd name="connsiteY2169" fmla="*/ 3022150 h 4749526"/>
              <a:gd name="connsiteX2170" fmla="*/ 2200961 w 7402822"/>
              <a:gd name="connsiteY2170" fmla="*/ 3025185 h 4749526"/>
              <a:gd name="connsiteX2171" fmla="*/ 2200961 w 7402822"/>
              <a:gd name="connsiteY2171" fmla="*/ 3028221 h 4749526"/>
              <a:gd name="connsiteX2172" fmla="*/ 2194889 w 7402822"/>
              <a:gd name="connsiteY2172" fmla="*/ 3028221 h 4749526"/>
              <a:gd name="connsiteX2173" fmla="*/ 2191853 w 7402822"/>
              <a:gd name="connsiteY2173" fmla="*/ 3031257 h 4749526"/>
              <a:gd name="connsiteX2174" fmla="*/ 2191853 w 7402822"/>
              <a:gd name="connsiteY2174" fmla="*/ 3028221 h 4749526"/>
              <a:gd name="connsiteX2175" fmla="*/ 2194889 w 7402822"/>
              <a:gd name="connsiteY2175" fmla="*/ 3025185 h 4749526"/>
              <a:gd name="connsiteX2176" fmla="*/ 4327547 w 7402822"/>
              <a:gd name="connsiteY2176" fmla="*/ 3013043 h 4749526"/>
              <a:gd name="connsiteX2177" fmla="*/ 4330583 w 7402822"/>
              <a:gd name="connsiteY2177" fmla="*/ 3016078 h 4749526"/>
              <a:gd name="connsiteX2178" fmla="*/ 4333619 w 7402822"/>
              <a:gd name="connsiteY2178" fmla="*/ 3016078 h 4749526"/>
              <a:gd name="connsiteX2179" fmla="*/ 4336654 w 7402822"/>
              <a:gd name="connsiteY2179" fmla="*/ 3019114 h 4749526"/>
              <a:gd name="connsiteX2180" fmla="*/ 4330583 w 7402822"/>
              <a:gd name="connsiteY2180" fmla="*/ 3019114 h 4749526"/>
              <a:gd name="connsiteX2181" fmla="*/ 5954741 w 7402822"/>
              <a:gd name="connsiteY2181" fmla="*/ 2979649 h 4749526"/>
              <a:gd name="connsiteX2182" fmla="*/ 5975991 w 7402822"/>
              <a:gd name="connsiteY2182" fmla="*/ 2982684 h 4749526"/>
              <a:gd name="connsiteX2183" fmla="*/ 5982062 w 7402822"/>
              <a:gd name="connsiteY2183" fmla="*/ 2982684 h 4749526"/>
              <a:gd name="connsiteX2184" fmla="*/ 5985099 w 7402822"/>
              <a:gd name="connsiteY2184" fmla="*/ 2994828 h 4749526"/>
              <a:gd name="connsiteX2185" fmla="*/ 5988134 w 7402822"/>
              <a:gd name="connsiteY2185" fmla="*/ 3000899 h 4749526"/>
              <a:gd name="connsiteX2186" fmla="*/ 5988134 w 7402822"/>
              <a:gd name="connsiteY2186" fmla="*/ 3003935 h 4749526"/>
              <a:gd name="connsiteX2187" fmla="*/ 5994205 w 7402822"/>
              <a:gd name="connsiteY2187" fmla="*/ 3010007 h 4749526"/>
              <a:gd name="connsiteX2188" fmla="*/ 5991171 w 7402822"/>
              <a:gd name="connsiteY2188" fmla="*/ 3016078 h 4749526"/>
              <a:gd name="connsiteX2189" fmla="*/ 5985099 w 7402822"/>
              <a:gd name="connsiteY2189" fmla="*/ 3028222 h 4749526"/>
              <a:gd name="connsiteX2190" fmla="*/ 5975991 w 7402822"/>
              <a:gd name="connsiteY2190" fmla="*/ 3034294 h 4749526"/>
              <a:gd name="connsiteX2191" fmla="*/ 5972955 w 7402822"/>
              <a:gd name="connsiteY2191" fmla="*/ 3043401 h 4749526"/>
              <a:gd name="connsiteX2192" fmla="*/ 5972955 w 7402822"/>
              <a:gd name="connsiteY2192" fmla="*/ 3055545 h 4749526"/>
              <a:gd name="connsiteX2193" fmla="*/ 5975991 w 7402822"/>
              <a:gd name="connsiteY2193" fmla="*/ 3067687 h 4749526"/>
              <a:gd name="connsiteX2194" fmla="*/ 5982062 w 7402822"/>
              <a:gd name="connsiteY2194" fmla="*/ 3073759 h 4749526"/>
              <a:gd name="connsiteX2195" fmla="*/ 5988134 w 7402822"/>
              <a:gd name="connsiteY2195" fmla="*/ 3073759 h 4749526"/>
              <a:gd name="connsiteX2196" fmla="*/ 5988134 w 7402822"/>
              <a:gd name="connsiteY2196" fmla="*/ 3070723 h 4749526"/>
              <a:gd name="connsiteX2197" fmla="*/ 5994205 w 7402822"/>
              <a:gd name="connsiteY2197" fmla="*/ 3067687 h 4749526"/>
              <a:gd name="connsiteX2198" fmla="*/ 6003313 w 7402822"/>
              <a:gd name="connsiteY2198" fmla="*/ 3073759 h 4749526"/>
              <a:gd name="connsiteX2199" fmla="*/ 6012420 w 7402822"/>
              <a:gd name="connsiteY2199" fmla="*/ 3076794 h 4749526"/>
              <a:gd name="connsiteX2200" fmla="*/ 6018492 w 7402822"/>
              <a:gd name="connsiteY2200" fmla="*/ 3076794 h 4749526"/>
              <a:gd name="connsiteX2201" fmla="*/ 6021529 w 7402822"/>
              <a:gd name="connsiteY2201" fmla="*/ 3079831 h 4749526"/>
              <a:gd name="connsiteX2202" fmla="*/ 6021529 w 7402822"/>
              <a:gd name="connsiteY2202" fmla="*/ 3088938 h 4749526"/>
              <a:gd name="connsiteX2203" fmla="*/ 6018492 w 7402822"/>
              <a:gd name="connsiteY2203" fmla="*/ 3091974 h 4749526"/>
              <a:gd name="connsiteX2204" fmla="*/ 6027599 w 7402822"/>
              <a:gd name="connsiteY2204" fmla="*/ 3095010 h 4749526"/>
              <a:gd name="connsiteX2205" fmla="*/ 6027599 w 7402822"/>
              <a:gd name="connsiteY2205" fmla="*/ 3104117 h 4749526"/>
              <a:gd name="connsiteX2206" fmla="*/ 6018492 w 7402822"/>
              <a:gd name="connsiteY2206" fmla="*/ 3098045 h 4749526"/>
              <a:gd name="connsiteX2207" fmla="*/ 6012420 w 7402822"/>
              <a:gd name="connsiteY2207" fmla="*/ 3091974 h 4749526"/>
              <a:gd name="connsiteX2208" fmla="*/ 6006349 w 7402822"/>
              <a:gd name="connsiteY2208" fmla="*/ 3085902 h 4749526"/>
              <a:gd name="connsiteX2209" fmla="*/ 5994205 w 7402822"/>
              <a:gd name="connsiteY2209" fmla="*/ 3076794 h 4749526"/>
              <a:gd name="connsiteX2210" fmla="*/ 5991171 w 7402822"/>
              <a:gd name="connsiteY2210" fmla="*/ 3076794 h 4749526"/>
              <a:gd name="connsiteX2211" fmla="*/ 5994205 w 7402822"/>
              <a:gd name="connsiteY2211" fmla="*/ 3082866 h 4749526"/>
              <a:gd name="connsiteX2212" fmla="*/ 5988134 w 7402822"/>
              <a:gd name="connsiteY2212" fmla="*/ 3082866 h 4749526"/>
              <a:gd name="connsiteX2213" fmla="*/ 5985099 w 7402822"/>
              <a:gd name="connsiteY2213" fmla="*/ 3079831 h 4749526"/>
              <a:gd name="connsiteX2214" fmla="*/ 5975991 w 7402822"/>
              <a:gd name="connsiteY2214" fmla="*/ 3076794 h 4749526"/>
              <a:gd name="connsiteX2215" fmla="*/ 5972955 w 7402822"/>
              <a:gd name="connsiteY2215" fmla="*/ 3076794 h 4749526"/>
              <a:gd name="connsiteX2216" fmla="*/ 5972955 w 7402822"/>
              <a:gd name="connsiteY2216" fmla="*/ 3079831 h 4749526"/>
              <a:gd name="connsiteX2217" fmla="*/ 5966883 w 7402822"/>
              <a:gd name="connsiteY2217" fmla="*/ 3079831 h 4749526"/>
              <a:gd name="connsiteX2218" fmla="*/ 5960812 w 7402822"/>
              <a:gd name="connsiteY2218" fmla="*/ 3079831 h 4749526"/>
              <a:gd name="connsiteX2219" fmla="*/ 5960812 w 7402822"/>
              <a:gd name="connsiteY2219" fmla="*/ 3076794 h 4749526"/>
              <a:gd name="connsiteX2220" fmla="*/ 5954741 w 7402822"/>
              <a:gd name="connsiteY2220" fmla="*/ 3076794 h 4749526"/>
              <a:gd name="connsiteX2221" fmla="*/ 5954741 w 7402822"/>
              <a:gd name="connsiteY2221" fmla="*/ 3070723 h 4749526"/>
              <a:gd name="connsiteX2222" fmla="*/ 5960812 w 7402822"/>
              <a:gd name="connsiteY2222" fmla="*/ 3064652 h 4749526"/>
              <a:gd name="connsiteX2223" fmla="*/ 5960812 w 7402822"/>
              <a:gd name="connsiteY2223" fmla="*/ 3061615 h 4749526"/>
              <a:gd name="connsiteX2224" fmla="*/ 5954741 w 7402822"/>
              <a:gd name="connsiteY2224" fmla="*/ 3058580 h 4749526"/>
              <a:gd name="connsiteX2225" fmla="*/ 5954741 w 7402822"/>
              <a:gd name="connsiteY2225" fmla="*/ 3064652 h 4749526"/>
              <a:gd name="connsiteX2226" fmla="*/ 5951705 w 7402822"/>
              <a:gd name="connsiteY2226" fmla="*/ 3064652 h 4749526"/>
              <a:gd name="connsiteX2227" fmla="*/ 5945633 w 7402822"/>
              <a:gd name="connsiteY2227" fmla="*/ 3058580 h 4749526"/>
              <a:gd name="connsiteX2228" fmla="*/ 5942597 w 7402822"/>
              <a:gd name="connsiteY2228" fmla="*/ 3043401 h 4749526"/>
              <a:gd name="connsiteX2229" fmla="*/ 5936526 w 7402822"/>
              <a:gd name="connsiteY2229" fmla="*/ 3028222 h 4749526"/>
              <a:gd name="connsiteX2230" fmla="*/ 5939561 w 7402822"/>
              <a:gd name="connsiteY2230" fmla="*/ 3025186 h 4749526"/>
              <a:gd name="connsiteX2231" fmla="*/ 5939561 w 7402822"/>
              <a:gd name="connsiteY2231" fmla="*/ 3028222 h 4749526"/>
              <a:gd name="connsiteX2232" fmla="*/ 5948669 w 7402822"/>
              <a:gd name="connsiteY2232" fmla="*/ 3031257 h 4749526"/>
              <a:gd name="connsiteX2233" fmla="*/ 5951705 w 7402822"/>
              <a:gd name="connsiteY2233" fmla="*/ 3019114 h 4749526"/>
              <a:gd name="connsiteX2234" fmla="*/ 5951705 w 7402822"/>
              <a:gd name="connsiteY2234" fmla="*/ 3006971 h 4749526"/>
              <a:gd name="connsiteX2235" fmla="*/ 5948669 w 7402822"/>
              <a:gd name="connsiteY2235" fmla="*/ 2994828 h 4749526"/>
              <a:gd name="connsiteX2236" fmla="*/ 5951705 w 7402822"/>
              <a:gd name="connsiteY2236" fmla="*/ 2985721 h 4749526"/>
              <a:gd name="connsiteX2237" fmla="*/ 1857915 w 7402822"/>
              <a:gd name="connsiteY2237" fmla="*/ 2979649 h 4749526"/>
              <a:gd name="connsiteX2238" fmla="*/ 1863987 w 7402822"/>
              <a:gd name="connsiteY2238" fmla="*/ 2979649 h 4749526"/>
              <a:gd name="connsiteX2239" fmla="*/ 1891309 w 7402822"/>
              <a:gd name="connsiteY2239" fmla="*/ 2985721 h 4749526"/>
              <a:gd name="connsiteX2240" fmla="*/ 1891309 w 7402822"/>
              <a:gd name="connsiteY2240" fmla="*/ 2988756 h 4749526"/>
              <a:gd name="connsiteX2241" fmla="*/ 1891309 w 7402822"/>
              <a:gd name="connsiteY2241" fmla="*/ 2991793 h 4749526"/>
              <a:gd name="connsiteX2242" fmla="*/ 1885237 w 7402822"/>
              <a:gd name="connsiteY2242" fmla="*/ 2991793 h 4749526"/>
              <a:gd name="connsiteX2243" fmla="*/ 1882202 w 7402822"/>
              <a:gd name="connsiteY2243" fmla="*/ 2988756 h 4749526"/>
              <a:gd name="connsiteX2244" fmla="*/ 1876130 w 7402822"/>
              <a:gd name="connsiteY2244" fmla="*/ 2991793 h 4749526"/>
              <a:gd name="connsiteX2245" fmla="*/ 1873095 w 7402822"/>
              <a:gd name="connsiteY2245" fmla="*/ 2994828 h 4749526"/>
              <a:gd name="connsiteX2246" fmla="*/ 1870058 w 7402822"/>
              <a:gd name="connsiteY2246" fmla="*/ 2991793 h 4749526"/>
              <a:gd name="connsiteX2247" fmla="*/ 1867023 w 7402822"/>
              <a:gd name="connsiteY2247" fmla="*/ 2991793 h 4749526"/>
              <a:gd name="connsiteX2248" fmla="*/ 1860951 w 7402822"/>
              <a:gd name="connsiteY2248" fmla="*/ 2991793 h 4749526"/>
              <a:gd name="connsiteX2249" fmla="*/ 1848808 w 7402822"/>
              <a:gd name="connsiteY2249" fmla="*/ 2982685 h 4749526"/>
              <a:gd name="connsiteX2250" fmla="*/ 2082565 w 7402822"/>
              <a:gd name="connsiteY2250" fmla="*/ 2976614 h 4749526"/>
              <a:gd name="connsiteX2251" fmla="*/ 2085601 w 7402822"/>
              <a:gd name="connsiteY2251" fmla="*/ 2979649 h 4749526"/>
              <a:gd name="connsiteX2252" fmla="*/ 2088636 w 7402822"/>
              <a:gd name="connsiteY2252" fmla="*/ 2979649 h 4749526"/>
              <a:gd name="connsiteX2253" fmla="*/ 2097744 w 7402822"/>
              <a:gd name="connsiteY2253" fmla="*/ 2979649 h 4749526"/>
              <a:gd name="connsiteX2254" fmla="*/ 2109887 w 7402822"/>
              <a:gd name="connsiteY2254" fmla="*/ 2979649 h 4749526"/>
              <a:gd name="connsiteX2255" fmla="*/ 2112924 w 7402822"/>
              <a:gd name="connsiteY2255" fmla="*/ 2982685 h 4749526"/>
              <a:gd name="connsiteX2256" fmla="*/ 2106852 w 7402822"/>
              <a:gd name="connsiteY2256" fmla="*/ 2988756 h 4749526"/>
              <a:gd name="connsiteX2257" fmla="*/ 2097744 w 7402822"/>
              <a:gd name="connsiteY2257" fmla="*/ 2991793 h 4749526"/>
              <a:gd name="connsiteX2258" fmla="*/ 2082565 w 7402822"/>
              <a:gd name="connsiteY2258" fmla="*/ 2991793 h 4749526"/>
              <a:gd name="connsiteX2259" fmla="*/ 2079529 w 7402822"/>
              <a:gd name="connsiteY2259" fmla="*/ 2988756 h 4749526"/>
              <a:gd name="connsiteX2260" fmla="*/ 2079529 w 7402822"/>
              <a:gd name="connsiteY2260" fmla="*/ 2982685 h 4749526"/>
              <a:gd name="connsiteX2261" fmla="*/ 1964168 w 7402822"/>
              <a:gd name="connsiteY2261" fmla="*/ 2946255 h 4749526"/>
              <a:gd name="connsiteX2262" fmla="*/ 1973276 w 7402822"/>
              <a:gd name="connsiteY2262" fmla="*/ 2949291 h 4749526"/>
              <a:gd name="connsiteX2263" fmla="*/ 1979347 w 7402822"/>
              <a:gd name="connsiteY2263" fmla="*/ 2952327 h 4749526"/>
              <a:gd name="connsiteX2264" fmla="*/ 1985419 w 7402822"/>
              <a:gd name="connsiteY2264" fmla="*/ 2949291 h 4749526"/>
              <a:gd name="connsiteX2265" fmla="*/ 1994526 w 7402822"/>
              <a:gd name="connsiteY2265" fmla="*/ 2949291 h 4749526"/>
              <a:gd name="connsiteX2266" fmla="*/ 2003635 w 7402822"/>
              <a:gd name="connsiteY2266" fmla="*/ 2949291 h 4749526"/>
              <a:gd name="connsiteX2267" fmla="*/ 2012742 w 7402822"/>
              <a:gd name="connsiteY2267" fmla="*/ 2952327 h 4749526"/>
              <a:gd name="connsiteX2268" fmla="*/ 2021849 w 7402822"/>
              <a:gd name="connsiteY2268" fmla="*/ 2955363 h 4749526"/>
              <a:gd name="connsiteX2269" fmla="*/ 2027921 w 7402822"/>
              <a:gd name="connsiteY2269" fmla="*/ 2961435 h 4749526"/>
              <a:gd name="connsiteX2270" fmla="*/ 2027921 w 7402822"/>
              <a:gd name="connsiteY2270" fmla="*/ 2964470 h 4749526"/>
              <a:gd name="connsiteX2271" fmla="*/ 2037028 w 7402822"/>
              <a:gd name="connsiteY2271" fmla="*/ 2967506 h 4749526"/>
              <a:gd name="connsiteX2272" fmla="*/ 2046135 w 7402822"/>
              <a:gd name="connsiteY2272" fmla="*/ 2967506 h 4749526"/>
              <a:gd name="connsiteX2273" fmla="*/ 2052207 w 7402822"/>
              <a:gd name="connsiteY2273" fmla="*/ 2973577 h 4749526"/>
              <a:gd name="connsiteX2274" fmla="*/ 2052207 w 7402822"/>
              <a:gd name="connsiteY2274" fmla="*/ 2982685 h 4749526"/>
              <a:gd name="connsiteX2275" fmla="*/ 2046135 w 7402822"/>
              <a:gd name="connsiteY2275" fmla="*/ 2982685 h 4749526"/>
              <a:gd name="connsiteX2276" fmla="*/ 2043100 w 7402822"/>
              <a:gd name="connsiteY2276" fmla="*/ 2979649 h 4749526"/>
              <a:gd name="connsiteX2277" fmla="*/ 2033992 w 7402822"/>
              <a:gd name="connsiteY2277" fmla="*/ 2979649 h 4749526"/>
              <a:gd name="connsiteX2278" fmla="*/ 2027921 w 7402822"/>
              <a:gd name="connsiteY2278" fmla="*/ 2979649 h 4749526"/>
              <a:gd name="connsiteX2279" fmla="*/ 2021849 w 7402822"/>
              <a:gd name="connsiteY2279" fmla="*/ 2979649 h 4749526"/>
              <a:gd name="connsiteX2280" fmla="*/ 2015777 w 7402822"/>
              <a:gd name="connsiteY2280" fmla="*/ 2982685 h 4749526"/>
              <a:gd name="connsiteX2281" fmla="*/ 2009705 w 7402822"/>
              <a:gd name="connsiteY2281" fmla="*/ 2982685 h 4749526"/>
              <a:gd name="connsiteX2282" fmla="*/ 2003635 w 7402822"/>
              <a:gd name="connsiteY2282" fmla="*/ 2982685 h 4749526"/>
              <a:gd name="connsiteX2283" fmla="*/ 2000598 w 7402822"/>
              <a:gd name="connsiteY2283" fmla="*/ 2982685 h 4749526"/>
              <a:gd name="connsiteX2284" fmla="*/ 1994526 w 7402822"/>
              <a:gd name="connsiteY2284" fmla="*/ 2991793 h 4749526"/>
              <a:gd name="connsiteX2285" fmla="*/ 1991491 w 7402822"/>
              <a:gd name="connsiteY2285" fmla="*/ 2997865 h 4749526"/>
              <a:gd name="connsiteX2286" fmla="*/ 1988455 w 7402822"/>
              <a:gd name="connsiteY2286" fmla="*/ 2991793 h 4749526"/>
              <a:gd name="connsiteX2287" fmla="*/ 1985419 w 7402822"/>
              <a:gd name="connsiteY2287" fmla="*/ 2988756 h 4749526"/>
              <a:gd name="connsiteX2288" fmla="*/ 1961133 w 7402822"/>
              <a:gd name="connsiteY2288" fmla="*/ 2985721 h 4749526"/>
              <a:gd name="connsiteX2289" fmla="*/ 1948990 w 7402822"/>
              <a:gd name="connsiteY2289" fmla="*/ 2982685 h 4749526"/>
              <a:gd name="connsiteX2290" fmla="*/ 1942918 w 7402822"/>
              <a:gd name="connsiteY2290" fmla="*/ 2985721 h 4749526"/>
              <a:gd name="connsiteX2291" fmla="*/ 1936846 w 7402822"/>
              <a:gd name="connsiteY2291" fmla="*/ 2985721 h 4749526"/>
              <a:gd name="connsiteX2292" fmla="*/ 1933811 w 7402822"/>
              <a:gd name="connsiteY2292" fmla="*/ 2982685 h 4749526"/>
              <a:gd name="connsiteX2293" fmla="*/ 1930774 w 7402822"/>
              <a:gd name="connsiteY2293" fmla="*/ 2979649 h 4749526"/>
              <a:gd name="connsiteX2294" fmla="*/ 1936846 w 7402822"/>
              <a:gd name="connsiteY2294" fmla="*/ 2976614 h 4749526"/>
              <a:gd name="connsiteX2295" fmla="*/ 1945954 w 7402822"/>
              <a:gd name="connsiteY2295" fmla="*/ 2979649 h 4749526"/>
              <a:gd name="connsiteX2296" fmla="*/ 1958097 w 7402822"/>
              <a:gd name="connsiteY2296" fmla="*/ 2979649 h 4749526"/>
              <a:gd name="connsiteX2297" fmla="*/ 1973276 w 7402822"/>
              <a:gd name="connsiteY2297" fmla="*/ 2976614 h 4749526"/>
              <a:gd name="connsiteX2298" fmla="*/ 1970240 w 7402822"/>
              <a:gd name="connsiteY2298" fmla="*/ 2973577 h 4749526"/>
              <a:gd name="connsiteX2299" fmla="*/ 1967205 w 7402822"/>
              <a:gd name="connsiteY2299" fmla="*/ 2967506 h 4749526"/>
              <a:gd name="connsiteX2300" fmla="*/ 1964168 w 7402822"/>
              <a:gd name="connsiteY2300" fmla="*/ 2961435 h 4749526"/>
              <a:gd name="connsiteX2301" fmla="*/ 1964168 w 7402822"/>
              <a:gd name="connsiteY2301" fmla="*/ 2955363 h 4749526"/>
              <a:gd name="connsiteX2302" fmla="*/ 1958097 w 7402822"/>
              <a:gd name="connsiteY2302" fmla="*/ 2955363 h 4749526"/>
              <a:gd name="connsiteX2303" fmla="*/ 1952025 w 7402822"/>
              <a:gd name="connsiteY2303" fmla="*/ 2952327 h 4749526"/>
              <a:gd name="connsiteX2304" fmla="*/ 1958097 w 7402822"/>
              <a:gd name="connsiteY2304" fmla="*/ 2949291 h 4749526"/>
              <a:gd name="connsiteX2305" fmla="*/ 5739199 w 7402822"/>
              <a:gd name="connsiteY2305" fmla="*/ 2943218 h 4749526"/>
              <a:gd name="connsiteX2306" fmla="*/ 5742235 w 7402822"/>
              <a:gd name="connsiteY2306" fmla="*/ 2943218 h 4749526"/>
              <a:gd name="connsiteX2307" fmla="*/ 5751342 w 7402822"/>
              <a:gd name="connsiteY2307" fmla="*/ 2943218 h 4749526"/>
              <a:gd name="connsiteX2308" fmla="*/ 5754378 w 7402822"/>
              <a:gd name="connsiteY2308" fmla="*/ 2949290 h 4749526"/>
              <a:gd name="connsiteX2309" fmla="*/ 5757414 w 7402822"/>
              <a:gd name="connsiteY2309" fmla="*/ 2955362 h 4749526"/>
              <a:gd name="connsiteX2310" fmla="*/ 5751342 w 7402822"/>
              <a:gd name="connsiteY2310" fmla="*/ 2958397 h 4749526"/>
              <a:gd name="connsiteX2311" fmla="*/ 5748307 w 7402822"/>
              <a:gd name="connsiteY2311" fmla="*/ 2964469 h 4749526"/>
              <a:gd name="connsiteX2312" fmla="*/ 5745271 w 7402822"/>
              <a:gd name="connsiteY2312" fmla="*/ 2970541 h 4749526"/>
              <a:gd name="connsiteX2313" fmla="*/ 5742235 w 7402822"/>
              <a:gd name="connsiteY2313" fmla="*/ 2976612 h 4749526"/>
              <a:gd name="connsiteX2314" fmla="*/ 5733128 w 7402822"/>
              <a:gd name="connsiteY2314" fmla="*/ 2979648 h 4749526"/>
              <a:gd name="connsiteX2315" fmla="*/ 5724020 w 7402822"/>
              <a:gd name="connsiteY2315" fmla="*/ 2982683 h 4749526"/>
              <a:gd name="connsiteX2316" fmla="*/ 5714912 w 7402822"/>
              <a:gd name="connsiteY2316" fmla="*/ 2979648 h 4749526"/>
              <a:gd name="connsiteX2317" fmla="*/ 5708841 w 7402822"/>
              <a:gd name="connsiteY2317" fmla="*/ 2973576 h 4749526"/>
              <a:gd name="connsiteX2318" fmla="*/ 5705805 w 7402822"/>
              <a:gd name="connsiteY2318" fmla="*/ 2967504 h 4749526"/>
              <a:gd name="connsiteX2319" fmla="*/ 5717949 w 7402822"/>
              <a:gd name="connsiteY2319" fmla="*/ 2955362 h 4749526"/>
              <a:gd name="connsiteX2320" fmla="*/ 5727056 w 7402822"/>
              <a:gd name="connsiteY2320" fmla="*/ 2946253 h 4749526"/>
              <a:gd name="connsiteX2321" fmla="*/ 5730092 w 7402822"/>
              <a:gd name="connsiteY2321" fmla="*/ 2946253 h 4749526"/>
              <a:gd name="connsiteX2322" fmla="*/ 5733128 w 7402822"/>
              <a:gd name="connsiteY2322" fmla="*/ 2946253 h 4749526"/>
              <a:gd name="connsiteX2323" fmla="*/ 5736163 w 7402822"/>
              <a:gd name="connsiteY2323" fmla="*/ 2946253 h 4749526"/>
              <a:gd name="connsiteX2324" fmla="*/ 5739199 w 7402822"/>
              <a:gd name="connsiteY2324" fmla="*/ 2946253 h 4749526"/>
              <a:gd name="connsiteX2325" fmla="*/ 251972 w 7402822"/>
              <a:gd name="connsiteY2325" fmla="*/ 2940184 h 4749526"/>
              <a:gd name="connsiteX2326" fmla="*/ 258043 w 7402822"/>
              <a:gd name="connsiteY2326" fmla="*/ 2943219 h 4749526"/>
              <a:gd name="connsiteX2327" fmla="*/ 264115 w 7402822"/>
              <a:gd name="connsiteY2327" fmla="*/ 2949291 h 4749526"/>
              <a:gd name="connsiteX2328" fmla="*/ 270187 w 7402822"/>
              <a:gd name="connsiteY2328" fmla="*/ 2958398 h 4749526"/>
              <a:gd name="connsiteX2329" fmla="*/ 264115 w 7402822"/>
              <a:gd name="connsiteY2329" fmla="*/ 2964470 h 4749526"/>
              <a:gd name="connsiteX2330" fmla="*/ 251972 w 7402822"/>
              <a:gd name="connsiteY2330" fmla="*/ 2967506 h 4749526"/>
              <a:gd name="connsiteX2331" fmla="*/ 248936 w 7402822"/>
              <a:gd name="connsiteY2331" fmla="*/ 2958398 h 4749526"/>
              <a:gd name="connsiteX2332" fmla="*/ 4679702 w 7402822"/>
              <a:gd name="connsiteY2332" fmla="*/ 2931075 h 4749526"/>
              <a:gd name="connsiteX2333" fmla="*/ 4679702 w 7402822"/>
              <a:gd name="connsiteY2333" fmla="*/ 2934111 h 4749526"/>
              <a:gd name="connsiteX2334" fmla="*/ 4679702 w 7402822"/>
              <a:gd name="connsiteY2334" fmla="*/ 2940183 h 4749526"/>
              <a:gd name="connsiteX2335" fmla="*/ 4676666 w 7402822"/>
              <a:gd name="connsiteY2335" fmla="*/ 2943218 h 4749526"/>
              <a:gd name="connsiteX2336" fmla="*/ 233757 w 7402822"/>
              <a:gd name="connsiteY2336" fmla="*/ 2925005 h 4749526"/>
              <a:gd name="connsiteX2337" fmla="*/ 239828 w 7402822"/>
              <a:gd name="connsiteY2337" fmla="*/ 2925005 h 4749526"/>
              <a:gd name="connsiteX2338" fmla="*/ 245900 w 7402822"/>
              <a:gd name="connsiteY2338" fmla="*/ 2931076 h 4749526"/>
              <a:gd name="connsiteX2339" fmla="*/ 239828 w 7402822"/>
              <a:gd name="connsiteY2339" fmla="*/ 2934112 h 4749526"/>
              <a:gd name="connsiteX2340" fmla="*/ 221614 w 7402822"/>
              <a:gd name="connsiteY2340" fmla="*/ 2918933 h 4749526"/>
              <a:gd name="connsiteX2341" fmla="*/ 230721 w 7402822"/>
              <a:gd name="connsiteY2341" fmla="*/ 2921969 h 4749526"/>
              <a:gd name="connsiteX2342" fmla="*/ 224649 w 7402822"/>
              <a:gd name="connsiteY2342" fmla="*/ 2921969 h 4749526"/>
              <a:gd name="connsiteX2343" fmla="*/ 218577 w 7402822"/>
              <a:gd name="connsiteY2343" fmla="*/ 2921969 h 4749526"/>
              <a:gd name="connsiteX2344" fmla="*/ 1961133 w 7402822"/>
              <a:gd name="connsiteY2344" fmla="*/ 2915896 h 4749526"/>
              <a:gd name="connsiteX2345" fmla="*/ 1958097 w 7402822"/>
              <a:gd name="connsiteY2345" fmla="*/ 2921968 h 4749526"/>
              <a:gd name="connsiteX2346" fmla="*/ 1952025 w 7402822"/>
              <a:gd name="connsiteY2346" fmla="*/ 2925004 h 4749526"/>
              <a:gd name="connsiteX2347" fmla="*/ 1945954 w 7402822"/>
              <a:gd name="connsiteY2347" fmla="*/ 2925004 h 4749526"/>
              <a:gd name="connsiteX2348" fmla="*/ 1945954 w 7402822"/>
              <a:gd name="connsiteY2348" fmla="*/ 2921968 h 4749526"/>
              <a:gd name="connsiteX2349" fmla="*/ 1955061 w 7402822"/>
              <a:gd name="connsiteY2349" fmla="*/ 2918932 h 4749526"/>
              <a:gd name="connsiteX2350" fmla="*/ 200363 w 7402822"/>
              <a:gd name="connsiteY2350" fmla="*/ 2909825 h 4749526"/>
              <a:gd name="connsiteX2351" fmla="*/ 206435 w 7402822"/>
              <a:gd name="connsiteY2351" fmla="*/ 2909825 h 4749526"/>
              <a:gd name="connsiteX2352" fmla="*/ 212507 w 7402822"/>
              <a:gd name="connsiteY2352" fmla="*/ 2915897 h 4749526"/>
              <a:gd name="connsiteX2353" fmla="*/ 209471 w 7402822"/>
              <a:gd name="connsiteY2353" fmla="*/ 2918933 h 4749526"/>
              <a:gd name="connsiteX2354" fmla="*/ 203398 w 7402822"/>
              <a:gd name="connsiteY2354" fmla="*/ 2915897 h 4749526"/>
              <a:gd name="connsiteX2355" fmla="*/ 200363 w 7402822"/>
              <a:gd name="connsiteY2355" fmla="*/ 2912862 h 4749526"/>
              <a:gd name="connsiteX2356" fmla="*/ 1754697 w 7402822"/>
              <a:gd name="connsiteY2356" fmla="*/ 2903753 h 4749526"/>
              <a:gd name="connsiteX2357" fmla="*/ 1760768 w 7402822"/>
              <a:gd name="connsiteY2357" fmla="*/ 2903753 h 4749526"/>
              <a:gd name="connsiteX2358" fmla="*/ 1760768 w 7402822"/>
              <a:gd name="connsiteY2358" fmla="*/ 2912861 h 4749526"/>
              <a:gd name="connsiteX2359" fmla="*/ 1751661 w 7402822"/>
              <a:gd name="connsiteY2359" fmla="*/ 2912861 h 4749526"/>
              <a:gd name="connsiteX2360" fmla="*/ 1751661 w 7402822"/>
              <a:gd name="connsiteY2360" fmla="*/ 2906789 h 4749526"/>
              <a:gd name="connsiteX2361" fmla="*/ 179112 w 7402822"/>
              <a:gd name="connsiteY2361" fmla="*/ 2897683 h 4749526"/>
              <a:gd name="connsiteX2362" fmla="*/ 179112 w 7402822"/>
              <a:gd name="connsiteY2362" fmla="*/ 2900718 h 4749526"/>
              <a:gd name="connsiteX2363" fmla="*/ 179112 w 7402822"/>
              <a:gd name="connsiteY2363" fmla="*/ 2903754 h 4749526"/>
              <a:gd name="connsiteX2364" fmla="*/ 170005 w 7402822"/>
              <a:gd name="connsiteY2364" fmla="*/ 2903754 h 4749526"/>
              <a:gd name="connsiteX2365" fmla="*/ 1942918 w 7402822"/>
              <a:gd name="connsiteY2365" fmla="*/ 2885539 h 4749526"/>
              <a:gd name="connsiteX2366" fmla="*/ 1939882 w 7402822"/>
              <a:gd name="connsiteY2366" fmla="*/ 2894646 h 4749526"/>
              <a:gd name="connsiteX2367" fmla="*/ 1933811 w 7402822"/>
              <a:gd name="connsiteY2367" fmla="*/ 2897683 h 4749526"/>
              <a:gd name="connsiteX2368" fmla="*/ 1936846 w 7402822"/>
              <a:gd name="connsiteY2368" fmla="*/ 2891611 h 4749526"/>
              <a:gd name="connsiteX2369" fmla="*/ 5341508 w 7402822"/>
              <a:gd name="connsiteY2369" fmla="*/ 2885538 h 4749526"/>
              <a:gd name="connsiteX2370" fmla="*/ 5344544 w 7402822"/>
              <a:gd name="connsiteY2370" fmla="*/ 2894645 h 4749526"/>
              <a:gd name="connsiteX2371" fmla="*/ 5341508 w 7402822"/>
              <a:gd name="connsiteY2371" fmla="*/ 2900717 h 4749526"/>
              <a:gd name="connsiteX2372" fmla="*/ 5338473 w 7402822"/>
              <a:gd name="connsiteY2372" fmla="*/ 2900717 h 4749526"/>
              <a:gd name="connsiteX2373" fmla="*/ 5335436 w 7402822"/>
              <a:gd name="connsiteY2373" fmla="*/ 2888573 h 4749526"/>
              <a:gd name="connsiteX2374" fmla="*/ 1930774 w 7402822"/>
              <a:gd name="connsiteY2374" fmla="*/ 2882503 h 4749526"/>
              <a:gd name="connsiteX2375" fmla="*/ 1939882 w 7402822"/>
              <a:gd name="connsiteY2375" fmla="*/ 2885538 h 4749526"/>
              <a:gd name="connsiteX2376" fmla="*/ 1936846 w 7402822"/>
              <a:gd name="connsiteY2376" fmla="*/ 2885538 h 4749526"/>
              <a:gd name="connsiteX2377" fmla="*/ 1766840 w 7402822"/>
              <a:gd name="connsiteY2377" fmla="*/ 2876431 h 4749526"/>
              <a:gd name="connsiteX2378" fmla="*/ 1782019 w 7402822"/>
              <a:gd name="connsiteY2378" fmla="*/ 2876431 h 4749526"/>
              <a:gd name="connsiteX2379" fmla="*/ 1794163 w 7402822"/>
              <a:gd name="connsiteY2379" fmla="*/ 2876431 h 4749526"/>
              <a:gd name="connsiteX2380" fmla="*/ 1800233 w 7402822"/>
              <a:gd name="connsiteY2380" fmla="*/ 2876431 h 4749526"/>
              <a:gd name="connsiteX2381" fmla="*/ 1806305 w 7402822"/>
              <a:gd name="connsiteY2381" fmla="*/ 2879466 h 4749526"/>
              <a:gd name="connsiteX2382" fmla="*/ 1815413 w 7402822"/>
              <a:gd name="connsiteY2382" fmla="*/ 2882503 h 4749526"/>
              <a:gd name="connsiteX2383" fmla="*/ 1824521 w 7402822"/>
              <a:gd name="connsiteY2383" fmla="*/ 2888573 h 4749526"/>
              <a:gd name="connsiteX2384" fmla="*/ 1830592 w 7402822"/>
              <a:gd name="connsiteY2384" fmla="*/ 2894645 h 4749526"/>
              <a:gd name="connsiteX2385" fmla="*/ 1839700 w 7402822"/>
              <a:gd name="connsiteY2385" fmla="*/ 2894645 h 4749526"/>
              <a:gd name="connsiteX2386" fmla="*/ 1848807 w 7402822"/>
              <a:gd name="connsiteY2386" fmla="*/ 2897682 h 4749526"/>
              <a:gd name="connsiteX2387" fmla="*/ 1854878 w 7402822"/>
              <a:gd name="connsiteY2387" fmla="*/ 2900717 h 4749526"/>
              <a:gd name="connsiteX2388" fmla="*/ 1863986 w 7402822"/>
              <a:gd name="connsiteY2388" fmla="*/ 2906789 h 4749526"/>
              <a:gd name="connsiteX2389" fmla="*/ 1870057 w 7402822"/>
              <a:gd name="connsiteY2389" fmla="*/ 2906789 h 4749526"/>
              <a:gd name="connsiteX2390" fmla="*/ 1873094 w 7402822"/>
              <a:gd name="connsiteY2390" fmla="*/ 2912861 h 4749526"/>
              <a:gd name="connsiteX2391" fmla="*/ 1876129 w 7402822"/>
              <a:gd name="connsiteY2391" fmla="*/ 2912861 h 4749526"/>
              <a:gd name="connsiteX2392" fmla="*/ 1882201 w 7402822"/>
              <a:gd name="connsiteY2392" fmla="*/ 2915896 h 4749526"/>
              <a:gd name="connsiteX2393" fmla="*/ 1903452 w 7402822"/>
              <a:gd name="connsiteY2393" fmla="*/ 2925004 h 4749526"/>
              <a:gd name="connsiteX2394" fmla="*/ 1906487 w 7402822"/>
              <a:gd name="connsiteY2394" fmla="*/ 2925004 h 4749526"/>
              <a:gd name="connsiteX2395" fmla="*/ 1906487 w 7402822"/>
              <a:gd name="connsiteY2395" fmla="*/ 2928040 h 4749526"/>
              <a:gd name="connsiteX2396" fmla="*/ 1918631 w 7402822"/>
              <a:gd name="connsiteY2396" fmla="*/ 2931075 h 4749526"/>
              <a:gd name="connsiteX2397" fmla="*/ 1924702 w 7402822"/>
              <a:gd name="connsiteY2397" fmla="*/ 2934111 h 4749526"/>
              <a:gd name="connsiteX2398" fmla="*/ 1927738 w 7402822"/>
              <a:gd name="connsiteY2398" fmla="*/ 2937147 h 4749526"/>
              <a:gd name="connsiteX2399" fmla="*/ 1930773 w 7402822"/>
              <a:gd name="connsiteY2399" fmla="*/ 2940183 h 4749526"/>
              <a:gd name="connsiteX2400" fmla="*/ 1933810 w 7402822"/>
              <a:gd name="connsiteY2400" fmla="*/ 2943219 h 4749526"/>
              <a:gd name="connsiteX2401" fmla="*/ 1921666 w 7402822"/>
              <a:gd name="connsiteY2401" fmla="*/ 2946254 h 4749526"/>
              <a:gd name="connsiteX2402" fmla="*/ 1915594 w 7402822"/>
              <a:gd name="connsiteY2402" fmla="*/ 2949290 h 4749526"/>
              <a:gd name="connsiteX2403" fmla="*/ 1912559 w 7402822"/>
              <a:gd name="connsiteY2403" fmla="*/ 2949290 h 4749526"/>
              <a:gd name="connsiteX2404" fmla="*/ 1900415 w 7402822"/>
              <a:gd name="connsiteY2404" fmla="*/ 2946254 h 4749526"/>
              <a:gd name="connsiteX2405" fmla="*/ 1888273 w 7402822"/>
              <a:gd name="connsiteY2405" fmla="*/ 2946254 h 4749526"/>
              <a:gd name="connsiteX2406" fmla="*/ 1860950 w 7402822"/>
              <a:gd name="connsiteY2406" fmla="*/ 2949290 h 4749526"/>
              <a:gd name="connsiteX2407" fmla="*/ 1873094 w 7402822"/>
              <a:gd name="connsiteY2407" fmla="*/ 2940183 h 4749526"/>
              <a:gd name="connsiteX2408" fmla="*/ 1873094 w 7402822"/>
              <a:gd name="connsiteY2408" fmla="*/ 2934111 h 4749526"/>
              <a:gd name="connsiteX2409" fmla="*/ 1867022 w 7402822"/>
              <a:gd name="connsiteY2409" fmla="*/ 2931075 h 4749526"/>
              <a:gd name="connsiteX2410" fmla="*/ 1860950 w 7402822"/>
              <a:gd name="connsiteY2410" fmla="*/ 2931075 h 4749526"/>
              <a:gd name="connsiteX2411" fmla="*/ 1854878 w 7402822"/>
              <a:gd name="connsiteY2411" fmla="*/ 2931075 h 4749526"/>
              <a:gd name="connsiteX2412" fmla="*/ 1848807 w 7402822"/>
              <a:gd name="connsiteY2412" fmla="*/ 2925004 h 4749526"/>
              <a:gd name="connsiteX2413" fmla="*/ 1845771 w 7402822"/>
              <a:gd name="connsiteY2413" fmla="*/ 2921968 h 4749526"/>
              <a:gd name="connsiteX2414" fmla="*/ 1842735 w 7402822"/>
              <a:gd name="connsiteY2414" fmla="*/ 2915896 h 4749526"/>
              <a:gd name="connsiteX2415" fmla="*/ 1839700 w 7402822"/>
              <a:gd name="connsiteY2415" fmla="*/ 2912861 h 4749526"/>
              <a:gd name="connsiteX2416" fmla="*/ 1833628 w 7402822"/>
              <a:gd name="connsiteY2416" fmla="*/ 2912861 h 4749526"/>
              <a:gd name="connsiteX2417" fmla="*/ 1818449 w 7402822"/>
              <a:gd name="connsiteY2417" fmla="*/ 2909824 h 4749526"/>
              <a:gd name="connsiteX2418" fmla="*/ 1806305 w 7402822"/>
              <a:gd name="connsiteY2418" fmla="*/ 2900717 h 4749526"/>
              <a:gd name="connsiteX2419" fmla="*/ 1800233 w 7402822"/>
              <a:gd name="connsiteY2419" fmla="*/ 2900717 h 4749526"/>
              <a:gd name="connsiteX2420" fmla="*/ 1794163 w 7402822"/>
              <a:gd name="connsiteY2420" fmla="*/ 2900717 h 4749526"/>
              <a:gd name="connsiteX2421" fmla="*/ 1791126 w 7402822"/>
              <a:gd name="connsiteY2421" fmla="*/ 2897682 h 4749526"/>
              <a:gd name="connsiteX2422" fmla="*/ 1782019 w 7402822"/>
              <a:gd name="connsiteY2422" fmla="*/ 2897682 h 4749526"/>
              <a:gd name="connsiteX2423" fmla="*/ 1775947 w 7402822"/>
              <a:gd name="connsiteY2423" fmla="*/ 2897682 h 4749526"/>
              <a:gd name="connsiteX2424" fmla="*/ 1772912 w 7402822"/>
              <a:gd name="connsiteY2424" fmla="*/ 2891610 h 4749526"/>
              <a:gd name="connsiteX2425" fmla="*/ 1778984 w 7402822"/>
              <a:gd name="connsiteY2425" fmla="*/ 2891610 h 4749526"/>
              <a:gd name="connsiteX2426" fmla="*/ 1775947 w 7402822"/>
              <a:gd name="connsiteY2426" fmla="*/ 2888573 h 4749526"/>
              <a:gd name="connsiteX2427" fmla="*/ 1772912 w 7402822"/>
              <a:gd name="connsiteY2427" fmla="*/ 2888573 h 4749526"/>
              <a:gd name="connsiteX2428" fmla="*/ 1766840 w 7402822"/>
              <a:gd name="connsiteY2428" fmla="*/ 2885538 h 4749526"/>
              <a:gd name="connsiteX2429" fmla="*/ 1754697 w 7402822"/>
              <a:gd name="connsiteY2429" fmla="*/ 2888573 h 4749526"/>
              <a:gd name="connsiteX2430" fmla="*/ 1751661 w 7402822"/>
              <a:gd name="connsiteY2430" fmla="*/ 2894645 h 4749526"/>
              <a:gd name="connsiteX2431" fmla="*/ 1745589 w 7402822"/>
              <a:gd name="connsiteY2431" fmla="*/ 2897682 h 4749526"/>
              <a:gd name="connsiteX2432" fmla="*/ 1736482 w 7402822"/>
              <a:gd name="connsiteY2432" fmla="*/ 2900717 h 4749526"/>
              <a:gd name="connsiteX2433" fmla="*/ 1730410 w 7402822"/>
              <a:gd name="connsiteY2433" fmla="*/ 2903753 h 4749526"/>
              <a:gd name="connsiteX2434" fmla="*/ 1727374 w 7402822"/>
              <a:gd name="connsiteY2434" fmla="*/ 2903753 h 4749526"/>
              <a:gd name="connsiteX2435" fmla="*/ 1721303 w 7402822"/>
              <a:gd name="connsiteY2435" fmla="*/ 2903753 h 4749526"/>
              <a:gd name="connsiteX2436" fmla="*/ 1715232 w 7402822"/>
              <a:gd name="connsiteY2436" fmla="*/ 2903753 h 4749526"/>
              <a:gd name="connsiteX2437" fmla="*/ 1724339 w 7402822"/>
              <a:gd name="connsiteY2437" fmla="*/ 2900717 h 4749526"/>
              <a:gd name="connsiteX2438" fmla="*/ 1724339 w 7402822"/>
              <a:gd name="connsiteY2438" fmla="*/ 2894645 h 4749526"/>
              <a:gd name="connsiteX2439" fmla="*/ 1730410 w 7402822"/>
              <a:gd name="connsiteY2439" fmla="*/ 2888573 h 4749526"/>
              <a:gd name="connsiteX2440" fmla="*/ 1742554 w 7402822"/>
              <a:gd name="connsiteY2440" fmla="*/ 2882503 h 4749526"/>
              <a:gd name="connsiteX2441" fmla="*/ 1748625 w 7402822"/>
              <a:gd name="connsiteY2441" fmla="*/ 2879466 h 4749526"/>
              <a:gd name="connsiteX2442" fmla="*/ 1754697 w 7402822"/>
              <a:gd name="connsiteY2442" fmla="*/ 2879466 h 4749526"/>
              <a:gd name="connsiteX2443" fmla="*/ 1760768 w 7402822"/>
              <a:gd name="connsiteY2443" fmla="*/ 2879466 h 4749526"/>
              <a:gd name="connsiteX2444" fmla="*/ 1912560 w 7402822"/>
              <a:gd name="connsiteY2444" fmla="*/ 2864287 h 4749526"/>
              <a:gd name="connsiteX2445" fmla="*/ 1921667 w 7402822"/>
              <a:gd name="connsiteY2445" fmla="*/ 2882503 h 4749526"/>
              <a:gd name="connsiteX2446" fmla="*/ 1915595 w 7402822"/>
              <a:gd name="connsiteY2446" fmla="*/ 2876431 h 4749526"/>
              <a:gd name="connsiteX2447" fmla="*/ 1863987 w 7402822"/>
              <a:gd name="connsiteY2447" fmla="*/ 2852144 h 4749526"/>
              <a:gd name="connsiteX2448" fmla="*/ 1863987 w 7402822"/>
              <a:gd name="connsiteY2448" fmla="*/ 2864287 h 4749526"/>
              <a:gd name="connsiteX2449" fmla="*/ 1860951 w 7402822"/>
              <a:gd name="connsiteY2449" fmla="*/ 2858216 h 4749526"/>
              <a:gd name="connsiteX2450" fmla="*/ 1894345 w 7402822"/>
              <a:gd name="connsiteY2450" fmla="*/ 2833929 h 4749526"/>
              <a:gd name="connsiteX2451" fmla="*/ 1894345 w 7402822"/>
              <a:gd name="connsiteY2451" fmla="*/ 2843037 h 4749526"/>
              <a:gd name="connsiteX2452" fmla="*/ 1891309 w 7402822"/>
              <a:gd name="connsiteY2452" fmla="*/ 2840001 h 4749526"/>
              <a:gd name="connsiteX2453" fmla="*/ 5969921 w 7402822"/>
              <a:gd name="connsiteY2453" fmla="*/ 2830894 h 4749526"/>
              <a:gd name="connsiteX2454" fmla="*/ 5975992 w 7402822"/>
              <a:gd name="connsiteY2454" fmla="*/ 2830894 h 4749526"/>
              <a:gd name="connsiteX2455" fmla="*/ 5982063 w 7402822"/>
              <a:gd name="connsiteY2455" fmla="*/ 2833929 h 4749526"/>
              <a:gd name="connsiteX2456" fmla="*/ 5982063 w 7402822"/>
              <a:gd name="connsiteY2456" fmla="*/ 2840001 h 4749526"/>
              <a:gd name="connsiteX2457" fmla="*/ 5972956 w 7402822"/>
              <a:gd name="connsiteY2457" fmla="*/ 2867323 h 4749526"/>
              <a:gd name="connsiteX2458" fmla="*/ 5963849 w 7402822"/>
              <a:gd name="connsiteY2458" fmla="*/ 2885538 h 4749526"/>
              <a:gd name="connsiteX2459" fmla="*/ 5960813 w 7402822"/>
              <a:gd name="connsiteY2459" fmla="*/ 2894645 h 4749526"/>
              <a:gd name="connsiteX2460" fmla="*/ 5954741 w 7402822"/>
              <a:gd name="connsiteY2460" fmla="*/ 2894645 h 4749526"/>
              <a:gd name="connsiteX2461" fmla="*/ 5951705 w 7402822"/>
              <a:gd name="connsiteY2461" fmla="*/ 2894645 h 4749526"/>
              <a:gd name="connsiteX2462" fmla="*/ 5948669 w 7402822"/>
              <a:gd name="connsiteY2462" fmla="*/ 2891609 h 4749526"/>
              <a:gd name="connsiteX2463" fmla="*/ 5945634 w 7402822"/>
              <a:gd name="connsiteY2463" fmla="*/ 2882502 h 4749526"/>
              <a:gd name="connsiteX2464" fmla="*/ 5942597 w 7402822"/>
              <a:gd name="connsiteY2464" fmla="*/ 2873394 h 4749526"/>
              <a:gd name="connsiteX2465" fmla="*/ 5945634 w 7402822"/>
              <a:gd name="connsiteY2465" fmla="*/ 2864287 h 4749526"/>
              <a:gd name="connsiteX2466" fmla="*/ 5948669 w 7402822"/>
              <a:gd name="connsiteY2466" fmla="*/ 2858215 h 4749526"/>
              <a:gd name="connsiteX2467" fmla="*/ 5957777 w 7402822"/>
              <a:gd name="connsiteY2467" fmla="*/ 2843036 h 4749526"/>
              <a:gd name="connsiteX2468" fmla="*/ 5966884 w 7402822"/>
              <a:gd name="connsiteY2468" fmla="*/ 2833929 h 4749526"/>
              <a:gd name="connsiteX2469" fmla="*/ 1851844 w 7402822"/>
              <a:gd name="connsiteY2469" fmla="*/ 2830894 h 4749526"/>
              <a:gd name="connsiteX2470" fmla="*/ 1860951 w 7402822"/>
              <a:gd name="connsiteY2470" fmla="*/ 2840001 h 4749526"/>
              <a:gd name="connsiteX2471" fmla="*/ 1857915 w 7402822"/>
              <a:gd name="connsiteY2471" fmla="*/ 2849108 h 4749526"/>
              <a:gd name="connsiteX2472" fmla="*/ 1851844 w 7402822"/>
              <a:gd name="connsiteY2472" fmla="*/ 2846073 h 4749526"/>
              <a:gd name="connsiteX2473" fmla="*/ 1848808 w 7402822"/>
              <a:gd name="connsiteY2473" fmla="*/ 2843037 h 4749526"/>
              <a:gd name="connsiteX2474" fmla="*/ 1882202 w 7402822"/>
              <a:gd name="connsiteY2474" fmla="*/ 2821786 h 4749526"/>
              <a:gd name="connsiteX2475" fmla="*/ 1894345 w 7402822"/>
              <a:gd name="connsiteY2475" fmla="*/ 2830894 h 4749526"/>
              <a:gd name="connsiteX2476" fmla="*/ 1894345 w 7402822"/>
              <a:gd name="connsiteY2476" fmla="*/ 2833929 h 4749526"/>
              <a:gd name="connsiteX2477" fmla="*/ 1891309 w 7402822"/>
              <a:gd name="connsiteY2477" fmla="*/ 2830894 h 4749526"/>
              <a:gd name="connsiteX2478" fmla="*/ 1888274 w 7402822"/>
              <a:gd name="connsiteY2478" fmla="*/ 2827858 h 4749526"/>
              <a:gd name="connsiteX2479" fmla="*/ 4524875 w 7402822"/>
              <a:gd name="connsiteY2479" fmla="*/ 2809643 h 4749526"/>
              <a:gd name="connsiteX2480" fmla="*/ 4530947 w 7402822"/>
              <a:gd name="connsiteY2480" fmla="*/ 2815714 h 4749526"/>
              <a:gd name="connsiteX2481" fmla="*/ 4530947 w 7402822"/>
              <a:gd name="connsiteY2481" fmla="*/ 2830894 h 4749526"/>
              <a:gd name="connsiteX2482" fmla="*/ 4527912 w 7402822"/>
              <a:gd name="connsiteY2482" fmla="*/ 2840001 h 4749526"/>
              <a:gd name="connsiteX2483" fmla="*/ 4527912 w 7402822"/>
              <a:gd name="connsiteY2483" fmla="*/ 2843036 h 4749526"/>
              <a:gd name="connsiteX2484" fmla="*/ 4518804 w 7402822"/>
              <a:gd name="connsiteY2484" fmla="*/ 2846073 h 4749526"/>
              <a:gd name="connsiteX2485" fmla="*/ 4512733 w 7402822"/>
              <a:gd name="connsiteY2485" fmla="*/ 2840001 h 4749526"/>
              <a:gd name="connsiteX2486" fmla="*/ 4512733 w 7402822"/>
              <a:gd name="connsiteY2486" fmla="*/ 2833929 h 4749526"/>
              <a:gd name="connsiteX2487" fmla="*/ 4512733 w 7402822"/>
              <a:gd name="connsiteY2487" fmla="*/ 2824822 h 4749526"/>
              <a:gd name="connsiteX2488" fmla="*/ 4518804 w 7402822"/>
              <a:gd name="connsiteY2488" fmla="*/ 2815714 h 4749526"/>
              <a:gd name="connsiteX2489" fmla="*/ 1845772 w 7402822"/>
              <a:gd name="connsiteY2489" fmla="*/ 2797500 h 4749526"/>
              <a:gd name="connsiteX2490" fmla="*/ 1851844 w 7402822"/>
              <a:gd name="connsiteY2490" fmla="*/ 2797500 h 4749526"/>
              <a:gd name="connsiteX2491" fmla="*/ 1854879 w 7402822"/>
              <a:gd name="connsiteY2491" fmla="*/ 2797500 h 4749526"/>
              <a:gd name="connsiteX2492" fmla="*/ 1842736 w 7402822"/>
              <a:gd name="connsiteY2492" fmla="*/ 2800535 h 4749526"/>
              <a:gd name="connsiteX2493" fmla="*/ 6112602 w 7402822"/>
              <a:gd name="connsiteY2493" fmla="*/ 2791428 h 4749526"/>
              <a:gd name="connsiteX2494" fmla="*/ 6109567 w 7402822"/>
              <a:gd name="connsiteY2494" fmla="*/ 2800536 h 4749526"/>
              <a:gd name="connsiteX2495" fmla="*/ 6103495 w 7402822"/>
              <a:gd name="connsiteY2495" fmla="*/ 2806607 h 4749526"/>
              <a:gd name="connsiteX2496" fmla="*/ 6100459 w 7402822"/>
              <a:gd name="connsiteY2496" fmla="*/ 2809644 h 4749526"/>
              <a:gd name="connsiteX2497" fmla="*/ 6103495 w 7402822"/>
              <a:gd name="connsiteY2497" fmla="*/ 2800536 h 4749526"/>
              <a:gd name="connsiteX2498" fmla="*/ 4615950 w 7402822"/>
              <a:gd name="connsiteY2498" fmla="*/ 2791428 h 4749526"/>
              <a:gd name="connsiteX2499" fmla="*/ 4628094 w 7402822"/>
              <a:gd name="connsiteY2499" fmla="*/ 2791428 h 4749526"/>
              <a:gd name="connsiteX2500" fmla="*/ 4615950 w 7402822"/>
              <a:gd name="connsiteY2500" fmla="*/ 2797499 h 4749526"/>
              <a:gd name="connsiteX2501" fmla="*/ 4606843 w 7402822"/>
              <a:gd name="connsiteY2501" fmla="*/ 2800535 h 4749526"/>
              <a:gd name="connsiteX2502" fmla="*/ 4606843 w 7402822"/>
              <a:gd name="connsiteY2502" fmla="*/ 2797499 h 4749526"/>
              <a:gd name="connsiteX2503" fmla="*/ 1867023 w 7402822"/>
              <a:gd name="connsiteY2503" fmla="*/ 2791428 h 4749526"/>
              <a:gd name="connsiteX2504" fmla="*/ 1876130 w 7402822"/>
              <a:gd name="connsiteY2504" fmla="*/ 2800535 h 4749526"/>
              <a:gd name="connsiteX2505" fmla="*/ 1876130 w 7402822"/>
              <a:gd name="connsiteY2505" fmla="*/ 2806607 h 4749526"/>
              <a:gd name="connsiteX2506" fmla="*/ 1873095 w 7402822"/>
              <a:gd name="connsiteY2506" fmla="*/ 2815714 h 4749526"/>
              <a:gd name="connsiteX2507" fmla="*/ 1870058 w 7402822"/>
              <a:gd name="connsiteY2507" fmla="*/ 2812679 h 4749526"/>
              <a:gd name="connsiteX2508" fmla="*/ 1873095 w 7402822"/>
              <a:gd name="connsiteY2508" fmla="*/ 2809643 h 4749526"/>
              <a:gd name="connsiteX2509" fmla="*/ 1873095 w 7402822"/>
              <a:gd name="connsiteY2509" fmla="*/ 2800535 h 4749526"/>
              <a:gd name="connsiteX2510" fmla="*/ 3142065 w 7402822"/>
              <a:gd name="connsiteY2510" fmla="*/ 2764106 h 4749526"/>
              <a:gd name="connsiteX2511" fmla="*/ 3145101 w 7402822"/>
              <a:gd name="connsiteY2511" fmla="*/ 2764106 h 4749526"/>
              <a:gd name="connsiteX2512" fmla="*/ 3148136 w 7402822"/>
              <a:gd name="connsiteY2512" fmla="*/ 2764106 h 4749526"/>
              <a:gd name="connsiteX2513" fmla="*/ 3148136 w 7402822"/>
              <a:gd name="connsiteY2513" fmla="*/ 2767143 h 4749526"/>
              <a:gd name="connsiteX2514" fmla="*/ 3145101 w 7402822"/>
              <a:gd name="connsiteY2514" fmla="*/ 2773215 h 4749526"/>
              <a:gd name="connsiteX2515" fmla="*/ 3139029 w 7402822"/>
              <a:gd name="connsiteY2515" fmla="*/ 2767143 h 4749526"/>
              <a:gd name="connsiteX2516" fmla="*/ 6142960 w 7402822"/>
              <a:gd name="connsiteY2516" fmla="*/ 2754999 h 4749526"/>
              <a:gd name="connsiteX2517" fmla="*/ 6136889 w 7402822"/>
              <a:gd name="connsiteY2517" fmla="*/ 2761071 h 4749526"/>
              <a:gd name="connsiteX2518" fmla="*/ 6133853 w 7402822"/>
              <a:gd name="connsiteY2518" fmla="*/ 2761071 h 4749526"/>
              <a:gd name="connsiteX2519" fmla="*/ 3132958 w 7402822"/>
              <a:gd name="connsiteY2519" fmla="*/ 2751964 h 4749526"/>
              <a:gd name="connsiteX2520" fmla="*/ 3129922 w 7402822"/>
              <a:gd name="connsiteY2520" fmla="*/ 2758035 h 4749526"/>
              <a:gd name="connsiteX2521" fmla="*/ 3126886 w 7402822"/>
              <a:gd name="connsiteY2521" fmla="*/ 2764106 h 4749526"/>
              <a:gd name="connsiteX2522" fmla="*/ 3123850 w 7402822"/>
              <a:gd name="connsiteY2522" fmla="*/ 2767143 h 4749526"/>
              <a:gd name="connsiteX2523" fmla="*/ 3120815 w 7402822"/>
              <a:gd name="connsiteY2523" fmla="*/ 2764106 h 4749526"/>
              <a:gd name="connsiteX2524" fmla="*/ 3117779 w 7402822"/>
              <a:gd name="connsiteY2524" fmla="*/ 2758035 h 4749526"/>
              <a:gd name="connsiteX2525" fmla="*/ 3120815 w 7402822"/>
              <a:gd name="connsiteY2525" fmla="*/ 2758035 h 4749526"/>
              <a:gd name="connsiteX2526" fmla="*/ 3178495 w 7402822"/>
              <a:gd name="connsiteY2526" fmla="*/ 2748927 h 4749526"/>
              <a:gd name="connsiteX2527" fmla="*/ 3181531 w 7402822"/>
              <a:gd name="connsiteY2527" fmla="*/ 2754999 h 4749526"/>
              <a:gd name="connsiteX2528" fmla="*/ 3178495 w 7402822"/>
              <a:gd name="connsiteY2528" fmla="*/ 2761071 h 4749526"/>
              <a:gd name="connsiteX2529" fmla="*/ 3169387 w 7402822"/>
              <a:gd name="connsiteY2529" fmla="*/ 2764106 h 4749526"/>
              <a:gd name="connsiteX2530" fmla="*/ 3175459 w 7402822"/>
              <a:gd name="connsiteY2530" fmla="*/ 2754999 h 4749526"/>
              <a:gd name="connsiteX2531" fmla="*/ 1144498 w 7402822"/>
              <a:gd name="connsiteY2531" fmla="*/ 2739820 h 4749526"/>
              <a:gd name="connsiteX2532" fmla="*/ 1150570 w 7402822"/>
              <a:gd name="connsiteY2532" fmla="*/ 2739820 h 4749526"/>
              <a:gd name="connsiteX2533" fmla="*/ 1150570 w 7402822"/>
              <a:gd name="connsiteY2533" fmla="*/ 2742856 h 4749526"/>
              <a:gd name="connsiteX2534" fmla="*/ 1144498 w 7402822"/>
              <a:gd name="connsiteY2534" fmla="*/ 2745892 h 4749526"/>
              <a:gd name="connsiteX2535" fmla="*/ 1144498 w 7402822"/>
              <a:gd name="connsiteY2535" fmla="*/ 2742856 h 4749526"/>
              <a:gd name="connsiteX2536" fmla="*/ 3187603 w 7402822"/>
              <a:gd name="connsiteY2536" fmla="*/ 2736785 h 4749526"/>
              <a:gd name="connsiteX2537" fmla="*/ 3187603 w 7402822"/>
              <a:gd name="connsiteY2537" fmla="*/ 2739820 h 4749526"/>
              <a:gd name="connsiteX2538" fmla="*/ 3184566 w 7402822"/>
              <a:gd name="connsiteY2538" fmla="*/ 2745892 h 4749526"/>
              <a:gd name="connsiteX2539" fmla="*/ 3181531 w 7402822"/>
              <a:gd name="connsiteY2539" fmla="*/ 2745892 h 4749526"/>
              <a:gd name="connsiteX2540" fmla="*/ 3181531 w 7402822"/>
              <a:gd name="connsiteY2540" fmla="*/ 2742856 h 4749526"/>
              <a:gd name="connsiteX2541" fmla="*/ 3184566 w 7402822"/>
              <a:gd name="connsiteY2541" fmla="*/ 2739820 h 4749526"/>
              <a:gd name="connsiteX2542" fmla="*/ 1123248 w 7402822"/>
              <a:gd name="connsiteY2542" fmla="*/ 2727677 h 4749526"/>
              <a:gd name="connsiteX2543" fmla="*/ 1126284 w 7402822"/>
              <a:gd name="connsiteY2543" fmla="*/ 2733749 h 4749526"/>
              <a:gd name="connsiteX2544" fmla="*/ 1132355 w 7402822"/>
              <a:gd name="connsiteY2544" fmla="*/ 2742856 h 4749526"/>
              <a:gd name="connsiteX2545" fmla="*/ 1126284 w 7402822"/>
              <a:gd name="connsiteY2545" fmla="*/ 2736785 h 4749526"/>
              <a:gd name="connsiteX2546" fmla="*/ 3111706 w 7402822"/>
              <a:gd name="connsiteY2546" fmla="*/ 2651781 h 4749526"/>
              <a:gd name="connsiteX2547" fmla="*/ 3114742 w 7402822"/>
              <a:gd name="connsiteY2547" fmla="*/ 2651781 h 4749526"/>
              <a:gd name="connsiteX2548" fmla="*/ 3120814 w 7402822"/>
              <a:gd name="connsiteY2548" fmla="*/ 2651781 h 4749526"/>
              <a:gd name="connsiteX2549" fmla="*/ 3114742 w 7402822"/>
              <a:gd name="connsiteY2549" fmla="*/ 2654816 h 4749526"/>
              <a:gd name="connsiteX2550" fmla="*/ 6082244 w 7402822"/>
              <a:gd name="connsiteY2550" fmla="*/ 2633565 h 4749526"/>
              <a:gd name="connsiteX2551" fmla="*/ 6085281 w 7402822"/>
              <a:gd name="connsiteY2551" fmla="*/ 2636602 h 4749526"/>
              <a:gd name="connsiteX2552" fmla="*/ 6079209 w 7402822"/>
              <a:gd name="connsiteY2552" fmla="*/ 2639637 h 4749526"/>
              <a:gd name="connsiteX2553" fmla="*/ 6070101 w 7402822"/>
              <a:gd name="connsiteY2553" fmla="*/ 2642673 h 4749526"/>
              <a:gd name="connsiteX2554" fmla="*/ 6161176 w 7402822"/>
              <a:gd name="connsiteY2554" fmla="*/ 2624459 h 4749526"/>
              <a:gd name="connsiteX2555" fmla="*/ 6167247 w 7402822"/>
              <a:gd name="connsiteY2555" fmla="*/ 2624459 h 4749526"/>
              <a:gd name="connsiteX2556" fmla="*/ 6167247 w 7402822"/>
              <a:gd name="connsiteY2556" fmla="*/ 2627494 h 4749526"/>
              <a:gd name="connsiteX2557" fmla="*/ 6170284 w 7402822"/>
              <a:gd name="connsiteY2557" fmla="*/ 2630531 h 4749526"/>
              <a:gd name="connsiteX2558" fmla="*/ 6176355 w 7402822"/>
              <a:gd name="connsiteY2558" fmla="*/ 2633566 h 4749526"/>
              <a:gd name="connsiteX2559" fmla="*/ 6179391 w 7402822"/>
              <a:gd name="connsiteY2559" fmla="*/ 2633566 h 4749526"/>
              <a:gd name="connsiteX2560" fmla="*/ 6182427 w 7402822"/>
              <a:gd name="connsiteY2560" fmla="*/ 2636603 h 4749526"/>
              <a:gd name="connsiteX2561" fmla="*/ 6188499 w 7402822"/>
              <a:gd name="connsiteY2561" fmla="*/ 2642674 h 4749526"/>
              <a:gd name="connsiteX2562" fmla="*/ 6188499 w 7402822"/>
              <a:gd name="connsiteY2562" fmla="*/ 2651781 h 4749526"/>
              <a:gd name="connsiteX2563" fmla="*/ 6182427 w 7402822"/>
              <a:gd name="connsiteY2563" fmla="*/ 2660889 h 4749526"/>
              <a:gd name="connsiteX2564" fmla="*/ 6179391 w 7402822"/>
              <a:gd name="connsiteY2564" fmla="*/ 2673032 h 4749526"/>
              <a:gd name="connsiteX2565" fmla="*/ 6179391 w 7402822"/>
              <a:gd name="connsiteY2565" fmla="*/ 2676068 h 4749526"/>
              <a:gd name="connsiteX2566" fmla="*/ 6179391 w 7402822"/>
              <a:gd name="connsiteY2566" fmla="*/ 2679104 h 4749526"/>
              <a:gd name="connsiteX2567" fmla="*/ 6164212 w 7402822"/>
              <a:gd name="connsiteY2567" fmla="*/ 2694283 h 4749526"/>
              <a:gd name="connsiteX2568" fmla="*/ 6161176 w 7402822"/>
              <a:gd name="connsiteY2568" fmla="*/ 2691247 h 4749526"/>
              <a:gd name="connsiteX2569" fmla="*/ 6149033 w 7402822"/>
              <a:gd name="connsiteY2569" fmla="*/ 2685175 h 4749526"/>
              <a:gd name="connsiteX2570" fmla="*/ 6155105 w 7402822"/>
              <a:gd name="connsiteY2570" fmla="*/ 2679104 h 4749526"/>
              <a:gd name="connsiteX2571" fmla="*/ 6152069 w 7402822"/>
              <a:gd name="connsiteY2571" fmla="*/ 2673032 h 4749526"/>
              <a:gd name="connsiteX2572" fmla="*/ 6155105 w 7402822"/>
              <a:gd name="connsiteY2572" fmla="*/ 2666960 h 4749526"/>
              <a:gd name="connsiteX2573" fmla="*/ 6161176 w 7402822"/>
              <a:gd name="connsiteY2573" fmla="*/ 2660889 h 4749526"/>
              <a:gd name="connsiteX2574" fmla="*/ 6161176 w 7402822"/>
              <a:gd name="connsiteY2574" fmla="*/ 2651781 h 4749526"/>
              <a:gd name="connsiteX2575" fmla="*/ 6155105 w 7402822"/>
              <a:gd name="connsiteY2575" fmla="*/ 2642674 h 4749526"/>
              <a:gd name="connsiteX2576" fmla="*/ 6149033 w 7402822"/>
              <a:gd name="connsiteY2576" fmla="*/ 2648745 h 4749526"/>
              <a:gd name="connsiteX2577" fmla="*/ 6145997 w 7402822"/>
              <a:gd name="connsiteY2577" fmla="*/ 2657853 h 4749526"/>
              <a:gd name="connsiteX2578" fmla="*/ 6142961 w 7402822"/>
              <a:gd name="connsiteY2578" fmla="*/ 2645710 h 4749526"/>
              <a:gd name="connsiteX2579" fmla="*/ 6139926 w 7402822"/>
              <a:gd name="connsiteY2579" fmla="*/ 2636603 h 4749526"/>
              <a:gd name="connsiteX2580" fmla="*/ 6149033 w 7402822"/>
              <a:gd name="connsiteY2580" fmla="*/ 2636603 h 4749526"/>
              <a:gd name="connsiteX2581" fmla="*/ 6155105 w 7402822"/>
              <a:gd name="connsiteY2581" fmla="*/ 2633566 h 4749526"/>
              <a:gd name="connsiteX2582" fmla="*/ 6155105 w 7402822"/>
              <a:gd name="connsiteY2582" fmla="*/ 2630531 h 4749526"/>
              <a:gd name="connsiteX2583" fmla="*/ 6224927 w 7402822"/>
              <a:gd name="connsiteY2583" fmla="*/ 2615352 h 4749526"/>
              <a:gd name="connsiteX2584" fmla="*/ 6234035 w 7402822"/>
              <a:gd name="connsiteY2584" fmla="*/ 2615352 h 4749526"/>
              <a:gd name="connsiteX2585" fmla="*/ 6243142 w 7402822"/>
              <a:gd name="connsiteY2585" fmla="*/ 2621424 h 4749526"/>
              <a:gd name="connsiteX2586" fmla="*/ 6246177 w 7402822"/>
              <a:gd name="connsiteY2586" fmla="*/ 2627494 h 4749526"/>
              <a:gd name="connsiteX2587" fmla="*/ 6237070 w 7402822"/>
              <a:gd name="connsiteY2587" fmla="*/ 2633566 h 4749526"/>
              <a:gd name="connsiteX2588" fmla="*/ 6221891 w 7402822"/>
              <a:gd name="connsiteY2588" fmla="*/ 2633566 h 4749526"/>
              <a:gd name="connsiteX2589" fmla="*/ 6212784 w 7402822"/>
              <a:gd name="connsiteY2589" fmla="*/ 2645710 h 4749526"/>
              <a:gd name="connsiteX2590" fmla="*/ 6206712 w 7402822"/>
              <a:gd name="connsiteY2590" fmla="*/ 2648745 h 4749526"/>
              <a:gd name="connsiteX2591" fmla="*/ 6200641 w 7402822"/>
              <a:gd name="connsiteY2591" fmla="*/ 2648745 h 4749526"/>
              <a:gd name="connsiteX2592" fmla="*/ 6200641 w 7402822"/>
              <a:gd name="connsiteY2592" fmla="*/ 2645710 h 4749526"/>
              <a:gd name="connsiteX2593" fmla="*/ 6200641 w 7402822"/>
              <a:gd name="connsiteY2593" fmla="*/ 2642674 h 4749526"/>
              <a:gd name="connsiteX2594" fmla="*/ 6197605 w 7402822"/>
              <a:gd name="connsiteY2594" fmla="*/ 2633566 h 4749526"/>
              <a:gd name="connsiteX2595" fmla="*/ 6209749 w 7402822"/>
              <a:gd name="connsiteY2595" fmla="*/ 2618387 h 4749526"/>
              <a:gd name="connsiteX2596" fmla="*/ 6212784 w 7402822"/>
              <a:gd name="connsiteY2596" fmla="*/ 2624459 h 4749526"/>
              <a:gd name="connsiteX2597" fmla="*/ 6221891 w 7402822"/>
              <a:gd name="connsiteY2597" fmla="*/ 2624459 h 4749526"/>
              <a:gd name="connsiteX2598" fmla="*/ 6133853 w 7402822"/>
              <a:gd name="connsiteY2598" fmla="*/ 2606244 h 4749526"/>
              <a:gd name="connsiteX2599" fmla="*/ 6136889 w 7402822"/>
              <a:gd name="connsiteY2599" fmla="*/ 2606244 h 4749526"/>
              <a:gd name="connsiteX2600" fmla="*/ 6136889 w 7402822"/>
              <a:gd name="connsiteY2600" fmla="*/ 2609279 h 4749526"/>
              <a:gd name="connsiteX2601" fmla="*/ 6133853 w 7402822"/>
              <a:gd name="connsiteY2601" fmla="*/ 2615351 h 4749526"/>
              <a:gd name="connsiteX2602" fmla="*/ 6133853 w 7402822"/>
              <a:gd name="connsiteY2602" fmla="*/ 2612314 h 4749526"/>
              <a:gd name="connsiteX2603" fmla="*/ 4145399 w 7402822"/>
              <a:gd name="connsiteY2603" fmla="*/ 2588029 h 4749526"/>
              <a:gd name="connsiteX2604" fmla="*/ 4151471 w 7402822"/>
              <a:gd name="connsiteY2604" fmla="*/ 2588029 h 4749526"/>
              <a:gd name="connsiteX2605" fmla="*/ 4160578 w 7402822"/>
              <a:gd name="connsiteY2605" fmla="*/ 2588029 h 4749526"/>
              <a:gd name="connsiteX2606" fmla="*/ 4163614 w 7402822"/>
              <a:gd name="connsiteY2606" fmla="*/ 2588029 h 4749526"/>
              <a:gd name="connsiteX2607" fmla="*/ 4166650 w 7402822"/>
              <a:gd name="connsiteY2607" fmla="*/ 2594101 h 4749526"/>
              <a:gd name="connsiteX2608" fmla="*/ 4169685 w 7402822"/>
              <a:gd name="connsiteY2608" fmla="*/ 2597137 h 4749526"/>
              <a:gd name="connsiteX2609" fmla="*/ 4160578 w 7402822"/>
              <a:gd name="connsiteY2609" fmla="*/ 2600173 h 4749526"/>
              <a:gd name="connsiteX2610" fmla="*/ 4157543 w 7402822"/>
              <a:gd name="connsiteY2610" fmla="*/ 2603208 h 4749526"/>
              <a:gd name="connsiteX2611" fmla="*/ 4154507 w 7402822"/>
              <a:gd name="connsiteY2611" fmla="*/ 2603208 h 4749526"/>
              <a:gd name="connsiteX2612" fmla="*/ 4151471 w 7402822"/>
              <a:gd name="connsiteY2612" fmla="*/ 2603208 h 4749526"/>
              <a:gd name="connsiteX2613" fmla="*/ 4148435 w 7402822"/>
              <a:gd name="connsiteY2613" fmla="*/ 2606245 h 4749526"/>
              <a:gd name="connsiteX2614" fmla="*/ 4145399 w 7402822"/>
              <a:gd name="connsiteY2614" fmla="*/ 2609280 h 4749526"/>
              <a:gd name="connsiteX2615" fmla="*/ 4142363 w 7402822"/>
              <a:gd name="connsiteY2615" fmla="*/ 2606245 h 4749526"/>
              <a:gd name="connsiteX2616" fmla="*/ 4133256 w 7402822"/>
              <a:gd name="connsiteY2616" fmla="*/ 2603208 h 4749526"/>
              <a:gd name="connsiteX2617" fmla="*/ 4133256 w 7402822"/>
              <a:gd name="connsiteY2617" fmla="*/ 2594101 h 4749526"/>
              <a:gd name="connsiteX2618" fmla="*/ 4139328 w 7402822"/>
              <a:gd name="connsiteY2618" fmla="*/ 2594101 h 4749526"/>
              <a:gd name="connsiteX2619" fmla="*/ 4142363 w 7402822"/>
              <a:gd name="connsiteY2619" fmla="*/ 2594101 h 4749526"/>
              <a:gd name="connsiteX2620" fmla="*/ 3951106 w 7402822"/>
              <a:gd name="connsiteY2620" fmla="*/ 2581958 h 4749526"/>
              <a:gd name="connsiteX2621" fmla="*/ 3960214 w 7402822"/>
              <a:gd name="connsiteY2621" fmla="*/ 2584994 h 4749526"/>
              <a:gd name="connsiteX2622" fmla="*/ 3966285 w 7402822"/>
              <a:gd name="connsiteY2622" fmla="*/ 2588029 h 4749526"/>
              <a:gd name="connsiteX2623" fmla="*/ 3972357 w 7402822"/>
              <a:gd name="connsiteY2623" fmla="*/ 2588029 h 4749526"/>
              <a:gd name="connsiteX2624" fmla="*/ 3975393 w 7402822"/>
              <a:gd name="connsiteY2624" fmla="*/ 2588029 h 4749526"/>
              <a:gd name="connsiteX2625" fmla="*/ 3978429 w 7402822"/>
              <a:gd name="connsiteY2625" fmla="*/ 2588029 h 4749526"/>
              <a:gd name="connsiteX2626" fmla="*/ 3981464 w 7402822"/>
              <a:gd name="connsiteY2626" fmla="*/ 2588029 h 4749526"/>
              <a:gd name="connsiteX2627" fmla="*/ 3984501 w 7402822"/>
              <a:gd name="connsiteY2627" fmla="*/ 2588029 h 4749526"/>
              <a:gd name="connsiteX2628" fmla="*/ 4005751 w 7402822"/>
              <a:gd name="connsiteY2628" fmla="*/ 2591065 h 4749526"/>
              <a:gd name="connsiteX2629" fmla="*/ 4008787 w 7402822"/>
              <a:gd name="connsiteY2629" fmla="*/ 2591065 h 4749526"/>
              <a:gd name="connsiteX2630" fmla="*/ 4008787 w 7402822"/>
              <a:gd name="connsiteY2630" fmla="*/ 2594101 h 4749526"/>
              <a:gd name="connsiteX2631" fmla="*/ 4002715 w 7402822"/>
              <a:gd name="connsiteY2631" fmla="*/ 2597137 h 4749526"/>
              <a:gd name="connsiteX2632" fmla="*/ 3987536 w 7402822"/>
              <a:gd name="connsiteY2632" fmla="*/ 2597137 h 4749526"/>
              <a:gd name="connsiteX2633" fmla="*/ 3978429 w 7402822"/>
              <a:gd name="connsiteY2633" fmla="*/ 2600173 h 4749526"/>
              <a:gd name="connsiteX2634" fmla="*/ 3975393 w 7402822"/>
              <a:gd name="connsiteY2634" fmla="*/ 2600173 h 4749526"/>
              <a:gd name="connsiteX2635" fmla="*/ 3975393 w 7402822"/>
              <a:gd name="connsiteY2635" fmla="*/ 2597137 h 4749526"/>
              <a:gd name="connsiteX2636" fmla="*/ 3963250 w 7402822"/>
              <a:gd name="connsiteY2636" fmla="*/ 2594101 h 4749526"/>
              <a:gd name="connsiteX2637" fmla="*/ 3954142 w 7402822"/>
              <a:gd name="connsiteY2637" fmla="*/ 2591065 h 4749526"/>
              <a:gd name="connsiteX2638" fmla="*/ 3951106 w 7402822"/>
              <a:gd name="connsiteY2638" fmla="*/ 2588029 h 4749526"/>
              <a:gd name="connsiteX2639" fmla="*/ 3951106 w 7402822"/>
              <a:gd name="connsiteY2639" fmla="*/ 2584994 h 4749526"/>
              <a:gd name="connsiteX2640" fmla="*/ 4027002 w 7402822"/>
              <a:gd name="connsiteY2640" fmla="*/ 2578922 h 4749526"/>
              <a:gd name="connsiteX2641" fmla="*/ 4027002 w 7402822"/>
              <a:gd name="connsiteY2641" fmla="*/ 2581958 h 4749526"/>
              <a:gd name="connsiteX2642" fmla="*/ 4027002 w 7402822"/>
              <a:gd name="connsiteY2642" fmla="*/ 2584994 h 4749526"/>
              <a:gd name="connsiteX2643" fmla="*/ 4023966 w 7402822"/>
              <a:gd name="connsiteY2643" fmla="*/ 2588029 h 4749526"/>
              <a:gd name="connsiteX2644" fmla="*/ 4023966 w 7402822"/>
              <a:gd name="connsiteY2644" fmla="*/ 2584994 h 4749526"/>
              <a:gd name="connsiteX2645" fmla="*/ 4023966 w 7402822"/>
              <a:gd name="connsiteY2645" fmla="*/ 2581958 h 4749526"/>
              <a:gd name="connsiteX2646" fmla="*/ 3354571 w 7402822"/>
              <a:gd name="connsiteY2646" fmla="*/ 2572851 h 4749526"/>
              <a:gd name="connsiteX2647" fmla="*/ 3354571 w 7402822"/>
              <a:gd name="connsiteY2647" fmla="*/ 2573040 h 4749526"/>
              <a:gd name="connsiteX2648" fmla="*/ 3354222 w 7402822"/>
              <a:gd name="connsiteY2648" fmla="*/ 2573084 h 4749526"/>
              <a:gd name="connsiteX2649" fmla="*/ 4048252 w 7402822"/>
              <a:gd name="connsiteY2649" fmla="*/ 2560707 h 4749526"/>
              <a:gd name="connsiteX2650" fmla="*/ 4048252 w 7402822"/>
              <a:gd name="connsiteY2650" fmla="*/ 2563743 h 4749526"/>
              <a:gd name="connsiteX2651" fmla="*/ 4045216 w 7402822"/>
              <a:gd name="connsiteY2651" fmla="*/ 2569815 h 4749526"/>
              <a:gd name="connsiteX2652" fmla="*/ 4039145 w 7402822"/>
              <a:gd name="connsiteY2652" fmla="*/ 2575886 h 4749526"/>
              <a:gd name="connsiteX2653" fmla="*/ 4039145 w 7402822"/>
              <a:gd name="connsiteY2653" fmla="*/ 2566779 h 4749526"/>
              <a:gd name="connsiteX2654" fmla="*/ 4023966 w 7402822"/>
              <a:gd name="connsiteY2654" fmla="*/ 2548564 h 4749526"/>
              <a:gd name="connsiteX2655" fmla="*/ 4030038 w 7402822"/>
              <a:gd name="connsiteY2655" fmla="*/ 2548564 h 4749526"/>
              <a:gd name="connsiteX2656" fmla="*/ 4020930 w 7402822"/>
              <a:gd name="connsiteY2656" fmla="*/ 2554635 h 4749526"/>
              <a:gd name="connsiteX2657" fmla="*/ 4014859 w 7402822"/>
              <a:gd name="connsiteY2657" fmla="*/ 2527314 h 4749526"/>
              <a:gd name="connsiteX2658" fmla="*/ 4020930 w 7402822"/>
              <a:gd name="connsiteY2658" fmla="*/ 2527314 h 4749526"/>
              <a:gd name="connsiteX2659" fmla="*/ 4023966 w 7402822"/>
              <a:gd name="connsiteY2659" fmla="*/ 2527314 h 4749526"/>
              <a:gd name="connsiteX2660" fmla="*/ 4017894 w 7402822"/>
              <a:gd name="connsiteY2660" fmla="*/ 2530349 h 4749526"/>
              <a:gd name="connsiteX2661" fmla="*/ 2932593 w 7402822"/>
              <a:gd name="connsiteY2661" fmla="*/ 2524277 h 4749526"/>
              <a:gd name="connsiteX2662" fmla="*/ 2947772 w 7402822"/>
              <a:gd name="connsiteY2662" fmla="*/ 2524277 h 4749526"/>
              <a:gd name="connsiteX2663" fmla="*/ 2944735 w 7402822"/>
              <a:gd name="connsiteY2663" fmla="*/ 2527314 h 4749526"/>
              <a:gd name="connsiteX2664" fmla="*/ 2935628 w 7402822"/>
              <a:gd name="connsiteY2664" fmla="*/ 2527314 h 4749526"/>
              <a:gd name="connsiteX2665" fmla="*/ 3735564 w 7402822"/>
              <a:gd name="connsiteY2665" fmla="*/ 2515169 h 4749526"/>
              <a:gd name="connsiteX2666" fmla="*/ 3741635 w 7402822"/>
              <a:gd name="connsiteY2666" fmla="*/ 2518205 h 4749526"/>
              <a:gd name="connsiteX2667" fmla="*/ 3750743 w 7402822"/>
              <a:gd name="connsiteY2667" fmla="*/ 2521241 h 4749526"/>
              <a:gd name="connsiteX2668" fmla="*/ 3762886 w 7402822"/>
              <a:gd name="connsiteY2668" fmla="*/ 2521241 h 4749526"/>
              <a:gd name="connsiteX2669" fmla="*/ 3778065 w 7402822"/>
              <a:gd name="connsiteY2669" fmla="*/ 2518205 h 4749526"/>
              <a:gd name="connsiteX2670" fmla="*/ 3787172 w 7402822"/>
              <a:gd name="connsiteY2670" fmla="*/ 2515169 h 4749526"/>
              <a:gd name="connsiteX2671" fmla="*/ 3778065 w 7402822"/>
              <a:gd name="connsiteY2671" fmla="*/ 2530348 h 4749526"/>
              <a:gd name="connsiteX2672" fmla="*/ 3778065 w 7402822"/>
              <a:gd name="connsiteY2672" fmla="*/ 2536420 h 4749526"/>
              <a:gd name="connsiteX2673" fmla="*/ 3778065 w 7402822"/>
              <a:gd name="connsiteY2673" fmla="*/ 2542492 h 4749526"/>
              <a:gd name="connsiteX2674" fmla="*/ 3778065 w 7402822"/>
              <a:gd name="connsiteY2674" fmla="*/ 2548563 h 4749526"/>
              <a:gd name="connsiteX2675" fmla="*/ 3775030 w 7402822"/>
              <a:gd name="connsiteY2675" fmla="*/ 2554634 h 4749526"/>
              <a:gd name="connsiteX2676" fmla="*/ 3768958 w 7402822"/>
              <a:gd name="connsiteY2676" fmla="*/ 2554634 h 4749526"/>
              <a:gd name="connsiteX2677" fmla="*/ 3759851 w 7402822"/>
              <a:gd name="connsiteY2677" fmla="*/ 2548563 h 4749526"/>
              <a:gd name="connsiteX2678" fmla="*/ 3747707 w 7402822"/>
              <a:gd name="connsiteY2678" fmla="*/ 2542492 h 4749526"/>
              <a:gd name="connsiteX2679" fmla="*/ 3738600 w 7402822"/>
              <a:gd name="connsiteY2679" fmla="*/ 2536420 h 4749526"/>
              <a:gd name="connsiteX2680" fmla="*/ 3726457 w 7402822"/>
              <a:gd name="connsiteY2680" fmla="*/ 2530348 h 4749526"/>
              <a:gd name="connsiteX2681" fmla="*/ 3720385 w 7402822"/>
              <a:gd name="connsiteY2681" fmla="*/ 2527313 h 4749526"/>
              <a:gd name="connsiteX2682" fmla="*/ 3723421 w 7402822"/>
              <a:gd name="connsiteY2682" fmla="*/ 2521241 h 4749526"/>
              <a:gd name="connsiteX2683" fmla="*/ 6325111 w 7402822"/>
              <a:gd name="connsiteY2683" fmla="*/ 2512134 h 4749526"/>
              <a:gd name="connsiteX2684" fmla="*/ 6322074 w 7402822"/>
              <a:gd name="connsiteY2684" fmla="*/ 2524277 h 4749526"/>
              <a:gd name="connsiteX2685" fmla="*/ 6316002 w 7402822"/>
              <a:gd name="connsiteY2685" fmla="*/ 2527313 h 4749526"/>
              <a:gd name="connsiteX2686" fmla="*/ 6319039 w 7402822"/>
              <a:gd name="connsiteY2686" fmla="*/ 2515170 h 4749526"/>
              <a:gd name="connsiteX2687" fmla="*/ 3890391 w 7402822"/>
              <a:gd name="connsiteY2687" fmla="*/ 2509098 h 4749526"/>
              <a:gd name="connsiteX2688" fmla="*/ 3893426 w 7402822"/>
              <a:gd name="connsiteY2688" fmla="*/ 2518205 h 4749526"/>
              <a:gd name="connsiteX2689" fmla="*/ 3887354 w 7402822"/>
              <a:gd name="connsiteY2689" fmla="*/ 2515170 h 4749526"/>
              <a:gd name="connsiteX2690" fmla="*/ 3999680 w 7402822"/>
              <a:gd name="connsiteY2690" fmla="*/ 2506063 h 4749526"/>
              <a:gd name="connsiteX2691" fmla="*/ 4005751 w 7402822"/>
              <a:gd name="connsiteY2691" fmla="*/ 2506063 h 4749526"/>
              <a:gd name="connsiteX2692" fmla="*/ 4002715 w 7402822"/>
              <a:gd name="connsiteY2692" fmla="*/ 2515170 h 4749526"/>
              <a:gd name="connsiteX2693" fmla="*/ 3999680 w 7402822"/>
              <a:gd name="connsiteY2693" fmla="*/ 2512135 h 4749526"/>
              <a:gd name="connsiteX2694" fmla="*/ 4011822 w 7402822"/>
              <a:gd name="connsiteY2694" fmla="*/ 2484812 h 4749526"/>
              <a:gd name="connsiteX2695" fmla="*/ 4011822 w 7402822"/>
              <a:gd name="connsiteY2695" fmla="*/ 2493919 h 4749526"/>
              <a:gd name="connsiteX2696" fmla="*/ 4002715 w 7402822"/>
              <a:gd name="connsiteY2696" fmla="*/ 2493919 h 4749526"/>
              <a:gd name="connsiteX2697" fmla="*/ 3999680 w 7402822"/>
              <a:gd name="connsiteY2697" fmla="*/ 2490884 h 4749526"/>
              <a:gd name="connsiteX2698" fmla="*/ 3999680 w 7402822"/>
              <a:gd name="connsiteY2698" fmla="*/ 2487848 h 4749526"/>
              <a:gd name="connsiteX2699" fmla="*/ 3533683 w 7402822"/>
              <a:gd name="connsiteY2699" fmla="*/ 2469633 h 4749526"/>
              <a:gd name="connsiteX2700" fmla="*/ 3530647 w 7402822"/>
              <a:gd name="connsiteY2700" fmla="*/ 2472669 h 4749526"/>
              <a:gd name="connsiteX2701" fmla="*/ 3533683 w 7402822"/>
              <a:gd name="connsiteY2701" fmla="*/ 2475705 h 4749526"/>
              <a:gd name="connsiteX2702" fmla="*/ 3539755 w 7402822"/>
              <a:gd name="connsiteY2702" fmla="*/ 2475705 h 4749526"/>
              <a:gd name="connsiteX2703" fmla="*/ 3533683 w 7402822"/>
              <a:gd name="connsiteY2703" fmla="*/ 2484812 h 4749526"/>
              <a:gd name="connsiteX2704" fmla="*/ 3527612 w 7402822"/>
              <a:gd name="connsiteY2704" fmla="*/ 2484812 h 4749526"/>
              <a:gd name="connsiteX2705" fmla="*/ 3515468 w 7402822"/>
              <a:gd name="connsiteY2705" fmla="*/ 2481776 h 4749526"/>
              <a:gd name="connsiteX2706" fmla="*/ 3515468 w 7402822"/>
              <a:gd name="connsiteY2706" fmla="*/ 2475705 h 4749526"/>
              <a:gd name="connsiteX2707" fmla="*/ 3545826 w 7402822"/>
              <a:gd name="connsiteY2707" fmla="*/ 2466597 h 4749526"/>
              <a:gd name="connsiteX2708" fmla="*/ 3548863 w 7402822"/>
              <a:gd name="connsiteY2708" fmla="*/ 2466597 h 4749526"/>
              <a:gd name="connsiteX2709" fmla="*/ 3554933 w 7402822"/>
              <a:gd name="connsiteY2709" fmla="*/ 2466597 h 4749526"/>
              <a:gd name="connsiteX2710" fmla="*/ 3554933 w 7402822"/>
              <a:gd name="connsiteY2710" fmla="*/ 2472669 h 4749526"/>
              <a:gd name="connsiteX2711" fmla="*/ 3545826 w 7402822"/>
              <a:gd name="connsiteY2711" fmla="*/ 2469633 h 4749526"/>
              <a:gd name="connsiteX2712" fmla="*/ 3658151 w 7402822"/>
              <a:gd name="connsiteY2712" fmla="*/ 2433203 h 4749526"/>
              <a:gd name="connsiteX2713" fmla="*/ 3664222 w 7402822"/>
              <a:gd name="connsiteY2713" fmla="*/ 2442310 h 4749526"/>
              <a:gd name="connsiteX2714" fmla="*/ 3670293 w 7402822"/>
              <a:gd name="connsiteY2714" fmla="*/ 2454453 h 4749526"/>
              <a:gd name="connsiteX2715" fmla="*/ 3664222 w 7402822"/>
              <a:gd name="connsiteY2715" fmla="*/ 2460524 h 4749526"/>
              <a:gd name="connsiteX2716" fmla="*/ 3667258 w 7402822"/>
              <a:gd name="connsiteY2716" fmla="*/ 2466596 h 4749526"/>
              <a:gd name="connsiteX2717" fmla="*/ 3667258 w 7402822"/>
              <a:gd name="connsiteY2717" fmla="*/ 2472668 h 4749526"/>
              <a:gd name="connsiteX2718" fmla="*/ 3661186 w 7402822"/>
              <a:gd name="connsiteY2718" fmla="*/ 2490883 h 4749526"/>
              <a:gd name="connsiteX2719" fmla="*/ 3649043 w 7402822"/>
              <a:gd name="connsiteY2719" fmla="*/ 2496954 h 4749526"/>
              <a:gd name="connsiteX2720" fmla="*/ 3642972 w 7402822"/>
              <a:gd name="connsiteY2720" fmla="*/ 2493918 h 4749526"/>
              <a:gd name="connsiteX2721" fmla="*/ 3642972 w 7402822"/>
              <a:gd name="connsiteY2721" fmla="*/ 2472668 h 4749526"/>
              <a:gd name="connsiteX2722" fmla="*/ 3642972 w 7402822"/>
              <a:gd name="connsiteY2722" fmla="*/ 2460524 h 4749526"/>
              <a:gd name="connsiteX2723" fmla="*/ 3636900 w 7402822"/>
              <a:gd name="connsiteY2723" fmla="*/ 2451417 h 4749526"/>
              <a:gd name="connsiteX2724" fmla="*/ 3636900 w 7402822"/>
              <a:gd name="connsiteY2724" fmla="*/ 2442310 h 4749526"/>
              <a:gd name="connsiteX2725" fmla="*/ 3646007 w 7402822"/>
              <a:gd name="connsiteY2725" fmla="*/ 2445345 h 4749526"/>
              <a:gd name="connsiteX2726" fmla="*/ 3652079 w 7402822"/>
              <a:gd name="connsiteY2726" fmla="*/ 2439274 h 4749526"/>
              <a:gd name="connsiteX2727" fmla="*/ 6373682 w 7402822"/>
              <a:gd name="connsiteY2727" fmla="*/ 2427132 h 4749526"/>
              <a:gd name="connsiteX2728" fmla="*/ 6379754 w 7402822"/>
              <a:gd name="connsiteY2728" fmla="*/ 2427132 h 4749526"/>
              <a:gd name="connsiteX2729" fmla="*/ 6385825 w 7402822"/>
              <a:gd name="connsiteY2729" fmla="*/ 2439275 h 4749526"/>
              <a:gd name="connsiteX2730" fmla="*/ 6391897 w 7402822"/>
              <a:gd name="connsiteY2730" fmla="*/ 2460525 h 4749526"/>
              <a:gd name="connsiteX2731" fmla="*/ 6397969 w 7402822"/>
              <a:gd name="connsiteY2731" fmla="*/ 2478740 h 4749526"/>
              <a:gd name="connsiteX2732" fmla="*/ 6394932 w 7402822"/>
              <a:gd name="connsiteY2732" fmla="*/ 2487847 h 4749526"/>
              <a:gd name="connsiteX2733" fmla="*/ 6388861 w 7402822"/>
              <a:gd name="connsiteY2733" fmla="*/ 2493919 h 4749526"/>
              <a:gd name="connsiteX2734" fmla="*/ 6388861 w 7402822"/>
              <a:gd name="connsiteY2734" fmla="*/ 2496955 h 4749526"/>
              <a:gd name="connsiteX2735" fmla="*/ 6382789 w 7402822"/>
              <a:gd name="connsiteY2735" fmla="*/ 2506063 h 4749526"/>
              <a:gd name="connsiteX2736" fmla="*/ 6379754 w 7402822"/>
              <a:gd name="connsiteY2736" fmla="*/ 2509098 h 4749526"/>
              <a:gd name="connsiteX2737" fmla="*/ 6376717 w 7402822"/>
              <a:gd name="connsiteY2737" fmla="*/ 2512134 h 4749526"/>
              <a:gd name="connsiteX2738" fmla="*/ 6373682 w 7402822"/>
              <a:gd name="connsiteY2738" fmla="*/ 2524277 h 4749526"/>
              <a:gd name="connsiteX2739" fmla="*/ 6376717 w 7402822"/>
              <a:gd name="connsiteY2739" fmla="*/ 2527313 h 4749526"/>
              <a:gd name="connsiteX2740" fmla="*/ 6376717 w 7402822"/>
              <a:gd name="connsiteY2740" fmla="*/ 2536421 h 4749526"/>
              <a:gd name="connsiteX2741" fmla="*/ 6373682 w 7402822"/>
              <a:gd name="connsiteY2741" fmla="*/ 2548564 h 4749526"/>
              <a:gd name="connsiteX2742" fmla="*/ 6370645 w 7402822"/>
              <a:gd name="connsiteY2742" fmla="*/ 2551600 h 4749526"/>
              <a:gd name="connsiteX2743" fmla="*/ 6367610 w 7402822"/>
              <a:gd name="connsiteY2743" fmla="*/ 2557671 h 4749526"/>
              <a:gd name="connsiteX2744" fmla="*/ 6367610 w 7402822"/>
              <a:gd name="connsiteY2744" fmla="*/ 2569815 h 4749526"/>
              <a:gd name="connsiteX2745" fmla="*/ 6370645 w 7402822"/>
              <a:gd name="connsiteY2745" fmla="*/ 2575886 h 4749526"/>
              <a:gd name="connsiteX2746" fmla="*/ 6367610 w 7402822"/>
              <a:gd name="connsiteY2746" fmla="*/ 2581957 h 4749526"/>
              <a:gd name="connsiteX2747" fmla="*/ 6364574 w 7402822"/>
              <a:gd name="connsiteY2747" fmla="*/ 2584994 h 4749526"/>
              <a:gd name="connsiteX2748" fmla="*/ 6364574 w 7402822"/>
              <a:gd name="connsiteY2748" fmla="*/ 2591065 h 4749526"/>
              <a:gd name="connsiteX2749" fmla="*/ 6355467 w 7402822"/>
              <a:gd name="connsiteY2749" fmla="*/ 2600173 h 4749526"/>
              <a:gd name="connsiteX2750" fmla="*/ 6349395 w 7402822"/>
              <a:gd name="connsiteY2750" fmla="*/ 2597136 h 4749526"/>
              <a:gd name="connsiteX2751" fmla="*/ 6352431 w 7402822"/>
              <a:gd name="connsiteY2751" fmla="*/ 2588029 h 4749526"/>
              <a:gd name="connsiteX2752" fmla="*/ 6355467 w 7402822"/>
              <a:gd name="connsiteY2752" fmla="*/ 2584994 h 4749526"/>
              <a:gd name="connsiteX2753" fmla="*/ 6349395 w 7402822"/>
              <a:gd name="connsiteY2753" fmla="*/ 2581957 h 4749526"/>
              <a:gd name="connsiteX2754" fmla="*/ 6337252 w 7402822"/>
              <a:gd name="connsiteY2754" fmla="*/ 2591065 h 4749526"/>
              <a:gd name="connsiteX2755" fmla="*/ 6337252 w 7402822"/>
              <a:gd name="connsiteY2755" fmla="*/ 2597136 h 4749526"/>
              <a:gd name="connsiteX2756" fmla="*/ 6331180 w 7402822"/>
              <a:gd name="connsiteY2756" fmla="*/ 2606245 h 4749526"/>
              <a:gd name="connsiteX2757" fmla="*/ 6328145 w 7402822"/>
              <a:gd name="connsiteY2757" fmla="*/ 2606245 h 4749526"/>
              <a:gd name="connsiteX2758" fmla="*/ 6328145 w 7402822"/>
              <a:gd name="connsiteY2758" fmla="*/ 2603208 h 4749526"/>
              <a:gd name="connsiteX2759" fmla="*/ 6331180 w 7402822"/>
              <a:gd name="connsiteY2759" fmla="*/ 2597136 h 4749526"/>
              <a:gd name="connsiteX2760" fmla="*/ 6328145 w 7402822"/>
              <a:gd name="connsiteY2760" fmla="*/ 2594101 h 4749526"/>
              <a:gd name="connsiteX2761" fmla="*/ 6319037 w 7402822"/>
              <a:gd name="connsiteY2761" fmla="*/ 2603208 h 4749526"/>
              <a:gd name="connsiteX2762" fmla="*/ 6316001 w 7402822"/>
              <a:gd name="connsiteY2762" fmla="*/ 2606245 h 4749526"/>
              <a:gd name="connsiteX2763" fmla="*/ 6309931 w 7402822"/>
              <a:gd name="connsiteY2763" fmla="*/ 2606245 h 4749526"/>
              <a:gd name="connsiteX2764" fmla="*/ 6294750 w 7402822"/>
              <a:gd name="connsiteY2764" fmla="*/ 2606245 h 4749526"/>
              <a:gd name="connsiteX2765" fmla="*/ 6288679 w 7402822"/>
              <a:gd name="connsiteY2765" fmla="*/ 2600173 h 4749526"/>
              <a:gd name="connsiteX2766" fmla="*/ 6291715 w 7402822"/>
              <a:gd name="connsiteY2766" fmla="*/ 2594101 h 4749526"/>
              <a:gd name="connsiteX2767" fmla="*/ 6285643 w 7402822"/>
              <a:gd name="connsiteY2767" fmla="*/ 2597136 h 4749526"/>
              <a:gd name="connsiteX2768" fmla="*/ 6282607 w 7402822"/>
              <a:gd name="connsiteY2768" fmla="*/ 2603208 h 4749526"/>
              <a:gd name="connsiteX2769" fmla="*/ 6285643 w 7402822"/>
              <a:gd name="connsiteY2769" fmla="*/ 2606245 h 4749526"/>
              <a:gd name="connsiteX2770" fmla="*/ 6288679 w 7402822"/>
              <a:gd name="connsiteY2770" fmla="*/ 2609280 h 4749526"/>
              <a:gd name="connsiteX2771" fmla="*/ 6291715 w 7402822"/>
              <a:gd name="connsiteY2771" fmla="*/ 2615352 h 4749526"/>
              <a:gd name="connsiteX2772" fmla="*/ 6285643 w 7402822"/>
              <a:gd name="connsiteY2772" fmla="*/ 2615352 h 4749526"/>
              <a:gd name="connsiteX2773" fmla="*/ 6270465 w 7402822"/>
              <a:gd name="connsiteY2773" fmla="*/ 2633566 h 4749526"/>
              <a:gd name="connsiteX2774" fmla="*/ 6252249 w 7402822"/>
              <a:gd name="connsiteY2774" fmla="*/ 2624459 h 4749526"/>
              <a:gd name="connsiteX2775" fmla="*/ 6255285 w 7402822"/>
              <a:gd name="connsiteY2775" fmla="*/ 2615352 h 4749526"/>
              <a:gd name="connsiteX2776" fmla="*/ 6261357 w 7402822"/>
              <a:gd name="connsiteY2776" fmla="*/ 2609280 h 4749526"/>
              <a:gd name="connsiteX2777" fmla="*/ 6255285 w 7402822"/>
              <a:gd name="connsiteY2777" fmla="*/ 2603208 h 4749526"/>
              <a:gd name="connsiteX2778" fmla="*/ 6243142 w 7402822"/>
              <a:gd name="connsiteY2778" fmla="*/ 2603208 h 4749526"/>
              <a:gd name="connsiteX2779" fmla="*/ 6237070 w 7402822"/>
              <a:gd name="connsiteY2779" fmla="*/ 2606245 h 4749526"/>
              <a:gd name="connsiteX2780" fmla="*/ 6234035 w 7402822"/>
              <a:gd name="connsiteY2780" fmla="*/ 2609280 h 4749526"/>
              <a:gd name="connsiteX2781" fmla="*/ 6230999 w 7402822"/>
              <a:gd name="connsiteY2781" fmla="*/ 2609280 h 4749526"/>
              <a:gd name="connsiteX2782" fmla="*/ 6224927 w 7402822"/>
              <a:gd name="connsiteY2782" fmla="*/ 2609280 h 4749526"/>
              <a:gd name="connsiteX2783" fmla="*/ 6212784 w 7402822"/>
              <a:gd name="connsiteY2783" fmla="*/ 2615352 h 4749526"/>
              <a:gd name="connsiteX2784" fmla="*/ 6200641 w 7402822"/>
              <a:gd name="connsiteY2784" fmla="*/ 2618387 h 4749526"/>
              <a:gd name="connsiteX2785" fmla="*/ 6200641 w 7402822"/>
              <a:gd name="connsiteY2785" fmla="*/ 2615352 h 4749526"/>
              <a:gd name="connsiteX2786" fmla="*/ 6197605 w 7402822"/>
              <a:gd name="connsiteY2786" fmla="*/ 2612315 h 4749526"/>
              <a:gd name="connsiteX2787" fmla="*/ 6194569 w 7402822"/>
              <a:gd name="connsiteY2787" fmla="*/ 2624459 h 4749526"/>
              <a:gd name="connsiteX2788" fmla="*/ 6188497 w 7402822"/>
              <a:gd name="connsiteY2788" fmla="*/ 2621424 h 4749526"/>
              <a:gd name="connsiteX2789" fmla="*/ 6185462 w 7402822"/>
              <a:gd name="connsiteY2789" fmla="*/ 2624459 h 4749526"/>
              <a:gd name="connsiteX2790" fmla="*/ 6185462 w 7402822"/>
              <a:gd name="connsiteY2790" fmla="*/ 2621424 h 4749526"/>
              <a:gd name="connsiteX2791" fmla="*/ 6182425 w 7402822"/>
              <a:gd name="connsiteY2791" fmla="*/ 2621424 h 4749526"/>
              <a:gd name="connsiteX2792" fmla="*/ 6173319 w 7402822"/>
              <a:gd name="connsiteY2792" fmla="*/ 2624459 h 4749526"/>
              <a:gd name="connsiteX2793" fmla="*/ 6167247 w 7402822"/>
              <a:gd name="connsiteY2793" fmla="*/ 2618387 h 4749526"/>
              <a:gd name="connsiteX2794" fmla="*/ 6170283 w 7402822"/>
              <a:gd name="connsiteY2794" fmla="*/ 2612315 h 4749526"/>
              <a:gd name="connsiteX2795" fmla="*/ 6179391 w 7402822"/>
              <a:gd name="connsiteY2795" fmla="*/ 2609280 h 4749526"/>
              <a:gd name="connsiteX2796" fmla="*/ 6194569 w 7402822"/>
              <a:gd name="connsiteY2796" fmla="*/ 2597136 h 4749526"/>
              <a:gd name="connsiteX2797" fmla="*/ 6212784 w 7402822"/>
              <a:gd name="connsiteY2797" fmla="*/ 2581957 h 4749526"/>
              <a:gd name="connsiteX2798" fmla="*/ 6218855 w 7402822"/>
              <a:gd name="connsiteY2798" fmla="*/ 2584994 h 4749526"/>
              <a:gd name="connsiteX2799" fmla="*/ 6227963 w 7402822"/>
              <a:gd name="connsiteY2799" fmla="*/ 2584994 h 4749526"/>
              <a:gd name="connsiteX2800" fmla="*/ 6237070 w 7402822"/>
              <a:gd name="connsiteY2800" fmla="*/ 2581957 h 4749526"/>
              <a:gd name="connsiteX2801" fmla="*/ 6249214 w 7402822"/>
              <a:gd name="connsiteY2801" fmla="*/ 2578922 h 4749526"/>
              <a:gd name="connsiteX2802" fmla="*/ 6258321 w 7402822"/>
              <a:gd name="connsiteY2802" fmla="*/ 2578922 h 4749526"/>
              <a:gd name="connsiteX2803" fmla="*/ 6258321 w 7402822"/>
              <a:gd name="connsiteY2803" fmla="*/ 2584994 h 4749526"/>
              <a:gd name="connsiteX2804" fmla="*/ 6261357 w 7402822"/>
              <a:gd name="connsiteY2804" fmla="*/ 2584994 h 4749526"/>
              <a:gd name="connsiteX2805" fmla="*/ 6270465 w 7402822"/>
              <a:gd name="connsiteY2805" fmla="*/ 2581957 h 4749526"/>
              <a:gd name="connsiteX2806" fmla="*/ 6273500 w 7402822"/>
              <a:gd name="connsiteY2806" fmla="*/ 2578922 h 4749526"/>
              <a:gd name="connsiteX2807" fmla="*/ 6273500 w 7402822"/>
              <a:gd name="connsiteY2807" fmla="*/ 2569815 h 4749526"/>
              <a:gd name="connsiteX2808" fmla="*/ 6288679 w 7402822"/>
              <a:gd name="connsiteY2808" fmla="*/ 2551600 h 4749526"/>
              <a:gd name="connsiteX2809" fmla="*/ 6288679 w 7402822"/>
              <a:gd name="connsiteY2809" fmla="*/ 2545528 h 4749526"/>
              <a:gd name="connsiteX2810" fmla="*/ 6285643 w 7402822"/>
              <a:gd name="connsiteY2810" fmla="*/ 2542492 h 4749526"/>
              <a:gd name="connsiteX2811" fmla="*/ 6294750 w 7402822"/>
              <a:gd name="connsiteY2811" fmla="*/ 2536421 h 4749526"/>
              <a:gd name="connsiteX2812" fmla="*/ 6300823 w 7402822"/>
              <a:gd name="connsiteY2812" fmla="*/ 2536421 h 4749526"/>
              <a:gd name="connsiteX2813" fmla="*/ 6294750 w 7402822"/>
              <a:gd name="connsiteY2813" fmla="*/ 2542492 h 4749526"/>
              <a:gd name="connsiteX2814" fmla="*/ 6294750 w 7402822"/>
              <a:gd name="connsiteY2814" fmla="*/ 2545528 h 4749526"/>
              <a:gd name="connsiteX2815" fmla="*/ 6291715 w 7402822"/>
              <a:gd name="connsiteY2815" fmla="*/ 2548564 h 4749526"/>
              <a:gd name="connsiteX2816" fmla="*/ 6300823 w 7402822"/>
              <a:gd name="connsiteY2816" fmla="*/ 2548564 h 4749526"/>
              <a:gd name="connsiteX2817" fmla="*/ 6312965 w 7402822"/>
              <a:gd name="connsiteY2817" fmla="*/ 2542492 h 4749526"/>
              <a:gd name="connsiteX2818" fmla="*/ 6328145 w 7402822"/>
              <a:gd name="connsiteY2818" fmla="*/ 2533385 h 4749526"/>
              <a:gd name="connsiteX2819" fmla="*/ 6337252 w 7402822"/>
              <a:gd name="connsiteY2819" fmla="*/ 2521242 h 4749526"/>
              <a:gd name="connsiteX2820" fmla="*/ 6343324 w 7402822"/>
              <a:gd name="connsiteY2820" fmla="*/ 2515170 h 4749526"/>
              <a:gd name="connsiteX2821" fmla="*/ 6352431 w 7402822"/>
              <a:gd name="connsiteY2821" fmla="*/ 2493919 h 4749526"/>
              <a:gd name="connsiteX2822" fmla="*/ 6355467 w 7402822"/>
              <a:gd name="connsiteY2822" fmla="*/ 2475705 h 4749526"/>
              <a:gd name="connsiteX2823" fmla="*/ 6355467 w 7402822"/>
              <a:gd name="connsiteY2823" fmla="*/ 2469633 h 4749526"/>
              <a:gd name="connsiteX2824" fmla="*/ 6355467 w 7402822"/>
              <a:gd name="connsiteY2824" fmla="*/ 2457489 h 4749526"/>
              <a:gd name="connsiteX2825" fmla="*/ 6358503 w 7402822"/>
              <a:gd name="connsiteY2825" fmla="*/ 2442310 h 4749526"/>
              <a:gd name="connsiteX2826" fmla="*/ 6361539 w 7402822"/>
              <a:gd name="connsiteY2826" fmla="*/ 2433203 h 4749526"/>
              <a:gd name="connsiteX2827" fmla="*/ 6367610 w 7402822"/>
              <a:gd name="connsiteY2827" fmla="*/ 2436239 h 4749526"/>
              <a:gd name="connsiteX2828" fmla="*/ 6367610 w 7402822"/>
              <a:gd name="connsiteY2828" fmla="*/ 2442310 h 4749526"/>
              <a:gd name="connsiteX2829" fmla="*/ 6376717 w 7402822"/>
              <a:gd name="connsiteY2829" fmla="*/ 2445346 h 4749526"/>
              <a:gd name="connsiteX2830" fmla="*/ 6379754 w 7402822"/>
              <a:gd name="connsiteY2830" fmla="*/ 2436239 h 4749526"/>
              <a:gd name="connsiteX2831" fmla="*/ 6376717 w 7402822"/>
              <a:gd name="connsiteY2831" fmla="*/ 2436239 h 4749526"/>
              <a:gd name="connsiteX2832" fmla="*/ 6370645 w 7402822"/>
              <a:gd name="connsiteY2832" fmla="*/ 2433203 h 4749526"/>
              <a:gd name="connsiteX2833" fmla="*/ 3863069 w 7402822"/>
              <a:gd name="connsiteY2833" fmla="*/ 2408916 h 4749526"/>
              <a:gd name="connsiteX2834" fmla="*/ 3866104 w 7402822"/>
              <a:gd name="connsiteY2834" fmla="*/ 2411953 h 4749526"/>
              <a:gd name="connsiteX2835" fmla="*/ 3866104 w 7402822"/>
              <a:gd name="connsiteY2835" fmla="*/ 2411952 h 4749526"/>
              <a:gd name="connsiteX2836" fmla="*/ 6161173 w 7402822"/>
              <a:gd name="connsiteY2836" fmla="*/ 2404355 h 4749526"/>
              <a:gd name="connsiteX2837" fmla="*/ 6161174 w 7402822"/>
              <a:gd name="connsiteY2837" fmla="*/ 2404359 h 4749526"/>
              <a:gd name="connsiteX2838" fmla="*/ 6161176 w 7402822"/>
              <a:gd name="connsiteY2838" fmla="*/ 2404360 h 4749526"/>
              <a:gd name="connsiteX2839" fmla="*/ 3652080 w 7402822"/>
              <a:gd name="connsiteY2839" fmla="*/ 2395254 h 4749526"/>
              <a:gd name="connsiteX2840" fmla="*/ 3655115 w 7402822"/>
              <a:gd name="connsiteY2840" fmla="*/ 2395254 h 4749526"/>
              <a:gd name="connsiteX2841" fmla="*/ 3658152 w 7402822"/>
              <a:gd name="connsiteY2841" fmla="*/ 2395254 h 4749526"/>
              <a:gd name="connsiteX2842" fmla="*/ 3661187 w 7402822"/>
              <a:gd name="connsiteY2842" fmla="*/ 2398290 h 4749526"/>
              <a:gd name="connsiteX2843" fmla="*/ 3661187 w 7402822"/>
              <a:gd name="connsiteY2843" fmla="*/ 2418024 h 4749526"/>
              <a:gd name="connsiteX2844" fmla="*/ 3658152 w 7402822"/>
              <a:gd name="connsiteY2844" fmla="*/ 2430166 h 4749526"/>
              <a:gd name="connsiteX2845" fmla="*/ 3652080 w 7402822"/>
              <a:gd name="connsiteY2845" fmla="*/ 2427131 h 4749526"/>
              <a:gd name="connsiteX2846" fmla="*/ 3646008 w 7402822"/>
              <a:gd name="connsiteY2846" fmla="*/ 2414987 h 4749526"/>
              <a:gd name="connsiteX2847" fmla="*/ 3642973 w 7402822"/>
              <a:gd name="connsiteY2847" fmla="*/ 2407397 h 4749526"/>
              <a:gd name="connsiteX2848" fmla="*/ 3646008 w 7402822"/>
              <a:gd name="connsiteY2848" fmla="*/ 2401325 h 4749526"/>
              <a:gd name="connsiteX2849" fmla="*/ 6173319 w 7402822"/>
              <a:gd name="connsiteY2849" fmla="*/ 2389183 h 4749526"/>
              <a:gd name="connsiteX2850" fmla="*/ 6172813 w 7402822"/>
              <a:gd name="connsiteY2850" fmla="*/ 2389436 h 4749526"/>
              <a:gd name="connsiteX2851" fmla="*/ 6172560 w 7402822"/>
              <a:gd name="connsiteY2851" fmla="*/ 2389562 h 4749526"/>
              <a:gd name="connsiteX2852" fmla="*/ 6172561 w 7402822"/>
              <a:gd name="connsiteY2852" fmla="*/ 2389562 h 4749526"/>
              <a:gd name="connsiteX2853" fmla="*/ 6172813 w 7402822"/>
              <a:gd name="connsiteY2853" fmla="*/ 2389436 h 4749526"/>
              <a:gd name="connsiteX2854" fmla="*/ 6173319 w 7402822"/>
              <a:gd name="connsiteY2854" fmla="*/ 2389184 h 4749526"/>
              <a:gd name="connsiteX2855" fmla="*/ 6482972 w 7402822"/>
              <a:gd name="connsiteY2855" fmla="*/ 2343646 h 4749526"/>
              <a:gd name="connsiteX2856" fmla="*/ 6489043 w 7402822"/>
              <a:gd name="connsiteY2856" fmla="*/ 2346682 h 4749526"/>
              <a:gd name="connsiteX2857" fmla="*/ 6482972 w 7402822"/>
              <a:gd name="connsiteY2857" fmla="*/ 2349718 h 4749526"/>
              <a:gd name="connsiteX2858" fmla="*/ 6473865 w 7402822"/>
              <a:gd name="connsiteY2858" fmla="*/ 2358825 h 4749526"/>
              <a:gd name="connsiteX2859" fmla="*/ 6470829 w 7402822"/>
              <a:gd name="connsiteY2859" fmla="*/ 2364897 h 4749526"/>
              <a:gd name="connsiteX2860" fmla="*/ 6467793 w 7402822"/>
              <a:gd name="connsiteY2860" fmla="*/ 2367933 h 4749526"/>
              <a:gd name="connsiteX2861" fmla="*/ 6467793 w 7402822"/>
              <a:gd name="connsiteY2861" fmla="*/ 2361861 h 4749526"/>
              <a:gd name="connsiteX2862" fmla="*/ 6476901 w 7402822"/>
              <a:gd name="connsiteY2862" fmla="*/ 2349718 h 4749526"/>
              <a:gd name="connsiteX2863" fmla="*/ 6394934 w 7402822"/>
              <a:gd name="connsiteY2863" fmla="*/ 2316324 h 4749526"/>
              <a:gd name="connsiteX2864" fmla="*/ 6416184 w 7402822"/>
              <a:gd name="connsiteY2864" fmla="*/ 2343646 h 4749526"/>
              <a:gd name="connsiteX2865" fmla="*/ 6431363 w 7402822"/>
              <a:gd name="connsiteY2865" fmla="*/ 2352754 h 4749526"/>
              <a:gd name="connsiteX2866" fmla="*/ 6443507 w 7402822"/>
              <a:gd name="connsiteY2866" fmla="*/ 2358825 h 4749526"/>
              <a:gd name="connsiteX2867" fmla="*/ 6455649 w 7402822"/>
              <a:gd name="connsiteY2867" fmla="*/ 2364897 h 4749526"/>
              <a:gd name="connsiteX2868" fmla="*/ 6458686 w 7402822"/>
              <a:gd name="connsiteY2868" fmla="*/ 2364897 h 4749526"/>
              <a:gd name="connsiteX2869" fmla="*/ 6461721 w 7402822"/>
              <a:gd name="connsiteY2869" fmla="*/ 2374005 h 4749526"/>
              <a:gd name="connsiteX2870" fmla="*/ 6467793 w 7402822"/>
              <a:gd name="connsiteY2870" fmla="*/ 2380076 h 4749526"/>
              <a:gd name="connsiteX2871" fmla="*/ 6467793 w 7402822"/>
              <a:gd name="connsiteY2871" fmla="*/ 2383112 h 4749526"/>
              <a:gd name="connsiteX2872" fmla="*/ 6458686 w 7402822"/>
              <a:gd name="connsiteY2872" fmla="*/ 2386147 h 4749526"/>
              <a:gd name="connsiteX2873" fmla="*/ 6446542 w 7402822"/>
              <a:gd name="connsiteY2873" fmla="*/ 2389184 h 4749526"/>
              <a:gd name="connsiteX2874" fmla="*/ 6443507 w 7402822"/>
              <a:gd name="connsiteY2874" fmla="*/ 2386147 h 4749526"/>
              <a:gd name="connsiteX2875" fmla="*/ 6428327 w 7402822"/>
              <a:gd name="connsiteY2875" fmla="*/ 2398291 h 4749526"/>
              <a:gd name="connsiteX2876" fmla="*/ 6422256 w 7402822"/>
              <a:gd name="connsiteY2876" fmla="*/ 2414988 h 4749526"/>
              <a:gd name="connsiteX2877" fmla="*/ 6404041 w 7402822"/>
              <a:gd name="connsiteY2877" fmla="*/ 2407398 h 4749526"/>
              <a:gd name="connsiteX2878" fmla="*/ 6394934 w 7402822"/>
              <a:gd name="connsiteY2878" fmla="*/ 2401326 h 4749526"/>
              <a:gd name="connsiteX2879" fmla="*/ 6388862 w 7402822"/>
              <a:gd name="connsiteY2879" fmla="*/ 2398291 h 4749526"/>
              <a:gd name="connsiteX2880" fmla="*/ 6379754 w 7402822"/>
              <a:gd name="connsiteY2880" fmla="*/ 2404363 h 4749526"/>
              <a:gd name="connsiteX2881" fmla="*/ 6373683 w 7402822"/>
              <a:gd name="connsiteY2881" fmla="*/ 2401326 h 4749526"/>
              <a:gd name="connsiteX2882" fmla="*/ 6367611 w 7402822"/>
              <a:gd name="connsiteY2882" fmla="*/ 2398291 h 4749526"/>
              <a:gd name="connsiteX2883" fmla="*/ 6361539 w 7402822"/>
              <a:gd name="connsiteY2883" fmla="*/ 2404363 h 4749526"/>
              <a:gd name="connsiteX2884" fmla="*/ 6367611 w 7402822"/>
              <a:gd name="connsiteY2884" fmla="*/ 2408916 h 4749526"/>
              <a:gd name="connsiteX2885" fmla="*/ 6370647 w 7402822"/>
              <a:gd name="connsiteY2885" fmla="*/ 2408916 h 4749526"/>
              <a:gd name="connsiteX2886" fmla="*/ 6376719 w 7402822"/>
              <a:gd name="connsiteY2886" fmla="*/ 2414988 h 4749526"/>
              <a:gd name="connsiteX2887" fmla="*/ 6379754 w 7402822"/>
              <a:gd name="connsiteY2887" fmla="*/ 2421060 h 4749526"/>
              <a:gd name="connsiteX2888" fmla="*/ 6373683 w 7402822"/>
              <a:gd name="connsiteY2888" fmla="*/ 2421060 h 4749526"/>
              <a:gd name="connsiteX2889" fmla="*/ 6358504 w 7402822"/>
              <a:gd name="connsiteY2889" fmla="*/ 2430167 h 4749526"/>
              <a:gd name="connsiteX2890" fmla="*/ 6355469 w 7402822"/>
              <a:gd name="connsiteY2890" fmla="*/ 2424095 h 4749526"/>
              <a:gd name="connsiteX2891" fmla="*/ 6358504 w 7402822"/>
              <a:gd name="connsiteY2891" fmla="*/ 2414988 h 4749526"/>
              <a:gd name="connsiteX2892" fmla="*/ 6352432 w 7402822"/>
              <a:gd name="connsiteY2892" fmla="*/ 2408916 h 4749526"/>
              <a:gd name="connsiteX2893" fmla="*/ 6349395 w 7402822"/>
              <a:gd name="connsiteY2893" fmla="*/ 2404363 h 4749526"/>
              <a:gd name="connsiteX2894" fmla="*/ 6352432 w 7402822"/>
              <a:gd name="connsiteY2894" fmla="*/ 2395254 h 4749526"/>
              <a:gd name="connsiteX2895" fmla="*/ 6364576 w 7402822"/>
              <a:gd name="connsiteY2895" fmla="*/ 2386147 h 4749526"/>
              <a:gd name="connsiteX2896" fmla="*/ 6370647 w 7402822"/>
              <a:gd name="connsiteY2896" fmla="*/ 2383112 h 4749526"/>
              <a:gd name="connsiteX2897" fmla="*/ 6376719 w 7402822"/>
              <a:gd name="connsiteY2897" fmla="*/ 2383112 h 4749526"/>
              <a:gd name="connsiteX2898" fmla="*/ 6388862 w 7402822"/>
              <a:gd name="connsiteY2898" fmla="*/ 2361861 h 4749526"/>
              <a:gd name="connsiteX2899" fmla="*/ 6391897 w 7402822"/>
              <a:gd name="connsiteY2899" fmla="*/ 2343646 h 4749526"/>
              <a:gd name="connsiteX2900" fmla="*/ 6391897 w 7402822"/>
              <a:gd name="connsiteY2900" fmla="*/ 2334539 h 4749526"/>
              <a:gd name="connsiteX2901" fmla="*/ 6388862 w 7402822"/>
              <a:gd name="connsiteY2901" fmla="*/ 2322395 h 4749526"/>
              <a:gd name="connsiteX2902" fmla="*/ 6537617 w 7402822"/>
              <a:gd name="connsiteY2902" fmla="*/ 2313288 h 4749526"/>
              <a:gd name="connsiteX2903" fmla="*/ 6534581 w 7402822"/>
              <a:gd name="connsiteY2903" fmla="*/ 2319360 h 4749526"/>
              <a:gd name="connsiteX2904" fmla="*/ 6531545 w 7402822"/>
              <a:gd name="connsiteY2904" fmla="*/ 2319360 h 4749526"/>
              <a:gd name="connsiteX2905" fmla="*/ 6525473 w 7402822"/>
              <a:gd name="connsiteY2905" fmla="*/ 2322395 h 4749526"/>
              <a:gd name="connsiteX2906" fmla="*/ 6513331 w 7402822"/>
              <a:gd name="connsiteY2906" fmla="*/ 2331503 h 4749526"/>
              <a:gd name="connsiteX2907" fmla="*/ 6504223 w 7402822"/>
              <a:gd name="connsiteY2907" fmla="*/ 2340610 h 4749526"/>
              <a:gd name="connsiteX2908" fmla="*/ 6495115 w 7402822"/>
              <a:gd name="connsiteY2908" fmla="*/ 2346682 h 4749526"/>
              <a:gd name="connsiteX2909" fmla="*/ 6504223 w 7402822"/>
              <a:gd name="connsiteY2909" fmla="*/ 2337574 h 4749526"/>
              <a:gd name="connsiteX2910" fmla="*/ 6513331 w 7402822"/>
              <a:gd name="connsiteY2910" fmla="*/ 2325431 h 4749526"/>
              <a:gd name="connsiteX2911" fmla="*/ 6525473 w 7402822"/>
              <a:gd name="connsiteY2911" fmla="*/ 2319360 h 4749526"/>
              <a:gd name="connsiteX2912" fmla="*/ 6574047 w 7402822"/>
              <a:gd name="connsiteY2912" fmla="*/ 2295074 h 4749526"/>
              <a:gd name="connsiteX2913" fmla="*/ 6558867 w 7402822"/>
              <a:gd name="connsiteY2913" fmla="*/ 2307216 h 4749526"/>
              <a:gd name="connsiteX2914" fmla="*/ 6549759 w 7402822"/>
              <a:gd name="connsiteY2914" fmla="*/ 2313288 h 4749526"/>
              <a:gd name="connsiteX2915" fmla="*/ 6561903 w 7402822"/>
              <a:gd name="connsiteY2915" fmla="*/ 2301144 h 4749526"/>
              <a:gd name="connsiteX2916" fmla="*/ 4526662 w 7402822"/>
              <a:gd name="connsiteY2916" fmla="*/ 2273499 h 4749526"/>
              <a:gd name="connsiteX2917" fmla="*/ 4516960 w 7402822"/>
              <a:gd name="connsiteY2917" fmla="*/ 2274079 h 4749526"/>
              <a:gd name="connsiteX2918" fmla="*/ 4505229 w 7402822"/>
              <a:gd name="connsiteY2918" fmla="*/ 2281627 h 4749526"/>
              <a:gd name="connsiteX2919" fmla="*/ 4494826 w 7402822"/>
              <a:gd name="connsiteY2919" fmla="*/ 2289809 h 4749526"/>
              <a:gd name="connsiteX2920" fmla="*/ 4494826 w 7402822"/>
              <a:gd name="connsiteY2920" fmla="*/ 2297032 h 4749526"/>
              <a:gd name="connsiteX2921" fmla="*/ 4484457 w 7402822"/>
              <a:gd name="connsiteY2921" fmla="*/ 2295875 h 4749526"/>
              <a:gd name="connsiteX2922" fmla="*/ 4482743 w 7402822"/>
              <a:gd name="connsiteY2922" fmla="*/ 2299275 h 4749526"/>
              <a:gd name="connsiteX2923" fmla="*/ 4478481 w 7402822"/>
              <a:gd name="connsiteY2923" fmla="*/ 2304714 h 4749526"/>
              <a:gd name="connsiteX2924" fmla="*/ 4475740 w 7402822"/>
              <a:gd name="connsiteY2924" fmla="*/ 2308102 h 4749526"/>
              <a:gd name="connsiteX2925" fmla="*/ 4472143 w 7402822"/>
              <a:gd name="connsiteY2925" fmla="*/ 2314808 h 4749526"/>
              <a:gd name="connsiteX2926" fmla="*/ 4468300 w 7402822"/>
              <a:gd name="connsiteY2926" fmla="*/ 2316286 h 4749526"/>
              <a:gd name="connsiteX2927" fmla="*/ 4462126 w 7402822"/>
              <a:gd name="connsiteY2927" fmla="*/ 2316059 h 4749526"/>
              <a:gd name="connsiteX2928" fmla="*/ 4453440 w 7402822"/>
              <a:gd name="connsiteY2928" fmla="*/ 2317390 h 4749526"/>
              <a:gd name="connsiteX2929" fmla="*/ 4444762 w 7402822"/>
              <a:gd name="connsiteY2929" fmla="*/ 2324189 h 4749526"/>
              <a:gd name="connsiteX2930" fmla="*/ 4443998 w 7402822"/>
              <a:gd name="connsiteY2930" fmla="*/ 2324983 h 4749526"/>
              <a:gd name="connsiteX2931" fmla="*/ 4444515 w 7402822"/>
              <a:gd name="connsiteY2931" fmla="*/ 2327262 h 4749526"/>
              <a:gd name="connsiteX2932" fmla="*/ 4440472 w 7402822"/>
              <a:gd name="connsiteY2932" fmla="*/ 2341464 h 4749526"/>
              <a:gd name="connsiteX2933" fmla="*/ 4435285 w 7402822"/>
              <a:gd name="connsiteY2933" fmla="*/ 2345698 h 4749526"/>
              <a:gd name="connsiteX2934" fmla="*/ 4435255 w 7402822"/>
              <a:gd name="connsiteY2934" fmla="*/ 2345738 h 4749526"/>
              <a:gd name="connsiteX2935" fmla="*/ 4435248 w 7402822"/>
              <a:gd name="connsiteY2935" fmla="*/ 2350987 h 4749526"/>
              <a:gd name="connsiteX2936" fmla="*/ 4435271 w 7402822"/>
              <a:gd name="connsiteY2936" fmla="*/ 2352468 h 4749526"/>
              <a:gd name="connsiteX2937" fmla="*/ 4435337 w 7402822"/>
              <a:gd name="connsiteY2937" fmla="*/ 2352627 h 4749526"/>
              <a:gd name="connsiteX2938" fmla="*/ 4441978 w 7402822"/>
              <a:gd name="connsiteY2938" fmla="*/ 2361201 h 4749526"/>
              <a:gd name="connsiteX2939" fmla="*/ 4442225 w 7402822"/>
              <a:gd name="connsiteY2939" fmla="*/ 2363010 h 4749526"/>
              <a:gd name="connsiteX2940" fmla="*/ 4442650 w 7402822"/>
              <a:gd name="connsiteY2940" fmla="*/ 2363037 h 4749526"/>
              <a:gd name="connsiteX2941" fmla="*/ 4447617 w 7402822"/>
              <a:gd name="connsiteY2941" fmla="*/ 2366243 h 4749526"/>
              <a:gd name="connsiteX2942" fmla="*/ 4453238 w 7402822"/>
              <a:gd name="connsiteY2942" fmla="*/ 2363793 h 4749526"/>
              <a:gd name="connsiteX2943" fmla="*/ 4452975 w 7402822"/>
              <a:gd name="connsiteY2943" fmla="*/ 2366610 h 4749526"/>
              <a:gd name="connsiteX2944" fmla="*/ 4449598 w 7402822"/>
              <a:gd name="connsiteY2944" fmla="*/ 2373190 h 4749526"/>
              <a:gd name="connsiteX2945" fmla="*/ 4447432 w 7402822"/>
              <a:gd name="connsiteY2945" fmla="*/ 2374252 h 4749526"/>
              <a:gd name="connsiteX2946" fmla="*/ 4447400 w 7402822"/>
              <a:gd name="connsiteY2946" fmla="*/ 2375942 h 4749526"/>
              <a:gd name="connsiteX2947" fmla="*/ 4447468 w 7402822"/>
              <a:gd name="connsiteY2947" fmla="*/ 2385329 h 4749526"/>
              <a:gd name="connsiteX2948" fmla="*/ 4449210 w 7402822"/>
              <a:gd name="connsiteY2948" fmla="*/ 2395597 h 4749526"/>
              <a:gd name="connsiteX2949" fmla="*/ 4449960 w 7402822"/>
              <a:gd name="connsiteY2949" fmla="*/ 2395753 h 4749526"/>
              <a:gd name="connsiteX2950" fmla="*/ 4450802 w 7402822"/>
              <a:gd name="connsiteY2950" fmla="*/ 2400915 h 4749526"/>
              <a:gd name="connsiteX2951" fmla="*/ 4462381 w 7402822"/>
              <a:gd name="connsiteY2951" fmla="*/ 2416886 h 4749526"/>
              <a:gd name="connsiteX2952" fmla="*/ 4463856 w 7402822"/>
              <a:gd name="connsiteY2952" fmla="*/ 2420660 h 4749526"/>
              <a:gd name="connsiteX2953" fmla="*/ 4463856 w 7402822"/>
              <a:gd name="connsiteY2953" fmla="*/ 2420660 h 4749526"/>
              <a:gd name="connsiteX2954" fmla="*/ 4466295 w 7402822"/>
              <a:gd name="connsiteY2954" fmla="*/ 2422606 h 4749526"/>
              <a:gd name="connsiteX2955" fmla="*/ 4466413 w 7402822"/>
              <a:gd name="connsiteY2955" fmla="*/ 2423231 h 4749526"/>
              <a:gd name="connsiteX2956" fmla="*/ 4471509 w 7402822"/>
              <a:gd name="connsiteY2956" fmla="*/ 2427617 h 4749526"/>
              <a:gd name="connsiteX2957" fmla="*/ 4471526 w 7402822"/>
              <a:gd name="connsiteY2957" fmla="*/ 2427632 h 4749526"/>
              <a:gd name="connsiteX2958" fmla="*/ 4473240 w 7402822"/>
              <a:gd name="connsiteY2958" fmla="*/ 2429344 h 4749526"/>
              <a:gd name="connsiteX2959" fmla="*/ 4473246 w 7402822"/>
              <a:gd name="connsiteY2959" fmla="*/ 2429349 h 4749526"/>
              <a:gd name="connsiteX2960" fmla="*/ 4476692 w 7402822"/>
              <a:gd name="connsiteY2960" fmla="*/ 2434514 h 4749526"/>
              <a:gd name="connsiteX2961" fmla="*/ 4476694 w 7402822"/>
              <a:gd name="connsiteY2961" fmla="*/ 2434516 h 4749526"/>
              <a:gd name="connsiteX2962" fmla="*/ 4478408 w 7402822"/>
              <a:gd name="connsiteY2962" fmla="*/ 2437103 h 4749526"/>
              <a:gd name="connsiteX2963" fmla="*/ 4481003 w 7402822"/>
              <a:gd name="connsiteY2963" fmla="*/ 2445719 h 4749526"/>
              <a:gd name="connsiteX2964" fmla="*/ 4487534 w 7402822"/>
              <a:gd name="connsiteY2964" fmla="*/ 2450698 h 4749526"/>
              <a:gd name="connsiteX2965" fmla="*/ 4490949 w 7402822"/>
              <a:gd name="connsiteY2965" fmla="*/ 2460503 h 4749526"/>
              <a:gd name="connsiteX2966" fmla="*/ 4490476 w 7402822"/>
              <a:gd name="connsiteY2966" fmla="*/ 2469124 h 4749526"/>
              <a:gd name="connsiteX2967" fmla="*/ 4486102 w 7402822"/>
              <a:gd name="connsiteY2967" fmla="*/ 2476745 h 4749526"/>
              <a:gd name="connsiteX2968" fmla="*/ 4482645 w 7402822"/>
              <a:gd name="connsiteY2968" fmla="*/ 2487106 h 4749526"/>
              <a:gd name="connsiteX2969" fmla="*/ 4483947 w 7402822"/>
              <a:gd name="connsiteY2969" fmla="*/ 2491496 h 4749526"/>
              <a:gd name="connsiteX2970" fmla="*/ 4482869 w 7402822"/>
              <a:gd name="connsiteY2970" fmla="*/ 2493689 h 4749526"/>
              <a:gd name="connsiteX2971" fmla="*/ 4475793 w 7402822"/>
              <a:gd name="connsiteY2971" fmla="*/ 2499993 h 4749526"/>
              <a:gd name="connsiteX2972" fmla="*/ 4474790 w 7402822"/>
              <a:gd name="connsiteY2972" fmla="*/ 2513939 h 4749526"/>
              <a:gd name="connsiteX2973" fmla="*/ 4474806 w 7402822"/>
              <a:gd name="connsiteY2973" fmla="*/ 2515412 h 4749526"/>
              <a:gd name="connsiteX2974" fmla="*/ 4475678 w 7402822"/>
              <a:gd name="connsiteY2974" fmla="*/ 2519862 h 4749526"/>
              <a:gd name="connsiteX2975" fmla="*/ 4480022 w 7402822"/>
              <a:gd name="connsiteY2975" fmla="*/ 2537078 h 4749526"/>
              <a:gd name="connsiteX2976" fmla="*/ 4485306 w 7402822"/>
              <a:gd name="connsiteY2976" fmla="*/ 2537145 h 4749526"/>
              <a:gd name="connsiteX2977" fmla="*/ 4488612 w 7402822"/>
              <a:gd name="connsiteY2977" fmla="*/ 2533617 h 4749526"/>
              <a:gd name="connsiteX2978" fmla="*/ 4495816 w 7402822"/>
              <a:gd name="connsiteY2978" fmla="*/ 2533676 h 4749526"/>
              <a:gd name="connsiteX2979" fmla="*/ 4497479 w 7402822"/>
              <a:gd name="connsiteY2979" fmla="*/ 2536957 h 4749526"/>
              <a:gd name="connsiteX2980" fmla="*/ 4497229 w 7402822"/>
              <a:gd name="connsiteY2980" fmla="*/ 2538724 h 4749526"/>
              <a:gd name="connsiteX2981" fmla="*/ 4500125 w 7402822"/>
              <a:gd name="connsiteY2981" fmla="*/ 2540715 h 4749526"/>
              <a:gd name="connsiteX2982" fmla="*/ 4503770 w 7402822"/>
              <a:gd name="connsiteY2982" fmla="*/ 2546957 h 4749526"/>
              <a:gd name="connsiteX2983" fmla="*/ 4511987 w 7402822"/>
              <a:gd name="connsiteY2983" fmla="*/ 2555076 h 4749526"/>
              <a:gd name="connsiteX2984" fmla="*/ 4517957 w 7402822"/>
              <a:gd name="connsiteY2984" fmla="*/ 2557832 h 4749526"/>
              <a:gd name="connsiteX2985" fmla="*/ 4528478 w 7402822"/>
              <a:gd name="connsiteY2985" fmla="*/ 2560557 h 4749526"/>
              <a:gd name="connsiteX2986" fmla="*/ 4535279 w 7402822"/>
              <a:gd name="connsiteY2986" fmla="*/ 2561186 h 4749526"/>
              <a:gd name="connsiteX2987" fmla="*/ 4539647 w 7402822"/>
              <a:gd name="connsiteY2987" fmla="*/ 2558732 h 4749526"/>
              <a:gd name="connsiteX2988" fmla="*/ 4544765 w 7402822"/>
              <a:gd name="connsiteY2988" fmla="*/ 2560436 h 4749526"/>
              <a:gd name="connsiteX2989" fmla="*/ 4560940 w 7402822"/>
              <a:gd name="connsiteY2989" fmla="*/ 2556407 h 4749526"/>
              <a:gd name="connsiteX2990" fmla="*/ 4567938 w 7402822"/>
              <a:gd name="connsiteY2990" fmla="*/ 2557015 h 4749526"/>
              <a:gd name="connsiteX2991" fmla="*/ 4572613 w 7402822"/>
              <a:gd name="connsiteY2991" fmla="*/ 2556910 h 4749526"/>
              <a:gd name="connsiteX2992" fmla="*/ 4578183 w 7402822"/>
              <a:gd name="connsiteY2992" fmla="*/ 2549073 h 4749526"/>
              <a:gd name="connsiteX2993" fmla="*/ 4576337 w 7402822"/>
              <a:gd name="connsiteY2993" fmla="*/ 2544039 h 4749526"/>
              <a:gd name="connsiteX2994" fmla="*/ 4576604 w 7402822"/>
              <a:gd name="connsiteY2994" fmla="*/ 2538876 h 4749526"/>
              <a:gd name="connsiteX2995" fmla="*/ 4575014 w 7402822"/>
              <a:gd name="connsiteY2995" fmla="*/ 2535867 h 4749526"/>
              <a:gd name="connsiteX2996" fmla="*/ 4575013 w 7402822"/>
              <a:gd name="connsiteY2996" fmla="*/ 2511543 h 4749526"/>
              <a:gd name="connsiteX2997" fmla="*/ 4576642 w 7402822"/>
              <a:gd name="connsiteY2997" fmla="*/ 2508633 h 4749526"/>
              <a:gd name="connsiteX2998" fmla="*/ 4576843 w 7402822"/>
              <a:gd name="connsiteY2998" fmla="*/ 2508700 h 4749526"/>
              <a:gd name="connsiteX2999" fmla="*/ 4577477 w 7402822"/>
              <a:gd name="connsiteY2999" fmla="*/ 2506022 h 4749526"/>
              <a:gd name="connsiteX3000" fmla="*/ 4578367 w 7402822"/>
              <a:gd name="connsiteY3000" fmla="*/ 2501750 h 4749526"/>
              <a:gd name="connsiteX3001" fmla="*/ 4578363 w 7402822"/>
              <a:gd name="connsiteY3001" fmla="*/ 2501746 h 4749526"/>
              <a:gd name="connsiteX3002" fmla="*/ 4576641 w 7402822"/>
              <a:gd name="connsiteY3002" fmla="*/ 2500029 h 4749526"/>
              <a:gd name="connsiteX3003" fmla="*/ 4576637 w 7402822"/>
              <a:gd name="connsiteY3003" fmla="*/ 2500024 h 4749526"/>
              <a:gd name="connsiteX3004" fmla="*/ 4574915 w 7402822"/>
              <a:gd name="connsiteY3004" fmla="*/ 2498308 h 4749526"/>
              <a:gd name="connsiteX3005" fmla="*/ 4574911 w 7402822"/>
              <a:gd name="connsiteY3005" fmla="*/ 2498304 h 4749526"/>
              <a:gd name="connsiteX3006" fmla="*/ 4567075 w 7402822"/>
              <a:gd name="connsiteY3006" fmla="*/ 2489872 h 4749526"/>
              <a:gd name="connsiteX3007" fmla="*/ 4562003 w 7402822"/>
              <a:gd name="connsiteY3007" fmla="*/ 2488859 h 4749526"/>
              <a:gd name="connsiteX3008" fmla="*/ 4562118 w 7402822"/>
              <a:gd name="connsiteY3008" fmla="*/ 2487219 h 4749526"/>
              <a:gd name="connsiteX3009" fmla="*/ 4567133 w 7402822"/>
              <a:gd name="connsiteY3009" fmla="*/ 2486210 h 4749526"/>
              <a:gd name="connsiteX3010" fmla="*/ 4568969 w 7402822"/>
              <a:gd name="connsiteY3010" fmla="*/ 2485411 h 4749526"/>
              <a:gd name="connsiteX3011" fmla="*/ 4568907 w 7402822"/>
              <a:gd name="connsiteY3011" fmla="*/ 2481913 h 4749526"/>
              <a:gd name="connsiteX3012" fmla="*/ 4568968 w 7402822"/>
              <a:gd name="connsiteY3012" fmla="*/ 2478512 h 4749526"/>
              <a:gd name="connsiteX3013" fmla="*/ 4569770 w 7402822"/>
              <a:gd name="connsiteY3013" fmla="*/ 2474127 h 4749526"/>
              <a:gd name="connsiteX3014" fmla="*/ 4568875 w 7402822"/>
              <a:gd name="connsiteY3014" fmla="*/ 2474127 h 4749526"/>
              <a:gd name="connsiteX3015" fmla="*/ 4566546 w 7402822"/>
              <a:gd name="connsiteY3015" fmla="*/ 2474523 h 4749526"/>
              <a:gd name="connsiteX3016" fmla="*/ 4563808 w 7402822"/>
              <a:gd name="connsiteY3016" fmla="*/ 2476497 h 4749526"/>
              <a:gd name="connsiteX3017" fmla="*/ 4555095 w 7402822"/>
              <a:gd name="connsiteY3017" fmla="*/ 2474177 h 4749526"/>
              <a:gd name="connsiteX3018" fmla="*/ 4555077 w 7402822"/>
              <a:gd name="connsiteY3018" fmla="*/ 2456034 h 4749526"/>
              <a:gd name="connsiteX3019" fmla="*/ 4559383 w 7402822"/>
              <a:gd name="connsiteY3019" fmla="*/ 2452676 h 4749526"/>
              <a:gd name="connsiteX3020" fmla="*/ 4573224 w 7402822"/>
              <a:gd name="connsiteY3020" fmla="*/ 2449431 h 4749526"/>
              <a:gd name="connsiteX3021" fmla="*/ 4573224 w 7402822"/>
              <a:gd name="connsiteY3021" fmla="*/ 2454330 h 4749526"/>
              <a:gd name="connsiteX3022" fmla="*/ 4582580 w 7402822"/>
              <a:gd name="connsiteY3022" fmla="*/ 2455099 h 4749526"/>
              <a:gd name="connsiteX3023" fmla="*/ 4587722 w 7402822"/>
              <a:gd name="connsiteY3023" fmla="*/ 2453367 h 4749526"/>
              <a:gd name="connsiteX3024" fmla="*/ 4589543 w 7402822"/>
              <a:gd name="connsiteY3024" fmla="*/ 2452542 h 4749526"/>
              <a:gd name="connsiteX3025" fmla="*/ 4593040 w 7402822"/>
              <a:gd name="connsiteY3025" fmla="*/ 2451840 h 4749526"/>
              <a:gd name="connsiteX3026" fmla="*/ 4593899 w 7402822"/>
              <a:gd name="connsiteY3026" fmla="*/ 2443112 h 4749526"/>
              <a:gd name="connsiteX3027" fmla="*/ 4592979 w 7402822"/>
              <a:gd name="connsiteY3027" fmla="*/ 2442389 h 4749526"/>
              <a:gd name="connsiteX3028" fmla="*/ 4584262 w 7402822"/>
              <a:gd name="connsiteY3028" fmla="*/ 2434674 h 4749526"/>
              <a:gd name="connsiteX3029" fmla="*/ 4584269 w 7402822"/>
              <a:gd name="connsiteY3029" fmla="*/ 2434678 h 4749526"/>
              <a:gd name="connsiteX3030" fmla="*/ 4584256 w 7402822"/>
              <a:gd name="connsiteY3030" fmla="*/ 2434669 h 4749526"/>
              <a:gd name="connsiteX3031" fmla="*/ 4584262 w 7402822"/>
              <a:gd name="connsiteY3031" fmla="*/ 2434674 h 4749526"/>
              <a:gd name="connsiteX3032" fmla="*/ 4581908 w 7402822"/>
              <a:gd name="connsiteY3032" fmla="*/ 2433591 h 4749526"/>
              <a:gd name="connsiteX3033" fmla="*/ 4580008 w 7402822"/>
              <a:gd name="connsiteY3033" fmla="*/ 2428569 h 4749526"/>
              <a:gd name="connsiteX3034" fmla="*/ 4576766 w 7402822"/>
              <a:gd name="connsiteY3034" fmla="*/ 2417164 h 4749526"/>
              <a:gd name="connsiteX3035" fmla="*/ 4560558 w 7402822"/>
              <a:gd name="connsiteY3035" fmla="*/ 2417430 h 4749526"/>
              <a:gd name="connsiteX3036" fmla="*/ 4555061 w 7402822"/>
              <a:gd name="connsiteY3036" fmla="*/ 2426746 h 4749526"/>
              <a:gd name="connsiteX3037" fmla="*/ 4555019 w 7402822"/>
              <a:gd name="connsiteY3037" fmla="*/ 2427682 h 4749526"/>
              <a:gd name="connsiteX3038" fmla="*/ 4555033 w 7402822"/>
              <a:gd name="connsiteY3038" fmla="*/ 2427710 h 4749526"/>
              <a:gd name="connsiteX3039" fmla="*/ 4556515 w 7402822"/>
              <a:gd name="connsiteY3039" fmla="*/ 2439801 h 4749526"/>
              <a:gd name="connsiteX3040" fmla="*/ 4554646 w 7402822"/>
              <a:gd name="connsiteY3040" fmla="*/ 2440279 h 4749526"/>
              <a:gd name="connsiteX3041" fmla="*/ 4550910 w 7402822"/>
              <a:gd name="connsiteY3041" fmla="*/ 2433648 h 4749526"/>
              <a:gd name="connsiteX3042" fmla="*/ 4548309 w 7402822"/>
              <a:gd name="connsiteY3042" fmla="*/ 2426074 h 4749526"/>
              <a:gd name="connsiteX3043" fmla="*/ 4547464 w 7402822"/>
              <a:gd name="connsiteY3043" fmla="*/ 2422345 h 4749526"/>
              <a:gd name="connsiteX3044" fmla="*/ 4548128 w 7402822"/>
              <a:gd name="connsiteY3044" fmla="*/ 2417261 h 4749526"/>
              <a:gd name="connsiteX3045" fmla="*/ 4549123 w 7402822"/>
              <a:gd name="connsiteY3045" fmla="*/ 2415590 h 4749526"/>
              <a:gd name="connsiteX3046" fmla="*/ 4549220 w 7402822"/>
              <a:gd name="connsiteY3046" fmla="*/ 2412124 h 4749526"/>
              <a:gd name="connsiteX3047" fmla="*/ 4552437 w 7402822"/>
              <a:gd name="connsiteY3047" fmla="*/ 2407116 h 4749526"/>
              <a:gd name="connsiteX3048" fmla="*/ 4546975 w 7402822"/>
              <a:gd name="connsiteY3048" fmla="*/ 2396562 h 4749526"/>
              <a:gd name="connsiteX3049" fmla="*/ 4541315 w 7402822"/>
              <a:gd name="connsiteY3049" fmla="*/ 2395637 h 4749526"/>
              <a:gd name="connsiteX3050" fmla="*/ 4538731 w 7402822"/>
              <a:gd name="connsiteY3050" fmla="*/ 2396440 h 4749526"/>
              <a:gd name="connsiteX3051" fmla="*/ 4535406 w 7402822"/>
              <a:gd name="connsiteY3051" fmla="*/ 2393159 h 4749526"/>
              <a:gd name="connsiteX3052" fmla="*/ 4535228 w 7402822"/>
              <a:gd name="connsiteY3052" fmla="*/ 2392324 h 4749526"/>
              <a:gd name="connsiteX3053" fmla="*/ 4532613 w 7402822"/>
              <a:gd name="connsiteY3053" fmla="*/ 2388138 h 4749526"/>
              <a:gd name="connsiteX3054" fmla="*/ 4525895 w 7402822"/>
              <a:gd name="connsiteY3054" fmla="*/ 2387895 h 4749526"/>
              <a:gd name="connsiteX3055" fmla="*/ 4523330 w 7402822"/>
              <a:gd name="connsiteY3055" fmla="*/ 2385077 h 4749526"/>
              <a:gd name="connsiteX3056" fmla="*/ 4523161 w 7402822"/>
              <a:gd name="connsiteY3056" fmla="*/ 2375188 h 4749526"/>
              <a:gd name="connsiteX3057" fmla="*/ 4520752 w 7402822"/>
              <a:gd name="connsiteY3057" fmla="*/ 2373334 h 4749526"/>
              <a:gd name="connsiteX3058" fmla="*/ 4520811 w 7402822"/>
              <a:gd name="connsiteY3058" fmla="*/ 2370655 h 4749526"/>
              <a:gd name="connsiteX3059" fmla="*/ 4519002 w 7402822"/>
              <a:gd name="connsiteY3059" fmla="*/ 2368168 h 4749526"/>
              <a:gd name="connsiteX3060" fmla="*/ 4518843 w 7402822"/>
              <a:gd name="connsiteY3060" fmla="*/ 2367342 h 4749526"/>
              <a:gd name="connsiteX3061" fmla="*/ 4517093 w 7402822"/>
              <a:gd name="connsiteY3061" fmla="*/ 2364755 h 4749526"/>
              <a:gd name="connsiteX3062" fmla="*/ 4516480 w 7402822"/>
              <a:gd name="connsiteY3062" fmla="*/ 2362128 h 4749526"/>
              <a:gd name="connsiteX3063" fmla="*/ 4515597 w 7402822"/>
              <a:gd name="connsiteY3063" fmla="*/ 2360412 h 4749526"/>
              <a:gd name="connsiteX3064" fmla="*/ 4515402 w 7402822"/>
              <a:gd name="connsiteY3064" fmla="*/ 2358707 h 4749526"/>
              <a:gd name="connsiteX3065" fmla="*/ 4502940 w 7402822"/>
              <a:gd name="connsiteY3065" fmla="*/ 2352449 h 4749526"/>
              <a:gd name="connsiteX3066" fmla="*/ 4516944 w 7402822"/>
              <a:gd name="connsiteY3066" fmla="*/ 2347689 h 4749526"/>
              <a:gd name="connsiteX3067" fmla="*/ 4519781 w 7402822"/>
              <a:gd name="connsiteY3067" fmla="*/ 2349479 h 4749526"/>
              <a:gd name="connsiteX3068" fmla="*/ 4521503 w 7402822"/>
              <a:gd name="connsiteY3068" fmla="*/ 2349213 h 4749526"/>
              <a:gd name="connsiteX3069" fmla="*/ 4524084 w 7402822"/>
              <a:gd name="connsiteY3069" fmla="*/ 2347496 h 4749526"/>
              <a:gd name="connsiteX3070" fmla="*/ 4522340 w 7402822"/>
              <a:gd name="connsiteY3070" fmla="*/ 2342326 h 4749526"/>
              <a:gd name="connsiteX3071" fmla="*/ 4520729 w 7402822"/>
              <a:gd name="connsiteY3071" fmla="*/ 2338378 h 4749526"/>
              <a:gd name="connsiteX3072" fmla="*/ 4528339 w 7402822"/>
              <a:gd name="connsiteY3072" fmla="*/ 2325859 h 4749526"/>
              <a:gd name="connsiteX3073" fmla="*/ 4540842 w 7402822"/>
              <a:gd name="connsiteY3073" fmla="*/ 2322524 h 4749526"/>
              <a:gd name="connsiteX3074" fmla="*/ 4548858 w 7402822"/>
              <a:gd name="connsiteY3074" fmla="*/ 2325095 h 4749526"/>
              <a:gd name="connsiteX3075" fmla="*/ 4553339 w 7402822"/>
              <a:gd name="connsiteY3075" fmla="*/ 2327711 h 4749526"/>
              <a:gd name="connsiteX3076" fmla="*/ 4553337 w 7402822"/>
              <a:gd name="connsiteY3076" fmla="*/ 2327708 h 4749526"/>
              <a:gd name="connsiteX3077" fmla="*/ 4555113 w 7402822"/>
              <a:gd name="connsiteY3077" fmla="*/ 2329377 h 4749526"/>
              <a:gd name="connsiteX3078" fmla="*/ 4555067 w 7402822"/>
              <a:gd name="connsiteY3078" fmla="*/ 2329434 h 4749526"/>
              <a:gd name="connsiteX3079" fmla="*/ 4568111 w 7402822"/>
              <a:gd name="connsiteY3079" fmla="*/ 2329521 h 4749526"/>
              <a:gd name="connsiteX3080" fmla="*/ 4572846 w 7402822"/>
              <a:gd name="connsiteY3080" fmla="*/ 2330413 h 4749526"/>
              <a:gd name="connsiteX3081" fmla="*/ 4570359 w 7402822"/>
              <a:gd name="connsiteY3081" fmla="*/ 2334838 h 4749526"/>
              <a:gd name="connsiteX3082" fmla="*/ 4568958 w 7402822"/>
              <a:gd name="connsiteY3082" fmla="*/ 2336318 h 4749526"/>
              <a:gd name="connsiteX3083" fmla="*/ 4568192 w 7402822"/>
              <a:gd name="connsiteY3083" fmla="*/ 2338067 h 4749526"/>
              <a:gd name="connsiteX3084" fmla="*/ 4562909 w 7402822"/>
              <a:gd name="connsiteY3084" fmla="*/ 2348369 h 4749526"/>
              <a:gd name="connsiteX3085" fmla="*/ 4560363 w 7402822"/>
              <a:gd name="connsiteY3085" fmla="*/ 2350965 h 4749526"/>
              <a:gd name="connsiteX3086" fmla="*/ 4558605 w 7402822"/>
              <a:gd name="connsiteY3086" fmla="*/ 2352689 h 4749526"/>
              <a:gd name="connsiteX3087" fmla="*/ 4558605 w 7402822"/>
              <a:gd name="connsiteY3087" fmla="*/ 2352689 h 4749526"/>
              <a:gd name="connsiteX3088" fmla="*/ 4558585 w 7402822"/>
              <a:gd name="connsiteY3088" fmla="*/ 2352709 h 4749526"/>
              <a:gd name="connsiteX3089" fmla="*/ 4558605 w 7402822"/>
              <a:gd name="connsiteY3089" fmla="*/ 2352689 h 4749526"/>
              <a:gd name="connsiteX3090" fmla="*/ 4558630 w 7402822"/>
              <a:gd name="connsiteY3090" fmla="*/ 2357802 h 4749526"/>
              <a:gd name="connsiteX3091" fmla="*/ 4559420 w 7402822"/>
              <a:gd name="connsiteY3091" fmla="*/ 2357956 h 4749526"/>
              <a:gd name="connsiteX3092" fmla="*/ 4567133 w 7402822"/>
              <a:gd name="connsiteY3092" fmla="*/ 2349117 h 4749526"/>
              <a:gd name="connsiteX3093" fmla="*/ 4572043 w 7402822"/>
              <a:gd name="connsiteY3093" fmla="*/ 2340413 h 4749526"/>
              <a:gd name="connsiteX3094" fmla="*/ 4580083 w 7402822"/>
              <a:gd name="connsiteY3094" fmla="*/ 2336263 h 4749526"/>
              <a:gd name="connsiteX3095" fmla="*/ 4584250 w 7402822"/>
              <a:gd name="connsiteY3095" fmla="*/ 2334633 h 4749526"/>
              <a:gd name="connsiteX3096" fmla="*/ 4591414 w 7402822"/>
              <a:gd name="connsiteY3096" fmla="*/ 2334664 h 4749526"/>
              <a:gd name="connsiteX3097" fmla="*/ 4594727 w 7402822"/>
              <a:gd name="connsiteY3097" fmla="*/ 2332816 h 4749526"/>
              <a:gd name="connsiteX3098" fmla="*/ 4597284 w 7402822"/>
              <a:gd name="connsiteY3098" fmla="*/ 2326820 h 4749526"/>
              <a:gd name="connsiteX3099" fmla="*/ 4584977 w 7402822"/>
              <a:gd name="connsiteY3099" fmla="*/ 2315214 h 4749526"/>
              <a:gd name="connsiteX3100" fmla="*/ 4581678 w 7402822"/>
              <a:gd name="connsiteY3100" fmla="*/ 2313975 h 4749526"/>
              <a:gd name="connsiteX3101" fmla="*/ 4571077 w 7402822"/>
              <a:gd name="connsiteY3101" fmla="*/ 2316724 h 4749526"/>
              <a:gd name="connsiteX3102" fmla="*/ 4563322 w 7402822"/>
              <a:gd name="connsiteY3102" fmla="*/ 2314077 h 4749526"/>
              <a:gd name="connsiteX3103" fmla="*/ 4560607 w 7402822"/>
              <a:gd name="connsiteY3103" fmla="*/ 2309891 h 4749526"/>
              <a:gd name="connsiteX3104" fmla="*/ 4561725 w 7402822"/>
              <a:gd name="connsiteY3104" fmla="*/ 2310067 h 4749526"/>
              <a:gd name="connsiteX3105" fmla="*/ 4565686 w 7402822"/>
              <a:gd name="connsiteY3105" fmla="*/ 2299169 h 4749526"/>
              <a:gd name="connsiteX3106" fmla="*/ 4563581 w 7402822"/>
              <a:gd name="connsiteY3106" fmla="*/ 2289891 h 4749526"/>
              <a:gd name="connsiteX3107" fmla="*/ 4558437 w 7402822"/>
              <a:gd name="connsiteY3107" fmla="*/ 2277776 h 4749526"/>
              <a:gd name="connsiteX3108" fmla="*/ 4546447 w 7402822"/>
              <a:gd name="connsiteY3108" fmla="*/ 2276818 h 4749526"/>
              <a:gd name="connsiteX3109" fmla="*/ 4544602 w 7402822"/>
              <a:gd name="connsiteY3109" fmla="*/ 2279431 h 4749526"/>
              <a:gd name="connsiteX3110" fmla="*/ 4541291 w 7402822"/>
              <a:gd name="connsiteY3110" fmla="*/ 2281183 h 4749526"/>
              <a:gd name="connsiteX3111" fmla="*/ 4535746 w 7402822"/>
              <a:gd name="connsiteY3111" fmla="*/ 2281490 h 4749526"/>
              <a:gd name="connsiteX3112" fmla="*/ 4528557 w 7402822"/>
              <a:gd name="connsiteY3112" fmla="*/ 2277152 h 4749526"/>
              <a:gd name="connsiteX3113" fmla="*/ 4526662 w 7402822"/>
              <a:gd name="connsiteY3113" fmla="*/ 2273499 h 4749526"/>
              <a:gd name="connsiteX3114" fmla="*/ 2146316 w 7402822"/>
              <a:gd name="connsiteY3114" fmla="*/ 2270786 h 4749526"/>
              <a:gd name="connsiteX3115" fmla="*/ 2146316 w 7402822"/>
              <a:gd name="connsiteY3115" fmla="*/ 2276858 h 4749526"/>
              <a:gd name="connsiteX3116" fmla="*/ 2149352 w 7402822"/>
              <a:gd name="connsiteY3116" fmla="*/ 2285965 h 4749526"/>
              <a:gd name="connsiteX3117" fmla="*/ 2152388 w 7402822"/>
              <a:gd name="connsiteY3117" fmla="*/ 2285965 h 4749526"/>
              <a:gd name="connsiteX3118" fmla="*/ 2158459 w 7402822"/>
              <a:gd name="connsiteY3118" fmla="*/ 2285965 h 4749526"/>
              <a:gd name="connsiteX3119" fmla="*/ 2176674 w 7402822"/>
              <a:gd name="connsiteY3119" fmla="*/ 2285965 h 4749526"/>
              <a:gd name="connsiteX3120" fmla="*/ 2188817 w 7402822"/>
              <a:gd name="connsiteY3120" fmla="*/ 2285965 h 4749526"/>
              <a:gd name="connsiteX3121" fmla="*/ 2179710 w 7402822"/>
              <a:gd name="connsiteY3121" fmla="*/ 2292037 h 4749526"/>
              <a:gd name="connsiteX3122" fmla="*/ 2176674 w 7402822"/>
              <a:gd name="connsiteY3122" fmla="*/ 2298108 h 4749526"/>
              <a:gd name="connsiteX3123" fmla="*/ 2176674 w 7402822"/>
              <a:gd name="connsiteY3123" fmla="*/ 2301144 h 4749526"/>
              <a:gd name="connsiteX3124" fmla="*/ 2158459 w 7402822"/>
              <a:gd name="connsiteY3124" fmla="*/ 2295073 h 4749526"/>
              <a:gd name="connsiteX3125" fmla="*/ 2140244 w 7402822"/>
              <a:gd name="connsiteY3125" fmla="*/ 2282930 h 4749526"/>
              <a:gd name="connsiteX3126" fmla="*/ 2140244 w 7402822"/>
              <a:gd name="connsiteY3126" fmla="*/ 2273822 h 4749526"/>
              <a:gd name="connsiteX3127" fmla="*/ 2304179 w 7402822"/>
              <a:gd name="connsiteY3127" fmla="*/ 2267751 h 4749526"/>
              <a:gd name="connsiteX3128" fmla="*/ 2307214 w 7402822"/>
              <a:gd name="connsiteY3128" fmla="*/ 2273822 h 4749526"/>
              <a:gd name="connsiteX3129" fmla="*/ 2301143 w 7402822"/>
              <a:gd name="connsiteY3129" fmla="*/ 2276858 h 4749526"/>
              <a:gd name="connsiteX3130" fmla="*/ 2219175 w 7402822"/>
              <a:gd name="connsiteY3130" fmla="*/ 2267751 h 4749526"/>
              <a:gd name="connsiteX3131" fmla="*/ 2222212 w 7402822"/>
              <a:gd name="connsiteY3131" fmla="*/ 2273822 h 4749526"/>
              <a:gd name="connsiteX3132" fmla="*/ 2222212 w 7402822"/>
              <a:gd name="connsiteY3132" fmla="*/ 2289001 h 4749526"/>
              <a:gd name="connsiteX3133" fmla="*/ 2231319 w 7402822"/>
              <a:gd name="connsiteY3133" fmla="*/ 2292037 h 4749526"/>
              <a:gd name="connsiteX3134" fmla="*/ 2231319 w 7402822"/>
              <a:gd name="connsiteY3134" fmla="*/ 2298108 h 4749526"/>
              <a:gd name="connsiteX3135" fmla="*/ 2222212 w 7402822"/>
              <a:gd name="connsiteY3135" fmla="*/ 2307216 h 4749526"/>
              <a:gd name="connsiteX3136" fmla="*/ 2210068 w 7402822"/>
              <a:gd name="connsiteY3136" fmla="*/ 2310252 h 4749526"/>
              <a:gd name="connsiteX3137" fmla="*/ 2200961 w 7402822"/>
              <a:gd name="connsiteY3137" fmla="*/ 2307216 h 4749526"/>
              <a:gd name="connsiteX3138" fmla="*/ 2197924 w 7402822"/>
              <a:gd name="connsiteY3138" fmla="*/ 2298108 h 4749526"/>
              <a:gd name="connsiteX3139" fmla="*/ 2207033 w 7402822"/>
              <a:gd name="connsiteY3139" fmla="*/ 2285965 h 4749526"/>
              <a:gd name="connsiteX3140" fmla="*/ 2210068 w 7402822"/>
              <a:gd name="connsiteY3140" fmla="*/ 2276858 h 4749526"/>
              <a:gd name="connsiteX3141" fmla="*/ 2213103 w 7402822"/>
              <a:gd name="connsiteY3141" fmla="*/ 2270786 h 4749526"/>
              <a:gd name="connsiteX3142" fmla="*/ 2194889 w 7402822"/>
              <a:gd name="connsiteY3142" fmla="*/ 2252572 h 4749526"/>
              <a:gd name="connsiteX3143" fmla="*/ 2191853 w 7402822"/>
              <a:gd name="connsiteY3143" fmla="*/ 2258643 h 4749526"/>
              <a:gd name="connsiteX3144" fmla="*/ 2188817 w 7402822"/>
              <a:gd name="connsiteY3144" fmla="*/ 2261679 h 4749526"/>
              <a:gd name="connsiteX3145" fmla="*/ 2191853 w 7402822"/>
              <a:gd name="connsiteY3145" fmla="*/ 2264714 h 4749526"/>
              <a:gd name="connsiteX3146" fmla="*/ 2185782 w 7402822"/>
              <a:gd name="connsiteY3146" fmla="*/ 2264714 h 4749526"/>
              <a:gd name="connsiteX3147" fmla="*/ 2188817 w 7402822"/>
              <a:gd name="connsiteY3147" fmla="*/ 2258643 h 4749526"/>
              <a:gd name="connsiteX3148" fmla="*/ 935029 w 7402822"/>
              <a:gd name="connsiteY3148" fmla="*/ 2228284 h 4749526"/>
              <a:gd name="connsiteX3149" fmla="*/ 935029 w 7402822"/>
              <a:gd name="connsiteY3149" fmla="*/ 2234356 h 4749526"/>
              <a:gd name="connsiteX3150" fmla="*/ 941100 w 7402822"/>
              <a:gd name="connsiteY3150" fmla="*/ 2237393 h 4749526"/>
              <a:gd name="connsiteX3151" fmla="*/ 941100 w 7402822"/>
              <a:gd name="connsiteY3151" fmla="*/ 2243464 h 4749526"/>
              <a:gd name="connsiteX3152" fmla="*/ 931993 w 7402822"/>
              <a:gd name="connsiteY3152" fmla="*/ 2234356 h 4749526"/>
              <a:gd name="connsiteX3153" fmla="*/ 2143280 w 7402822"/>
              <a:gd name="connsiteY3153" fmla="*/ 2179712 h 4749526"/>
              <a:gd name="connsiteX3154" fmla="*/ 2155423 w 7402822"/>
              <a:gd name="connsiteY3154" fmla="*/ 2182748 h 4749526"/>
              <a:gd name="connsiteX3155" fmla="*/ 2185782 w 7402822"/>
              <a:gd name="connsiteY3155" fmla="*/ 2197927 h 4749526"/>
              <a:gd name="connsiteX3156" fmla="*/ 2191853 w 7402822"/>
              <a:gd name="connsiteY3156" fmla="*/ 2203998 h 4749526"/>
              <a:gd name="connsiteX3157" fmla="*/ 2185782 w 7402822"/>
              <a:gd name="connsiteY3157" fmla="*/ 2207034 h 4749526"/>
              <a:gd name="connsiteX3158" fmla="*/ 2182746 w 7402822"/>
              <a:gd name="connsiteY3158" fmla="*/ 2207034 h 4749526"/>
              <a:gd name="connsiteX3159" fmla="*/ 2155423 w 7402822"/>
              <a:gd name="connsiteY3159" fmla="*/ 2197927 h 4749526"/>
              <a:gd name="connsiteX3160" fmla="*/ 2134172 w 7402822"/>
              <a:gd name="connsiteY3160" fmla="*/ 2182748 h 4749526"/>
              <a:gd name="connsiteX3161" fmla="*/ 6686371 w 7402822"/>
              <a:gd name="connsiteY3161" fmla="*/ 2152390 h 4749526"/>
              <a:gd name="connsiteX3162" fmla="*/ 6689407 w 7402822"/>
              <a:gd name="connsiteY3162" fmla="*/ 2161497 h 4749526"/>
              <a:gd name="connsiteX3163" fmla="*/ 6683336 w 7402822"/>
              <a:gd name="connsiteY3163" fmla="*/ 2170605 h 4749526"/>
              <a:gd name="connsiteX3164" fmla="*/ 6668155 w 7402822"/>
              <a:gd name="connsiteY3164" fmla="*/ 2176676 h 4749526"/>
              <a:gd name="connsiteX3165" fmla="*/ 6668155 w 7402822"/>
              <a:gd name="connsiteY3165" fmla="*/ 2167569 h 4749526"/>
              <a:gd name="connsiteX3166" fmla="*/ 6674227 w 7402822"/>
              <a:gd name="connsiteY3166" fmla="*/ 2161497 h 4749526"/>
              <a:gd name="connsiteX3167" fmla="*/ 6683336 w 7402822"/>
              <a:gd name="connsiteY3167" fmla="*/ 2155426 h 4749526"/>
              <a:gd name="connsiteX3168" fmla="*/ 2310251 w 7402822"/>
              <a:gd name="connsiteY3168" fmla="*/ 2125067 h 4749526"/>
              <a:gd name="connsiteX3169" fmla="*/ 2322393 w 7402822"/>
              <a:gd name="connsiteY3169" fmla="*/ 2125067 h 4749526"/>
              <a:gd name="connsiteX3170" fmla="*/ 2322393 w 7402822"/>
              <a:gd name="connsiteY3170" fmla="*/ 2128104 h 4749526"/>
              <a:gd name="connsiteX3171" fmla="*/ 2319358 w 7402822"/>
              <a:gd name="connsiteY3171" fmla="*/ 2134174 h 4749526"/>
              <a:gd name="connsiteX3172" fmla="*/ 2313286 w 7402822"/>
              <a:gd name="connsiteY3172" fmla="*/ 2146318 h 4749526"/>
              <a:gd name="connsiteX3173" fmla="*/ 2298107 w 7402822"/>
              <a:gd name="connsiteY3173" fmla="*/ 2170604 h 4749526"/>
              <a:gd name="connsiteX3174" fmla="*/ 2295072 w 7402822"/>
              <a:gd name="connsiteY3174" fmla="*/ 2182748 h 4749526"/>
              <a:gd name="connsiteX3175" fmla="*/ 2295072 w 7402822"/>
              <a:gd name="connsiteY3175" fmla="*/ 2185784 h 4749526"/>
              <a:gd name="connsiteX3176" fmla="*/ 2301143 w 7402822"/>
              <a:gd name="connsiteY3176" fmla="*/ 2182748 h 4749526"/>
              <a:gd name="connsiteX3177" fmla="*/ 2307214 w 7402822"/>
              <a:gd name="connsiteY3177" fmla="*/ 2170604 h 4749526"/>
              <a:gd name="connsiteX3178" fmla="*/ 2316323 w 7402822"/>
              <a:gd name="connsiteY3178" fmla="*/ 2179712 h 4749526"/>
              <a:gd name="connsiteX3179" fmla="*/ 2313286 w 7402822"/>
              <a:gd name="connsiteY3179" fmla="*/ 2185784 h 4749526"/>
              <a:gd name="connsiteX3180" fmla="*/ 2316323 w 7402822"/>
              <a:gd name="connsiteY3180" fmla="*/ 2194891 h 4749526"/>
              <a:gd name="connsiteX3181" fmla="*/ 2319358 w 7402822"/>
              <a:gd name="connsiteY3181" fmla="*/ 2194891 h 4749526"/>
              <a:gd name="connsiteX3182" fmla="*/ 2325430 w 7402822"/>
              <a:gd name="connsiteY3182" fmla="*/ 2191855 h 4749526"/>
              <a:gd name="connsiteX3183" fmla="*/ 2328465 w 7402822"/>
              <a:gd name="connsiteY3183" fmla="*/ 2194891 h 4749526"/>
              <a:gd name="connsiteX3184" fmla="*/ 2331502 w 7402822"/>
              <a:gd name="connsiteY3184" fmla="*/ 2200963 h 4749526"/>
              <a:gd name="connsiteX3185" fmla="*/ 2337573 w 7402822"/>
              <a:gd name="connsiteY3185" fmla="*/ 2194891 h 4749526"/>
              <a:gd name="connsiteX3186" fmla="*/ 2340609 w 7402822"/>
              <a:gd name="connsiteY3186" fmla="*/ 2191855 h 4749526"/>
              <a:gd name="connsiteX3187" fmla="*/ 2346681 w 7402822"/>
              <a:gd name="connsiteY3187" fmla="*/ 2194891 h 4749526"/>
              <a:gd name="connsiteX3188" fmla="*/ 2352752 w 7402822"/>
              <a:gd name="connsiteY3188" fmla="*/ 2194891 h 4749526"/>
              <a:gd name="connsiteX3189" fmla="*/ 2358823 w 7402822"/>
              <a:gd name="connsiteY3189" fmla="*/ 2197927 h 4749526"/>
              <a:gd name="connsiteX3190" fmla="*/ 2361860 w 7402822"/>
              <a:gd name="connsiteY3190" fmla="*/ 2200963 h 4749526"/>
              <a:gd name="connsiteX3191" fmla="*/ 2361860 w 7402822"/>
              <a:gd name="connsiteY3191" fmla="*/ 2203998 h 4749526"/>
              <a:gd name="connsiteX3192" fmla="*/ 2355788 w 7402822"/>
              <a:gd name="connsiteY3192" fmla="*/ 2210070 h 4749526"/>
              <a:gd name="connsiteX3193" fmla="*/ 2352752 w 7402822"/>
              <a:gd name="connsiteY3193" fmla="*/ 2213106 h 4749526"/>
              <a:gd name="connsiteX3194" fmla="*/ 2355788 w 7402822"/>
              <a:gd name="connsiteY3194" fmla="*/ 2216142 h 4749526"/>
              <a:gd name="connsiteX3195" fmla="*/ 2355788 w 7402822"/>
              <a:gd name="connsiteY3195" fmla="*/ 2225249 h 4749526"/>
              <a:gd name="connsiteX3196" fmla="*/ 2367931 w 7402822"/>
              <a:gd name="connsiteY3196" fmla="*/ 2219177 h 4749526"/>
              <a:gd name="connsiteX3197" fmla="*/ 2370967 w 7402822"/>
              <a:gd name="connsiteY3197" fmla="*/ 2219177 h 4749526"/>
              <a:gd name="connsiteX3198" fmla="*/ 2370967 w 7402822"/>
              <a:gd name="connsiteY3198" fmla="*/ 2225249 h 4749526"/>
              <a:gd name="connsiteX3199" fmla="*/ 2361860 w 7402822"/>
              <a:gd name="connsiteY3199" fmla="*/ 2231321 h 4749526"/>
              <a:gd name="connsiteX3200" fmla="*/ 2358823 w 7402822"/>
              <a:gd name="connsiteY3200" fmla="*/ 2234356 h 4749526"/>
              <a:gd name="connsiteX3201" fmla="*/ 2355788 w 7402822"/>
              <a:gd name="connsiteY3201" fmla="*/ 2234356 h 4749526"/>
              <a:gd name="connsiteX3202" fmla="*/ 2352752 w 7402822"/>
              <a:gd name="connsiteY3202" fmla="*/ 2234356 h 4749526"/>
              <a:gd name="connsiteX3203" fmla="*/ 2352752 w 7402822"/>
              <a:gd name="connsiteY3203" fmla="*/ 2243464 h 4749526"/>
              <a:gd name="connsiteX3204" fmla="*/ 2361860 w 7402822"/>
              <a:gd name="connsiteY3204" fmla="*/ 2252572 h 4749526"/>
              <a:gd name="connsiteX3205" fmla="*/ 2361860 w 7402822"/>
              <a:gd name="connsiteY3205" fmla="*/ 2249535 h 4749526"/>
              <a:gd name="connsiteX3206" fmla="*/ 2364895 w 7402822"/>
              <a:gd name="connsiteY3206" fmla="*/ 2240428 h 4749526"/>
              <a:gd name="connsiteX3207" fmla="*/ 2370967 w 7402822"/>
              <a:gd name="connsiteY3207" fmla="*/ 2237393 h 4749526"/>
              <a:gd name="connsiteX3208" fmla="*/ 2374003 w 7402822"/>
              <a:gd name="connsiteY3208" fmla="*/ 2237393 h 4749526"/>
              <a:gd name="connsiteX3209" fmla="*/ 2370967 w 7402822"/>
              <a:gd name="connsiteY3209" fmla="*/ 2243464 h 4749526"/>
              <a:gd name="connsiteX3210" fmla="*/ 2367931 w 7402822"/>
              <a:gd name="connsiteY3210" fmla="*/ 2249535 h 4749526"/>
              <a:gd name="connsiteX3211" fmla="*/ 2367931 w 7402822"/>
              <a:gd name="connsiteY3211" fmla="*/ 2255607 h 4749526"/>
              <a:gd name="connsiteX3212" fmla="*/ 2374003 w 7402822"/>
              <a:gd name="connsiteY3212" fmla="*/ 2255607 h 4749526"/>
              <a:gd name="connsiteX3213" fmla="*/ 2377038 w 7402822"/>
              <a:gd name="connsiteY3213" fmla="*/ 2249535 h 4749526"/>
              <a:gd name="connsiteX3214" fmla="*/ 2377038 w 7402822"/>
              <a:gd name="connsiteY3214" fmla="*/ 2246500 h 4749526"/>
              <a:gd name="connsiteX3215" fmla="*/ 2380074 w 7402822"/>
              <a:gd name="connsiteY3215" fmla="*/ 2258643 h 4749526"/>
              <a:gd name="connsiteX3216" fmla="*/ 2377038 w 7402822"/>
              <a:gd name="connsiteY3216" fmla="*/ 2270786 h 4749526"/>
              <a:gd name="connsiteX3217" fmla="*/ 2374003 w 7402822"/>
              <a:gd name="connsiteY3217" fmla="*/ 2276858 h 4749526"/>
              <a:gd name="connsiteX3218" fmla="*/ 2367931 w 7402822"/>
              <a:gd name="connsiteY3218" fmla="*/ 2282930 h 4749526"/>
              <a:gd name="connsiteX3219" fmla="*/ 2361860 w 7402822"/>
              <a:gd name="connsiteY3219" fmla="*/ 2282930 h 4749526"/>
              <a:gd name="connsiteX3220" fmla="*/ 2349716 w 7402822"/>
              <a:gd name="connsiteY3220" fmla="*/ 2276858 h 4749526"/>
              <a:gd name="connsiteX3221" fmla="*/ 2352752 w 7402822"/>
              <a:gd name="connsiteY3221" fmla="*/ 2264714 h 4749526"/>
              <a:gd name="connsiteX3222" fmla="*/ 2352752 w 7402822"/>
              <a:gd name="connsiteY3222" fmla="*/ 2249535 h 4749526"/>
              <a:gd name="connsiteX3223" fmla="*/ 2349716 w 7402822"/>
              <a:gd name="connsiteY3223" fmla="*/ 2243464 h 4749526"/>
              <a:gd name="connsiteX3224" fmla="*/ 2343644 w 7402822"/>
              <a:gd name="connsiteY3224" fmla="*/ 2252572 h 4749526"/>
              <a:gd name="connsiteX3225" fmla="*/ 2334537 w 7402822"/>
              <a:gd name="connsiteY3225" fmla="*/ 2261679 h 4749526"/>
              <a:gd name="connsiteX3226" fmla="*/ 2328465 w 7402822"/>
              <a:gd name="connsiteY3226" fmla="*/ 2267751 h 4749526"/>
              <a:gd name="connsiteX3227" fmla="*/ 2325430 w 7402822"/>
              <a:gd name="connsiteY3227" fmla="*/ 2273822 h 4749526"/>
              <a:gd name="connsiteX3228" fmla="*/ 2316323 w 7402822"/>
              <a:gd name="connsiteY3228" fmla="*/ 2273822 h 4749526"/>
              <a:gd name="connsiteX3229" fmla="*/ 2313286 w 7402822"/>
              <a:gd name="connsiteY3229" fmla="*/ 2267751 h 4749526"/>
              <a:gd name="connsiteX3230" fmla="*/ 2322393 w 7402822"/>
              <a:gd name="connsiteY3230" fmla="*/ 2267751 h 4749526"/>
              <a:gd name="connsiteX3231" fmla="*/ 2334537 w 7402822"/>
              <a:gd name="connsiteY3231" fmla="*/ 2252572 h 4749526"/>
              <a:gd name="connsiteX3232" fmla="*/ 2331502 w 7402822"/>
              <a:gd name="connsiteY3232" fmla="*/ 2252572 h 4749526"/>
              <a:gd name="connsiteX3233" fmla="*/ 2322393 w 7402822"/>
              <a:gd name="connsiteY3233" fmla="*/ 2249535 h 4749526"/>
              <a:gd name="connsiteX3234" fmla="*/ 2322393 w 7402822"/>
              <a:gd name="connsiteY3234" fmla="*/ 2255607 h 4749526"/>
              <a:gd name="connsiteX3235" fmla="*/ 2319358 w 7402822"/>
              <a:gd name="connsiteY3235" fmla="*/ 2255607 h 4749526"/>
              <a:gd name="connsiteX3236" fmla="*/ 2316323 w 7402822"/>
              <a:gd name="connsiteY3236" fmla="*/ 2252572 h 4749526"/>
              <a:gd name="connsiteX3237" fmla="*/ 2313286 w 7402822"/>
              <a:gd name="connsiteY3237" fmla="*/ 2246500 h 4749526"/>
              <a:gd name="connsiteX3238" fmla="*/ 2307214 w 7402822"/>
              <a:gd name="connsiteY3238" fmla="*/ 2252572 h 4749526"/>
              <a:gd name="connsiteX3239" fmla="*/ 2301143 w 7402822"/>
              <a:gd name="connsiteY3239" fmla="*/ 2252572 h 4749526"/>
              <a:gd name="connsiteX3240" fmla="*/ 2292036 w 7402822"/>
              <a:gd name="connsiteY3240" fmla="*/ 2255607 h 4749526"/>
              <a:gd name="connsiteX3241" fmla="*/ 2285964 w 7402822"/>
              <a:gd name="connsiteY3241" fmla="*/ 2252572 h 4749526"/>
              <a:gd name="connsiteX3242" fmla="*/ 2282928 w 7402822"/>
              <a:gd name="connsiteY3242" fmla="*/ 2249535 h 4749526"/>
              <a:gd name="connsiteX3243" fmla="*/ 2261678 w 7402822"/>
              <a:gd name="connsiteY3243" fmla="*/ 2252572 h 4749526"/>
              <a:gd name="connsiteX3244" fmla="*/ 2243463 w 7402822"/>
              <a:gd name="connsiteY3244" fmla="*/ 2252572 h 4749526"/>
              <a:gd name="connsiteX3245" fmla="*/ 2240427 w 7402822"/>
              <a:gd name="connsiteY3245" fmla="*/ 2243464 h 4749526"/>
              <a:gd name="connsiteX3246" fmla="*/ 2249534 w 7402822"/>
              <a:gd name="connsiteY3246" fmla="*/ 2234356 h 4749526"/>
              <a:gd name="connsiteX3247" fmla="*/ 2258642 w 7402822"/>
              <a:gd name="connsiteY3247" fmla="*/ 2228284 h 4749526"/>
              <a:gd name="connsiteX3248" fmla="*/ 2255606 w 7402822"/>
              <a:gd name="connsiteY3248" fmla="*/ 2222214 h 4749526"/>
              <a:gd name="connsiteX3249" fmla="*/ 2261678 w 7402822"/>
              <a:gd name="connsiteY3249" fmla="*/ 2203998 h 4749526"/>
              <a:gd name="connsiteX3250" fmla="*/ 2264713 w 7402822"/>
              <a:gd name="connsiteY3250" fmla="*/ 2200963 h 4749526"/>
              <a:gd name="connsiteX3251" fmla="*/ 2264713 w 7402822"/>
              <a:gd name="connsiteY3251" fmla="*/ 2194891 h 4749526"/>
              <a:gd name="connsiteX3252" fmla="*/ 2270785 w 7402822"/>
              <a:gd name="connsiteY3252" fmla="*/ 2188819 h 4749526"/>
              <a:gd name="connsiteX3253" fmla="*/ 2273821 w 7402822"/>
              <a:gd name="connsiteY3253" fmla="*/ 2179712 h 4749526"/>
              <a:gd name="connsiteX3254" fmla="*/ 2279893 w 7402822"/>
              <a:gd name="connsiteY3254" fmla="*/ 2161497 h 4749526"/>
              <a:gd name="connsiteX3255" fmla="*/ 2289000 w 7402822"/>
              <a:gd name="connsiteY3255" fmla="*/ 2146318 h 4749526"/>
              <a:gd name="connsiteX3256" fmla="*/ 2298107 w 7402822"/>
              <a:gd name="connsiteY3256" fmla="*/ 2134174 h 4749526"/>
              <a:gd name="connsiteX3257" fmla="*/ 822704 w 7402822"/>
              <a:gd name="connsiteY3257" fmla="*/ 2106853 h 4749526"/>
              <a:gd name="connsiteX3258" fmla="*/ 825739 w 7402822"/>
              <a:gd name="connsiteY3258" fmla="*/ 2106853 h 4749526"/>
              <a:gd name="connsiteX3259" fmla="*/ 822704 w 7402822"/>
              <a:gd name="connsiteY3259" fmla="*/ 2109888 h 4749526"/>
              <a:gd name="connsiteX3260" fmla="*/ 7299605 w 7402822"/>
              <a:gd name="connsiteY3260" fmla="*/ 2097745 h 4749526"/>
              <a:gd name="connsiteX3261" fmla="*/ 7302640 w 7402822"/>
              <a:gd name="connsiteY3261" fmla="*/ 2103817 h 4749526"/>
              <a:gd name="connsiteX3262" fmla="*/ 7293533 w 7402822"/>
              <a:gd name="connsiteY3262" fmla="*/ 2109889 h 4749526"/>
              <a:gd name="connsiteX3263" fmla="*/ 7284425 w 7402822"/>
              <a:gd name="connsiteY3263" fmla="*/ 2112925 h 4749526"/>
              <a:gd name="connsiteX3264" fmla="*/ 7275317 w 7402822"/>
              <a:gd name="connsiteY3264" fmla="*/ 2109889 h 4749526"/>
              <a:gd name="connsiteX3265" fmla="*/ 7287461 w 7402822"/>
              <a:gd name="connsiteY3265" fmla="*/ 2109889 h 4749526"/>
              <a:gd name="connsiteX3266" fmla="*/ 7296569 w 7402822"/>
              <a:gd name="connsiteY3266" fmla="*/ 2103817 h 4749526"/>
              <a:gd name="connsiteX3267" fmla="*/ 743773 w 7402822"/>
              <a:gd name="connsiteY3267" fmla="*/ 2073459 h 4749526"/>
              <a:gd name="connsiteX3268" fmla="*/ 749845 w 7402822"/>
              <a:gd name="connsiteY3268" fmla="*/ 2076495 h 4749526"/>
              <a:gd name="connsiteX3269" fmla="*/ 755915 w 7402822"/>
              <a:gd name="connsiteY3269" fmla="*/ 2103817 h 4749526"/>
              <a:gd name="connsiteX3270" fmla="*/ 758952 w 7402822"/>
              <a:gd name="connsiteY3270" fmla="*/ 2103817 h 4749526"/>
              <a:gd name="connsiteX3271" fmla="*/ 761987 w 7402822"/>
              <a:gd name="connsiteY3271" fmla="*/ 2106853 h 4749526"/>
              <a:gd name="connsiteX3272" fmla="*/ 755915 w 7402822"/>
              <a:gd name="connsiteY3272" fmla="*/ 2109888 h 4749526"/>
              <a:gd name="connsiteX3273" fmla="*/ 740738 w 7402822"/>
              <a:gd name="connsiteY3273" fmla="*/ 2088638 h 4749526"/>
              <a:gd name="connsiteX3274" fmla="*/ 734665 w 7402822"/>
              <a:gd name="connsiteY3274" fmla="*/ 2076495 h 4749526"/>
              <a:gd name="connsiteX3275" fmla="*/ 1775947 w 7402822"/>
              <a:gd name="connsiteY3275" fmla="*/ 2070423 h 4749526"/>
              <a:gd name="connsiteX3276" fmla="*/ 1794163 w 7402822"/>
              <a:gd name="connsiteY3276" fmla="*/ 2070423 h 4749526"/>
              <a:gd name="connsiteX3277" fmla="*/ 1800233 w 7402822"/>
              <a:gd name="connsiteY3277" fmla="*/ 2088638 h 4749526"/>
              <a:gd name="connsiteX3278" fmla="*/ 1791126 w 7402822"/>
              <a:gd name="connsiteY3278" fmla="*/ 2085602 h 4749526"/>
              <a:gd name="connsiteX3279" fmla="*/ 1778984 w 7402822"/>
              <a:gd name="connsiteY3279" fmla="*/ 2079530 h 4749526"/>
              <a:gd name="connsiteX3280" fmla="*/ 1772912 w 7402822"/>
              <a:gd name="connsiteY3280" fmla="*/ 2076495 h 4749526"/>
              <a:gd name="connsiteX3281" fmla="*/ 801453 w 7402822"/>
              <a:gd name="connsiteY3281" fmla="*/ 2070423 h 4749526"/>
              <a:gd name="connsiteX3282" fmla="*/ 804489 w 7402822"/>
              <a:gd name="connsiteY3282" fmla="*/ 2070423 h 4749526"/>
              <a:gd name="connsiteX3283" fmla="*/ 810560 w 7402822"/>
              <a:gd name="connsiteY3283" fmla="*/ 2085602 h 4749526"/>
              <a:gd name="connsiteX3284" fmla="*/ 810560 w 7402822"/>
              <a:gd name="connsiteY3284" fmla="*/ 2094709 h 4749526"/>
              <a:gd name="connsiteX3285" fmla="*/ 804489 w 7402822"/>
              <a:gd name="connsiteY3285" fmla="*/ 2094709 h 4749526"/>
              <a:gd name="connsiteX3286" fmla="*/ 798417 w 7402822"/>
              <a:gd name="connsiteY3286" fmla="*/ 2082566 h 4749526"/>
              <a:gd name="connsiteX3287" fmla="*/ 771095 w 7402822"/>
              <a:gd name="connsiteY3287" fmla="*/ 2058280 h 4749526"/>
              <a:gd name="connsiteX3288" fmla="*/ 774131 w 7402822"/>
              <a:gd name="connsiteY3288" fmla="*/ 2058280 h 4749526"/>
              <a:gd name="connsiteX3289" fmla="*/ 783238 w 7402822"/>
              <a:gd name="connsiteY3289" fmla="*/ 2064351 h 4749526"/>
              <a:gd name="connsiteX3290" fmla="*/ 786274 w 7402822"/>
              <a:gd name="connsiteY3290" fmla="*/ 2073459 h 4749526"/>
              <a:gd name="connsiteX3291" fmla="*/ 774131 w 7402822"/>
              <a:gd name="connsiteY3291" fmla="*/ 2064351 h 4749526"/>
              <a:gd name="connsiteX3292" fmla="*/ 801453 w 7402822"/>
              <a:gd name="connsiteY3292" fmla="*/ 2055244 h 4749526"/>
              <a:gd name="connsiteX3293" fmla="*/ 807525 w 7402822"/>
              <a:gd name="connsiteY3293" fmla="*/ 2055244 h 4749526"/>
              <a:gd name="connsiteX3294" fmla="*/ 801453 w 7402822"/>
              <a:gd name="connsiteY3294" fmla="*/ 2064351 h 4749526"/>
              <a:gd name="connsiteX3295" fmla="*/ 777167 w 7402822"/>
              <a:gd name="connsiteY3295" fmla="*/ 2049172 h 4749526"/>
              <a:gd name="connsiteX3296" fmla="*/ 780203 w 7402822"/>
              <a:gd name="connsiteY3296" fmla="*/ 2049172 h 4749526"/>
              <a:gd name="connsiteX3297" fmla="*/ 789310 w 7402822"/>
              <a:gd name="connsiteY3297" fmla="*/ 2058280 h 4749526"/>
              <a:gd name="connsiteX3298" fmla="*/ 795381 w 7402822"/>
              <a:gd name="connsiteY3298" fmla="*/ 2067387 h 4749526"/>
              <a:gd name="connsiteX3299" fmla="*/ 792345 w 7402822"/>
              <a:gd name="connsiteY3299" fmla="*/ 2073459 h 4749526"/>
              <a:gd name="connsiteX3300" fmla="*/ 786274 w 7402822"/>
              <a:gd name="connsiteY3300" fmla="*/ 2067387 h 4749526"/>
              <a:gd name="connsiteX3301" fmla="*/ 780203 w 7402822"/>
              <a:gd name="connsiteY3301" fmla="*/ 2058280 h 4749526"/>
              <a:gd name="connsiteX3302" fmla="*/ 27322 w 7402822"/>
              <a:gd name="connsiteY3302" fmla="*/ 2043102 h 4749526"/>
              <a:gd name="connsiteX3303" fmla="*/ 36429 w 7402822"/>
              <a:gd name="connsiteY3303" fmla="*/ 2046137 h 4749526"/>
              <a:gd name="connsiteX3304" fmla="*/ 33394 w 7402822"/>
              <a:gd name="connsiteY3304" fmla="*/ 2052209 h 4749526"/>
              <a:gd name="connsiteX3305" fmla="*/ 27322 w 7402822"/>
              <a:gd name="connsiteY3305" fmla="*/ 2061316 h 4749526"/>
              <a:gd name="connsiteX3306" fmla="*/ 15178 w 7402822"/>
              <a:gd name="connsiteY3306" fmla="*/ 2064352 h 4749526"/>
              <a:gd name="connsiteX3307" fmla="*/ 3036 w 7402822"/>
              <a:gd name="connsiteY3307" fmla="*/ 2067388 h 4749526"/>
              <a:gd name="connsiteX3308" fmla="*/ 9107 w 7402822"/>
              <a:gd name="connsiteY3308" fmla="*/ 2064352 h 4749526"/>
              <a:gd name="connsiteX3309" fmla="*/ 12143 w 7402822"/>
              <a:gd name="connsiteY3309" fmla="*/ 2064352 h 4749526"/>
              <a:gd name="connsiteX3310" fmla="*/ 15178 w 7402822"/>
              <a:gd name="connsiteY3310" fmla="*/ 2061316 h 4749526"/>
              <a:gd name="connsiteX3311" fmla="*/ 18215 w 7402822"/>
              <a:gd name="connsiteY3311" fmla="*/ 2058281 h 4749526"/>
              <a:gd name="connsiteX3312" fmla="*/ 18215 w 7402822"/>
              <a:gd name="connsiteY3312" fmla="*/ 2046137 h 4749526"/>
              <a:gd name="connsiteX3313" fmla="*/ 719487 w 7402822"/>
              <a:gd name="connsiteY3313" fmla="*/ 2037029 h 4749526"/>
              <a:gd name="connsiteX3314" fmla="*/ 722522 w 7402822"/>
              <a:gd name="connsiteY3314" fmla="*/ 2037029 h 4749526"/>
              <a:gd name="connsiteX3315" fmla="*/ 737701 w 7402822"/>
              <a:gd name="connsiteY3315" fmla="*/ 2040065 h 4749526"/>
              <a:gd name="connsiteX3316" fmla="*/ 743773 w 7402822"/>
              <a:gd name="connsiteY3316" fmla="*/ 2043101 h 4749526"/>
              <a:gd name="connsiteX3317" fmla="*/ 749845 w 7402822"/>
              <a:gd name="connsiteY3317" fmla="*/ 2040065 h 4749526"/>
              <a:gd name="connsiteX3318" fmla="*/ 746809 w 7402822"/>
              <a:gd name="connsiteY3318" fmla="*/ 2055244 h 4749526"/>
              <a:gd name="connsiteX3319" fmla="*/ 740738 w 7402822"/>
              <a:gd name="connsiteY3319" fmla="*/ 2070423 h 4749526"/>
              <a:gd name="connsiteX3320" fmla="*/ 725558 w 7402822"/>
              <a:gd name="connsiteY3320" fmla="*/ 2067387 h 4749526"/>
              <a:gd name="connsiteX3321" fmla="*/ 719487 w 7402822"/>
              <a:gd name="connsiteY3321" fmla="*/ 2049172 h 4749526"/>
              <a:gd name="connsiteX3322" fmla="*/ 6410112 w 7402822"/>
              <a:gd name="connsiteY3322" fmla="*/ 2027922 h 4749526"/>
              <a:gd name="connsiteX3323" fmla="*/ 6416184 w 7402822"/>
              <a:gd name="connsiteY3323" fmla="*/ 2033994 h 4749526"/>
              <a:gd name="connsiteX3324" fmla="*/ 6416184 w 7402822"/>
              <a:gd name="connsiteY3324" fmla="*/ 2040066 h 4749526"/>
              <a:gd name="connsiteX3325" fmla="*/ 6416184 w 7402822"/>
              <a:gd name="connsiteY3325" fmla="*/ 2049173 h 4749526"/>
              <a:gd name="connsiteX3326" fmla="*/ 6422256 w 7402822"/>
              <a:gd name="connsiteY3326" fmla="*/ 2076495 h 4749526"/>
              <a:gd name="connsiteX3327" fmla="*/ 6419219 w 7402822"/>
              <a:gd name="connsiteY3327" fmla="*/ 2100782 h 4749526"/>
              <a:gd name="connsiteX3328" fmla="*/ 6419219 w 7402822"/>
              <a:gd name="connsiteY3328" fmla="*/ 2115960 h 4749526"/>
              <a:gd name="connsiteX3329" fmla="*/ 6422256 w 7402822"/>
              <a:gd name="connsiteY3329" fmla="*/ 2125068 h 4749526"/>
              <a:gd name="connsiteX3330" fmla="*/ 6431363 w 7402822"/>
              <a:gd name="connsiteY3330" fmla="*/ 2152390 h 4749526"/>
              <a:gd name="connsiteX3331" fmla="*/ 6443507 w 7402822"/>
              <a:gd name="connsiteY3331" fmla="*/ 2207034 h 4749526"/>
              <a:gd name="connsiteX3332" fmla="*/ 6434399 w 7402822"/>
              <a:gd name="connsiteY3332" fmla="*/ 2200963 h 4749526"/>
              <a:gd name="connsiteX3333" fmla="*/ 6422256 w 7402822"/>
              <a:gd name="connsiteY3333" fmla="*/ 2197927 h 4749526"/>
              <a:gd name="connsiteX3334" fmla="*/ 6416184 w 7402822"/>
              <a:gd name="connsiteY3334" fmla="*/ 2207034 h 4749526"/>
              <a:gd name="connsiteX3335" fmla="*/ 6410112 w 7402822"/>
              <a:gd name="connsiteY3335" fmla="*/ 2231321 h 4749526"/>
              <a:gd name="connsiteX3336" fmla="*/ 6407077 w 7402822"/>
              <a:gd name="connsiteY3336" fmla="*/ 2246500 h 4749526"/>
              <a:gd name="connsiteX3337" fmla="*/ 6410112 w 7402822"/>
              <a:gd name="connsiteY3337" fmla="*/ 2255607 h 4749526"/>
              <a:gd name="connsiteX3338" fmla="*/ 6419219 w 7402822"/>
              <a:gd name="connsiteY3338" fmla="*/ 2273823 h 4749526"/>
              <a:gd name="connsiteX3339" fmla="*/ 6428327 w 7402822"/>
              <a:gd name="connsiteY3339" fmla="*/ 2285965 h 4749526"/>
              <a:gd name="connsiteX3340" fmla="*/ 6428327 w 7402822"/>
              <a:gd name="connsiteY3340" fmla="*/ 2289002 h 4749526"/>
              <a:gd name="connsiteX3341" fmla="*/ 6425291 w 7402822"/>
              <a:gd name="connsiteY3341" fmla="*/ 2295074 h 4749526"/>
              <a:gd name="connsiteX3342" fmla="*/ 6425291 w 7402822"/>
              <a:gd name="connsiteY3342" fmla="*/ 2285965 h 4749526"/>
              <a:gd name="connsiteX3343" fmla="*/ 6416184 w 7402822"/>
              <a:gd name="connsiteY3343" fmla="*/ 2282930 h 4749526"/>
              <a:gd name="connsiteX3344" fmla="*/ 6407077 w 7402822"/>
              <a:gd name="connsiteY3344" fmla="*/ 2279895 h 4749526"/>
              <a:gd name="connsiteX3345" fmla="*/ 6401005 w 7402822"/>
              <a:gd name="connsiteY3345" fmla="*/ 2295074 h 4749526"/>
              <a:gd name="connsiteX3346" fmla="*/ 6397969 w 7402822"/>
              <a:gd name="connsiteY3346" fmla="*/ 2301144 h 4749526"/>
              <a:gd name="connsiteX3347" fmla="*/ 6394934 w 7402822"/>
              <a:gd name="connsiteY3347" fmla="*/ 2301144 h 4749526"/>
              <a:gd name="connsiteX3348" fmla="*/ 6391897 w 7402822"/>
              <a:gd name="connsiteY3348" fmla="*/ 2285965 h 4749526"/>
              <a:gd name="connsiteX3349" fmla="*/ 6394934 w 7402822"/>
              <a:gd name="connsiteY3349" fmla="*/ 2267751 h 4749526"/>
              <a:gd name="connsiteX3350" fmla="*/ 6394934 w 7402822"/>
              <a:gd name="connsiteY3350" fmla="*/ 2249536 h 4749526"/>
              <a:gd name="connsiteX3351" fmla="*/ 6401005 w 7402822"/>
              <a:gd name="connsiteY3351" fmla="*/ 2237393 h 4749526"/>
              <a:gd name="connsiteX3352" fmla="*/ 6394934 w 7402822"/>
              <a:gd name="connsiteY3352" fmla="*/ 2225250 h 4749526"/>
              <a:gd name="connsiteX3353" fmla="*/ 6391897 w 7402822"/>
              <a:gd name="connsiteY3353" fmla="*/ 2216142 h 4749526"/>
              <a:gd name="connsiteX3354" fmla="*/ 6394934 w 7402822"/>
              <a:gd name="connsiteY3354" fmla="*/ 2213106 h 4749526"/>
              <a:gd name="connsiteX3355" fmla="*/ 6397969 w 7402822"/>
              <a:gd name="connsiteY3355" fmla="*/ 2191855 h 4749526"/>
              <a:gd name="connsiteX3356" fmla="*/ 6401005 w 7402822"/>
              <a:gd name="connsiteY3356" fmla="*/ 2173641 h 4749526"/>
              <a:gd name="connsiteX3357" fmla="*/ 6401005 w 7402822"/>
              <a:gd name="connsiteY3357" fmla="*/ 2149355 h 4749526"/>
              <a:gd name="connsiteX3358" fmla="*/ 6401005 w 7402822"/>
              <a:gd name="connsiteY3358" fmla="*/ 2137211 h 4749526"/>
              <a:gd name="connsiteX3359" fmla="*/ 6394934 w 7402822"/>
              <a:gd name="connsiteY3359" fmla="*/ 2128104 h 4749526"/>
              <a:gd name="connsiteX3360" fmla="*/ 6391897 w 7402822"/>
              <a:gd name="connsiteY3360" fmla="*/ 2122032 h 4749526"/>
              <a:gd name="connsiteX3361" fmla="*/ 6388862 w 7402822"/>
              <a:gd name="connsiteY3361" fmla="*/ 2112925 h 4749526"/>
              <a:gd name="connsiteX3362" fmla="*/ 6388862 w 7402822"/>
              <a:gd name="connsiteY3362" fmla="*/ 2103817 h 4749526"/>
              <a:gd name="connsiteX3363" fmla="*/ 6391897 w 7402822"/>
              <a:gd name="connsiteY3363" fmla="*/ 2094710 h 4749526"/>
              <a:gd name="connsiteX3364" fmla="*/ 6394934 w 7402822"/>
              <a:gd name="connsiteY3364" fmla="*/ 2082566 h 4749526"/>
              <a:gd name="connsiteX3365" fmla="*/ 6394934 w 7402822"/>
              <a:gd name="connsiteY3365" fmla="*/ 2076495 h 4749526"/>
              <a:gd name="connsiteX3366" fmla="*/ 6391897 w 7402822"/>
              <a:gd name="connsiteY3366" fmla="*/ 2067387 h 4749526"/>
              <a:gd name="connsiteX3367" fmla="*/ 6401005 w 7402822"/>
              <a:gd name="connsiteY3367" fmla="*/ 2061315 h 4749526"/>
              <a:gd name="connsiteX3368" fmla="*/ 6407077 w 7402822"/>
              <a:gd name="connsiteY3368" fmla="*/ 2064352 h 4749526"/>
              <a:gd name="connsiteX3369" fmla="*/ 6413149 w 7402822"/>
              <a:gd name="connsiteY3369" fmla="*/ 2052208 h 4749526"/>
              <a:gd name="connsiteX3370" fmla="*/ 6407077 w 7402822"/>
              <a:gd name="connsiteY3370" fmla="*/ 2043101 h 4749526"/>
              <a:gd name="connsiteX3371" fmla="*/ 6404041 w 7402822"/>
              <a:gd name="connsiteY3371" fmla="*/ 2037029 h 4749526"/>
              <a:gd name="connsiteX3372" fmla="*/ 6407077 w 7402822"/>
              <a:gd name="connsiteY3372" fmla="*/ 2033994 h 4749526"/>
              <a:gd name="connsiteX3373" fmla="*/ 3375821 w 7402822"/>
              <a:gd name="connsiteY3373" fmla="*/ 2027922 h 4749526"/>
              <a:gd name="connsiteX3374" fmla="*/ 3375821 w 7402822"/>
              <a:gd name="connsiteY3374" fmla="*/ 2033994 h 4749526"/>
              <a:gd name="connsiteX3375" fmla="*/ 3375821 w 7402822"/>
              <a:gd name="connsiteY3375" fmla="*/ 2037030 h 4749526"/>
              <a:gd name="connsiteX3376" fmla="*/ 3366713 w 7402822"/>
              <a:gd name="connsiteY3376" fmla="*/ 2040066 h 4749526"/>
              <a:gd name="connsiteX3377" fmla="*/ 3372785 w 7402822"/>
              <a:gd name="connsiteY3377" fmla="*/ 2033994 h 4749526"/>
              <a:gd name="connsiteX3378" fmla="*/ 3744672 w 7402822"/>
              <a:gd name="connsiteY3378" fmla="*/ 2018815 h 4749526"/>
              <a:gd name="connsiteX3379" fmla="*/ 3747707 w 7402822"/>
              <a:gd name="connsiteY3379" fmla="*/ 2027922 h 4749526"/>
              <a:gd name="connsiteX3380" fmla="*/ 3747707 w 7402822"/>
              <a:gd name="connsiteY3380" fmla="*/ 2030958 h 4749526"/>
              <a:gd name="connsiteX3381" fmla="*/ 3738600 w 7402822"/>
              <a:gd name="connsiteY3381" fmla="*/ 2030958 h 4749526"/>
              <a:gd name="connsiteX3382" fmla="*/ 3694581 w 7402822"/>
              <a:gd name="connsiteY3382" fmla="*/ 2009707 h 4749526"/>
              <a:gd name="connsiteX3383" fmla="*/ 3696100 w 7402822"/>
              <a:gd name="connsiteY3383" fmla="*/ 2009707 h 4749526"/>
              <a:gd name="connsiteX3384" fmla="*/ 3702171 w 7402822"/>
              <a:gd name="connsiteY3384" fmla="*/ 2012743 h 4749526"/>
              <a:gd name="connsiteX3385" fmla="*/ 3705207 w 7402822"/>
              <a:gd name="connsiteY3385" fmla="*/ 2012743 h 4749526"/>
              <a:gd name="connsiteX3386" fmla="*/ 3708243 w 7402822"/>
              <a:gd name="connsiteY3386" fmla="*/ 2018815 h 4749526"/>
              <a:gd name="connsiteX3387" fmla="*/ 3705207 w 7402822"/>
              <a:gd name="connsiteY3387" fmla="*/ 2021851 h 4749526"/>
              <a:gd name="connsiteX3388" fmla="*/ 3699135 w 7402822"/>
              <a:gd name="connsiteY3388" fmla="*/ 2018815 h 4749526"/>
              <a:gd name="connsiteX3389" fmla="*/ 3694581 w 7402822"/>
              <a:gd name="connsiteY3389" fmla="*/ 2015779 h 4749526"/>
              <a:gd name="connsiteX3390" fmla="*/ 91073 w 7402822"/>
              <a:gd name="connsiteY3390" fmla="*/ 2009707 h 4749526"/>
              <a:gd name="connsiteX3391" fmla="*/ 97146 w 7402822"/>
              <a:gd name="connsiteY3391" fmla="*/ 2015779 h 4749526"/>
              <a:gd name="connsiteX3392" fmla="*/ 78930 w 7402822"/>
              <a:gd name="connsiteY3392" fmla="*/ 2021851 h 4749526"/>
              <a:gd name="connsiteX3393" fmla="*/ 75895 w 7402822"/>
              <a:gd name="connsiteY3393" fmla="*/ 2024886 h 4749526"/>
              <a:gd name="connsiteX3394" fmla="*/ 72858 w 7402822"/>
              <a:gd name="connsiteY3394" fmla="*/ 2027923 h 4749526"/>
              <a:gd name="connsiteX3395" fmla="*/ 66787 w 7402822"/>
              <a:gd name="connsiteY3395" fmla="*/ 2030958 h 4749526"/>
              <a:gd name="connsiteX3396" fmla="*/ 60716 w 7402822"/>
              <a:gd name="connsiteY3396" fmla="*/ 2021851 h 4749526"/>
              <a:gd name="connsiteX3397" fmla="*/ 66787 w 7402822"/>
              <a:gd name="connsiteY3397" fmla="*/ 2015779 h 4749526"/>
              <a:gd name="connsiteX3398" fmla="*/ 69823 w 7402822"/>
              <a:gd name="connsiteY3398" fmla="*/ 2012744 h 4749526"/>
              <a:gd name="connsiteX3399" fmla="*/ 170005 w 7402822"/>
              <a:gd name="connsiteY3399" fmla="*/ 2003637 h 4749526"/>
              <a:gd name="connsiteX3400" fmla="*/ 173040 w 7402822"/>
              <a:gd name="connsiteY3400" fmla="*/ 2003637 h 4749526"/>
              <a:gd name="connsiteX3401" fmla="*/ 173040 w 7402822"/>
              <a:gd name="connsiteY3401" fmla="*/ 2006672 h 4749526"/>
              <a:gd name="connsiteX3402" fmla="*/ 6294752 w 7402822"/>
              <a:gd name="connsiteY3402" fmla="*/ 2003636 h 4749526"/>
              <a:gd name="connsiteX3403" fmla="*/ 6297787 w 7402822"/>
              <a:gd name="connsiteY3403" fmla="*/ 2003636 h 4749526"/>
              <a:gd name="connsiteX3404" fmla="*/ 6294752 w 7402822"/>
              <a:gd name="connsiteY3404" fmla="*/ 2006671 h 4749526"/>
              <a:gd name="connsiteX3405" fmla="*/ 6294752 w 7402822"/>
              <a:gd name="connsiteY3405" fmla="*/ 2009707 h 4749526"/>
              <a:gd name="connsiteX3406" fmla="*/ 6291716 w 7402822"/>
              <a:gd name="connsiteY3406" fmla="*/ 2009707 h 4749526"/>
              <a:gd name="connsiteX3407" fmla="*/ 6288681 w 7402822"/>
              <a:gd name="connsiteY3407" fmla="*/ 2009707 h 4749526"/>
              <a:gd name="connsiteX3408" fmla="*/ 6285645 w 7402822"/>
              <a:gd name="connsiteY3408" fmla="*/ 2009707 h 4749526"/>
              <a:gd name="connsiteX3409" fmla="*/ 6303859 w 7402822"/>
              <a:gd name="connsiteY3409" fmla="*/ 2000600 h 4749526"/>
              <a:gd name="connsiteX3410" fmla="*/ 6309931 w 7402822"/>
              <a:gd name="connsiteY3410" fmla="*/ 2003636 h 4749526"/>
              <a:gd name="connsiteX3411" fmla="*/ 6316002 w 7402822"/>
              <a:gd name="connsiteY3411" fmla="*/ 2006671 h 4749526"/>
              <a:gd name="connsiteX3412" fmla="*/ 6306895 w 7402822"/>
              <a:gd name="connsiteY3412" fmla="*/ 2021850 h 4749526"/>
              <a:gd name="connsiteX3413" fmla="*/ 6303859 w 7402822"/>
              <a:gd name="connsiteY3413" fmla="*/ 2012743 h 4749526"/>
              <a:gd name="connsiteX3414" fmla="*/ 6297787 w 7402822"/>
              <a:gd name="connsiteY3414" fmla="*/ 2015779 h 4749526"/>
              <a:gd name="connsiteX3415" fmla="*/ 719487 w 7402822"/>
              <a:gd name="connsiteY3415" fmla="*/ 1997565 h 4749526"/>
              <a:gd name="connsiteX3416" fmla="*/ 725558 w 7402822"/>
              <a:gd name="connsiteY3416" fmla="*/ 2015779 h 4749526"/>
              <a:gd name="connsiteX3417" fmla="*/ 722522 w 7402822"/>
              <a:gd name="connsiteY3417" fmla="*/ 2015779 h 4749526"/>
              <a:gd name="connsiteX3418" fmla="*/ 716450 w 7402822"/>
              <a:gd name="connsiteY3418" fmla="*/ 2003637 h 4749526"/>
              <a:gd name="connsiteX3419" fmla="*/ 719487 w 7402822"/>
              <a:gd name="connsiteY3419" fmla="*/ 2000600 h 4749526"/>
              <a:gd name="connsiteX3420" fmla="*/ 716450 w 7402822"/>
              <a:gd name="connsiteY3420" fmla="*/ 2000600 h 4749526"/>
              <a:gd name="connsiteX3421" fmla="*/ 3771993 w 7402822"/>
              <a:gd name="connsiteY3421" fmla="*/ 1997564 h 4749526"/>
              <a:gd name="connsiteX3422" fmla="*/ 3778065 w 7402822"/>
              <a:gd name="connsiteY3422" fmla="*/ 2003636 h 4749526"/>
              <a:gd name="connsiteX3423" fmla="*/ 3775030 w 7402822"/>
              <a:gd name="connsiteY3423" fmla="*/ 2006672 h 4749526"/>
              <a:gd name="connsiteX3424" fmla="*/ 3768958 w 7402822"/>
              <a:gd name="connsiteY3424" fmla="*/ 2003636 h 4749526"/>
              <a:gd name="connsiteX3425" fmla="*/ 3321176 w 7402822"/>
              <a:gd name="connsiteY3425" fmla="*/ 1997564 h 4749526"/>
              <a:gd name="connsiteX3426" fmla="*/ 3321176 w 7402822"/>
              <a:gd name="connsiteY3426" fmla="*/ 2000600 h 4749526"/>
              <a:gd name="connsiteX3427" fmla="*/ 3318141 w 7402822"/>
              <a:gd name="connsiteY3427" fmla="*/ 2006672 h 4749526"/>
              <a:gd name="connsiteX3428" fmla="*/ 3321176 w 7402822"/>
              <a:gd name="connsiteY3428" fmla="*/ 2003636 h 4749526"/>
              <a:gd name="connsiteX3429" fmla="*/ 3327248 w 7402822"/>
              <a:gd name="connsiteY3429" fmla="*/ 2000600 h 4749526"/>
              <a:gd name="connsiteX3430" fmla="*/ 3333320 w 7402822"/>
              <a:gd name="connsiteY3430" fmla="*/ 1997564 h 4749526"/>
              <a:gd name="connsiteX3431" fmla="*/ 3342427 w 7402822"/>
              <a:gd name="connsiteY3431" fmla="*/ 2000600 h 4749526"/>
              <a:gd name="connsiteX3432" fmla="*/ 3348499 w 7402822"/>
              <a:gd name="connsiteY3432" fmla="*/ 2012743 h 4749526"/>
              <a:gd name="connsiteX3433" fmla="*/ 3354571 w 7402822"/>
              <a:gd name="connsiteY3433" fmla="*/ 2024886 h 4749526"/>
              <a:gd name="connsiteX3434" fmla="*/ 3351534 w 7402822"/>
              <a:gd name="connsiteY3434" fmla="*/ 2033994 h 4749526"/>
              <a:gd name="connsiteX3435" fmla="*/ 3342427 w 7402822"/>
              <a:gd name="connsiteY3435" fmla="*/ 2040066 h 4749526"/>
              <a:gd name="connsiteX3436" fmla="*/ 3336355 w 7402822"/>
              <a:gd name="connsiteY3436" fmla="*/ 2040066 h 4749526"/>
              <a:gd name="connsiteX3437" fmla="*/ 3339392 w 7402822"/>
              <a:gd name="connsiteY3437" fmla="*/ 2043101 h 4749526"/>
              <a:gd name="connsiteX3438" fmla="*/ 3333320 w 7402822"/>
              <a:gd name="connsiteY3438" fmla="*/ 2046137 h 4749526"/>
              <a:gd name="connsiteX3439" fmla="*/ 3339392 w 7402822"/>
              <a:gd name="connsiteY3439" fmla="*/ 2052209 h 4749526"/>
              <a:gd name="connsiteX3440" fmla="*/ 3339392 w 7402822"/>
              <a:gd name="connsiteY3440" fmla="*/ 2055245 h 4749526"/>
              <a:gd name="connsiteX3441" fmla="*/ 3339392 w 7402822"/>
              <a:gd name="connsiteY3441" fmla="*/ 2058280 h 4749526"/>
              <a:gd name="connsiteX3442" fmla="*/ 3339392 w 7402822"/>
              <a:gd name="connsiteY3442" fmla="*/ 2061316 h 4749526"/>
              <a:gd name="connsiteX3443" fmla="*/ 3342427 w 7402822"/>
              <a:gd name="connsiteY3443" fmla="*/ 2073459 h 4749526"/>
              <a:gd name="connsiteX3444" fmla="*/ 3339392 w 7402822"/>
              <a:gd name="connsiteY3444" fmla="*/ 2085603 h 4749526"/>
              <a:gd name="connsiteX3445" fmla="*/ 3336355 w 7402822"/>
              <a:gd name="connsiteY3445" fmla="*/ 2097745 h 4749526"/>
              <a:gd name="connsiteX3446" fmla="*/ 3333320 w 7402822"/>
              <a:gd name="connsiteY3446" fmla="*/ 2103817 h 4749526"/>
              <a:gd name="connsiteX3447" fmla="*/ 3330284 w 7402822"/>
              <a:gd name="connsiteY3447" fmla="*/ 2103817 h 4749526"/>
              <a:gd name="connsiteX3448" fmla="*/ 3321176 w 7402822"/>
              <a:gd name="connsiteY3448" fmla="*/ 2103817 h 4749526"/>
              <a:gd name="connsiteX3449" fmla="*/ 3318141 w 7402822"/>
              <a:gd name="connsiteY3449" fmla="*/ 2106854 h 4749526"/>
              <a:gd name="connsiteX3450" fmla="*/ 3309034 w 7402822"/>
              <a:gd name="connsiteY3450" fmla="*/ 2109889 h 4749526"/>
              <a:gd name="connsiteX3451" fmla="*/ 3302962 w 7402822"/>
              <a:gd name="connsiteY3451" fmla="*/ 2115961 h 4749526"/>
              <a:gd name="connsiteX3452" fmla="*/ 3293854 w 7402822"/>
              <a:gd name="connsiteY3452" fmla="*/ 2122032 h 4749526"/>
              <a:gd name="connsiteX3453" fmla="*/ 3275640 w 7402822"/>
              <a:gd name="connsiteY3453" fmla="*/ 2128104 h 4749526"/>
              <a:gd name="connsiteX3454" fmla="*/ 3263496 w 7402822"/>
              <a:gd name="connsiteY3454" fmla="*/ 2128104 h 4749526"/>
              <a:gd name="connsiteX3455" fmla="*/ 3260461 w 7402822"/>
              <a:gd name="connsiteY3455" fmla="*/ 2125068 h 4749526"/>
              <a:gd name="connsiteX3456" fmla="*/ 3251354 w 7402822"/>
              <a:gd name="connsiteY3456" fmla="*/ 2115961 h 4749526"/>
              <a:gd name="connsiteX3457" fmla="*/ 3251354 w 7402822"/>
              <a:gd name="connsiteY3457" fmla="*/ 2103817 h 4749526"/>
              <a:gd name="connsiteX3458" fmla="*/ 3257424 w 7402822"/>
              <a:gd name="connsiteY3458" fmla="*/ 2103817 h 4749526"/>
              <a:gd name="connsiteX3459" fmla="*/ 3266532 w 7402822"/>
              <a:gd name="connsiteY3459" fmla="*/ 2103817 h 4749526"/>
              <a:gd name="connsiteX3460" fmla="*/ 3263496 w 7402822"/>
              <a:gd name="connsiteY3460" fmla="*/ 2097745 h 4749526"/>
              <a:gd name="connsiteX3461" fmla="*/ 3266532 w 7402822"/>
              <a:gd name="connsiteY3461" fmla="*/ 2088638 h 4749526"/>
              <a:gd name="connsiteX3462" fmla="*/ 3272603 w 7402822"/>
              <a:gd name="connsiteY3462" fmla="*/ 2082566 h 4749526"/>
              <a:gd name="connsiteX3463" fmla="*/ 3275640 w 7402822"/>
              <a:gd name="connsiteY3463" fmla="*/ 2073459 h 4749526"/>
              <a:gd name="connsiteX3464" fmla="*/ 3266532 w 7402822"/>
              <a:gd name="connsiteY3464" fmla="*/ 2070424 h 4749526"/>
              <a:gd name="connsiteX3465" fmla="*/ 3257424 w 7402822"/>
              <a:gd name="connsiteY3465" fmla="*/ 2064352 h 4749526"/>
              <a:gd name="connsiteX3466" fmla="*/ 3260461 w 7402822"/>
              <a:gd name="connsiteY3466" fmla="*/ 2052209 h 4749526"/>
              <a:gd name="connsiteX3467" fmla="*/ 3257424 w 7402822"/>
              <a:gd name="connsiteY3467" fmla="*/ 2040066 h 4749526"/>
              <a:gd name="connsiteX3468" fmla="*/ 3257424 w 7402822"/>
              <a:gd name="connsiteY3468" fmla="*/ 2033994 h 4749526"/>
              <a:gd name="connsiteX3469" fmla="*/ 3263496 w 7402822"/>
              <a:gd name="connsiteY3469" fmla="*/ 2030958 h 4749526"/>
              <a:gd name="connsiteX3470" fmla="*/ 3272603 w 7402822"/>
              <a:gd name="connsiteY3470" fmla="*/ 2030958 h 4749526"/>
              <a:gd name="connsiteX3471" fmla="*/ 3287783 w 7402822"/>
              <a:gd name="connsiteY3471" fmla="*/ 2030958 h 4749526"/>
              <a:gd name="connsiteX3472" fmla="*/ 3293854 w 7402822"/>
              <a:gd name="connsiteY3472" fmla="*/ 2027922 h 4749526"/>
              <a:gd name="connsiteX3473" fmla="*/ 3299926 w 7402822"/>
              <a:gd name="connsiteY3473" fmla="*/ 2021851 h 4749526"/>
              <a:gd name="connsiteX3474" fmla="*/ 3293854 w 7402822"/>
              <a:gd name="connsiteY3474" fmla="*/ 2021851 h 4749526"/>
              <a:gd name="connsiteX3475" fmla="*/ 3287783 w 7402822"/>
              <a:gd name="connsiteY3475" fmla="*/ 2015779 h 4749526"/>
              <a:gd name="connsiteX3476" fmla="*/ 3290819 w 7402822"/>
              <a:gd name="connsiteY3476" fmla="*/ 2015779 h 4749526"/>
              <a:gd name="connsiteX3477" fmla="*/ 3293854 w 7402822"/>
              <a:gd name="connsiteY3477" fmla="*/ 2006672 h 4749526"/>
              <a:gd name="connsiteX3478" fmla="*/ 3296890 w 7402822"/>
              <a:gd name="connsiteY3478" fmla="*/ 2003636 h 4749526"/>
              <a:gd name="connsiteX3479" fmla="*/ 3299926 w 7402822"/>
              <a:gd name="connsiteY3479" fmla="*/ 2003636 h 4749526"/>
              <a:gd name="connsiteX3480" fmla="*/ 3299926 w 7402822"/>
              <a:gd name="connsiteY3480" fmla="*/ 2000600 h 4749526"/>
              <a:gd name="connsiteX3481" fmla="*/ 3305998 w 7402822"/>
              <a:gd name="connsiteY3481" fmla="*/ 2000600 h 4749526"/>
              <a:gd name="connsiteX3482" fmla="*/ 6889770 w 7402822"/>
              <a:gd name="connsiteY3482" fmla="*/ 1994528 h 4749526"/>
              <a:gd name="connsiteX3483" fmla="*/ 6895842 w 7402822"/>
              <a:gd name="connsiteY3483" fmla="*/ 1994528 h 4749526"/>
              <a:gd name="connsiteX3484" fmla="*/ 6904949 w 7402822"/>
              <a:gd name="connsiteY3484" fmla="*/ 2018815 h 4749526"/>
              <a:gd name="connsiteX3485" fmla="*/ 6892807 w 7402822"/>
              <a:gd name="connsiteY3485" fmla="*/ 2003636 h 4749526"/>
              <a:gd name="connsiteX3486" fmla="*/ 3670294 w 7402822"/>
              <a:gd name="connsiteY3486" fmla="*/ 1988456 h 4749526"/>
              <a:gd name="connsiteX3487" fmla="*/ 3682438 w 7402822"/>
              <a:gd name="connsiteY3487" fmla="*/ 1988456 h 4749526"/>
              <a:gd name="connsiteX3488" fmla="*/ 3682438 w 7402822"/>
              <a:gd name="connsiteY3488" fmla="*/ 1991493 h 4749526"/>
              <a:gd name="connsiteX3489" fmla="*/ 3685473 w 7402822"/>
              <a:gd name="connsiteY3489" fmla="*/ 1988456 h 4749526"/>
              <a:gd name="connsiteX3490" fmla="*/ 3688510 w 7402822"/>
              <a:gd name="connsiteY3490" fmla="*/ 1997564 h 4749526"/>
              <a:gd name="connsiteX3491" fmla="*/ 3688510 w 7402822"/>
              <a:gd name="connsiteY3491" fmla="*/ 2003636 h 4749526"/>
              <a:gd name="connsiteX3492" fmla="*/ 3676366 w 7402822"/>
              <a:gd name="connsiteY3492" fmla="*/ 2003636 h 4749526"/>
              <a:gd name="connsiteX3493" fmla="*/ 3670294 w 7402822"/>
              <a:gd name="connsiteY3493" fmla="*/ 1997564 h 4749526"/>
              <a:gd name="connsiteX3494" fmla="*/ 752880 w 7402822"/>
              <a:gd name="connsiteY3494" fmla="*/ 1976314 h 4749526"/>
              <a:gd name="connsiteX3495" fmla="*/ 758952 w 7402822"/>
              <a:gd name="connsiteY3495" fmla="*/ 1976314 h 4749526"/>
              <a:gd name="connsiteX3496" fmla="*/ 761987 w 7402822"/>
              <a:gd name="connsiteY3496" fmla="*/ 1985421 h 4749526"/>
              <a:gd name="connsiteX3497" fmla="*/ 761987 w 7402822"/>
              <a:gd name="connsiteY3497" fmla="*/ 1997565 h 4749526"/>
              <a:gd name="connsiteX3498" fmla="*/ 749845 w 7402822"/>
              <a:gd name="connsiteY3498" fmla="*/ 1997565 h 4749526"/>
              <a:gd name="connsiteX3499" fmla="*/ 743773 w 7402822"/>
              <a:gd name="connsiteY3499" fmla="*/ 1991493 h 4749526"/>
              <a:gd name="connsiteX3500" fmla="*/ 749845 w 7402822"/>
              <a:gd name="connsiteY3500" fmla="*/ 1982386 h 4749526"/>
              <a:gd name="connsiteX3501" fmla="*/ 3339392 w 7402822"/>
              <a:gd name="connsiteY3501" fmla="*/ 1973277 h 4749526"/>
              <a:gd name="connsiteX3502" fmla="*/ 3339392 w 7402822"/>
              <a:gd name="connsiteY3502" fmla="*/ 1985421 h 4749526"/>
              <a:gd name="connsiteX3503" fmla="*/ 3333320 w 7402822"/>
              <a:gd name="connsiteY3503" fmla="*/ 1982386 h 4749526"/>
              <a:gd name="connsiteX3504" fmla="*/ 3333320 w 7402822"/>
              <a:gd name="connsiteY3504" fmla="*/ 1976314 h 4749526"/>
              <a:gd name="connsiteX3505" fmla="*/ 3723422 w 7402822"/>
              <a:gd name="connsiteY3505" fmla="*/ 1970242 h 4749526"/>
              <a:gd name="connsiteX3506" fmla="*/ 3723422 w 7402822"/>
              <a:gd name="connsiteY3506" fmla="*/ 1988456 h 4749526"/>
              <a:gd name="connsiteX3507" fmla="*/ 3720386 w 7402822"/>
              <a:gd name="connsiteY3507" fmla="*/ 1997564 h 4749526"/>
              <a:gd name="connsiteX3508" fmla="*/ 3717350 w 7402822"/>
              <a:gd name="connsiteY3508" fmla="*/ 2006672 h 4749526"/>
              <a:gd name="connsiteX3509" fmla="*/ 3708243 w 7402822"/>
              <a:gd name="connsiteY3509" fmla="*/ 2006672 h 4749526"/>
              <a:gd name="connsiteX3510" fmla="*/ 3708243 w 7402822"/>
              <a:gd name="connsiteY3510" fmla="*/ 2003636 h 4749526"/>
              <a:gd name="connsiteX3511" fmla="*/ 3705207 w 7402822"/>
              <a:gd name="connsiteY3511" fmla="*/ 2000600 h 4749526"/>
              <a:gd name="connsiteX3512" fmla="*/ 3699135 w 7402822"/>
              <a:gd name="connsiteY3512" fmla="*/ 1997564 h 4749526"/>
              <a:gd name="connsiteX3513" fmla="*/ 3694581 w 7402822"/>
              <a:gd name="connsiteY3513" fmla="*/ 1985421 h 4749526"/>
              <a:gd name="connsiteX3514" fmla="*/ 3702171 w 7402822"/>
              <a:gd name="connsiteY3514" fmla="*/ 1976314 h 4749526"/>
              <a:gd name="connsiteX3515" fmla="*/ 710378 w 7402822"/>
              <a:gd name="connsiteY3515" fmla="*/ 1967206 h 4749526"/>
              <a:gd name="connsiteX3516" fmla="*/ 716450 w 7402822"/>
              <a:gd name="connsiteY3516" fmla="*/ 1967206 h 4749526"/>
              <a:gd name="connsiteX3517" fmla="*/ 710378 w 7402822"/>
              <a:gd name="connsiteY3517" fmla="*/ 1976314 h 4749526"/>
              <a:gd name="connsiteX3518" fmla="*/ 704307 w 7402822"/>
              <a:gd name="connsiteY3518" fmla="*/ 1976314 h 4749526"/>
              <a:gd name="connsiteX3519" fmla="*/ 734665 w 7402822"/>
              <a:gd name="connsiteY3519" fmla="*/ 1958099 h 4749526"/>
              <a:gd name="connsiteX3520" fmla="*/ 737701 w 7402822"/>
              <a:gd name="connsiteY3520" fmla="*/ 1967206 h 4749526"/>
              <a:gd name="connsiteX3521" fmla="*/ 740738 w 7402822"/>
              <a:gd name="connsiteY3521" fmla="*/ 1973278 h 4749526"/>
              <a:gd name="connsiteX3522" fmla="*/ 731629 w 7402822"/>
              <a:gd name="connsiteY3522" fmla="*/ 1973278 h 4749526"/>
              <a:gd name="connsiteX3523" fmla="*/ 728594 w 7402822"/>
              <a:gd name="connsiteY3523" fmla="*/ 1961135 h 4749526"/>
              <a:gd name="connsiteX3524" fmla="*/ 710378 w 7402822"/>
              <a:gd name="connsiteY3524" fmla="*/ 1958099 h 4749526"/>
              <a:gd name="connsiteX3525" fmla="*/ 719487 w 7402822"/>
              <a:gd name="connsiteY3525" fmla="*/ 1961135 h 4749526"/>
              <a:gd name="connsiteX3526" fmla="*/ 725558 w 7402822"/>
              <a:gd name="connsiteY3526" fmla="*/ 1970242 h 4749526"/>
              <a:gd name="connsiteX3527" fmla="*/ 737701 w 7402822"/>
              <a:gd name="connsiteY3527" fmla="*/ 1988457 h 4749526"/>
              <a:gd name="connsiteX3528" fmla="*/ 740738 w 7402822"/>
              <a:gd name="connsiteY3528" fmla="*/ 1997565 h 4749526"/>
              <a:gd name="connsiteX3529" fmla="*/ 743773 w 7402822"/>
              <a:gd name="connsiteY3529" fmla="*/ 2012744 h 4749526"/>
              <a:gd name="connsiteX3530" fmla="*/ 737701 w 7402822"/>
              <a:gd name="connsiteY3530" fmla="*/ 2018816 h 4749526"/>
              <a:gd name="connsiteX3531" fmla="*/ 731629 w 7402822"/>
              <a:gd name="connsiteY3531" fmla="*/ 2009707 h 4749526"/>
              <a:gd name="connsiteX3532" fmla="*/ 731629 w 7402822"/>
              <a:gd name="connsiteY3532" fmla="*/ 2003637 h 4749526"/>
              <a:gd name="connsiteX3533" fmla="*/ 722522 w 7402822"/>
              <a:gd name="connsiteY3533" fmla="*/ 1997565 h 4749526"/>
              <a:gd name="connsiteX3534" fmla="*/ 719487 w 7402822"/>
              <a:gd name="connsiteY3534" fmla="*/ 1997565 h 4749526"/>
              <a:gd name="connsiteX3535" fmla="*/ 719487 w 7402822"/>
              <a:gd name="connsiteY3535" fmla="*/ 1991493 h 4749526"/>
              <a:gd name="connsiteX3536" fmla="*/ 719487 w 7402822"/>
              <a:gd name="connsiteY3536" fmla="*/ 1976314 h 4749526"/>
              <a:gd name="connsiteX3537" fmla="*/ 716450 w 7402822"/>
              <a:gd name="connsiteY3537" fmla="*/ 1964170 h 4749526"/>
              <a:gd name="connsiteX3538" fmla="*/ 710378 w 7402822"/>
              <a:gd name="connsiteY3538" fmla="*/ 1964170 h 4749526"/>
              <a:gd name="connsiteX3539" fmla="*/ 1833628 w 7402822"/>
              <a:gd name="connsiteY3539" fmla="*/ 1952026 h 4749526"/>
              <a:gd name="connsiteX3540" fmla="*/ 1833628 w 7402822"/>
              <a:gd name="connsiteY3540" fmla="*/ 1958098 h 4749526"/>
              <a:gd name="connsiteX3541" fmla="*/ 1827556 w 7402822"/>
              <a:gd name="connsiteY3541" fmla="*/ 1964170 h 4749526"/>
              <a:gd name="connsiteX3542" fmla="*/ 1818449 w 7402822"/>
              <a:gd name="connsiteY3542" fmla="*/ 1976313 h 4749526"/>
              <a:gd name="connsiteX3543" fmla="*/ 1818449 w 7402822"/>
              <a:gd name="connsiteY3543" fmla="*/ 1970241 h 4749526"/>
              <a:gd name="connsiteX3544" fmla="*/ 1821484 w 7402822"/>
              <a:gd name="connsiteY3544" fmla="*/ 1964170 h 4749526"/>
              <a:gd name="connsiteX3545" fmla="*/ 1824521 w 7402822"/>
              <a:gd name="connsiteY3545" fmla="*/ 1952026 h 4749526"/>
              <a:gd name="connsiteX3546" fmla="*/ 1821484 w 7402822"/>
              <a:gd name="connsiteY3546" fmla="*/ 1961134 h 4749526"/>
              <a:gd name="connsiteX3547" fmla="*/ 1812377 w 7402822"/>
              <a:gd name="connsiteY3547" fmla="*/ 1964170 h 4749526"/>
              <a:gd name="connsiteX3548" fmla="*/ 1818449 w 7402822"/>
              <a:gd name="connsiteY3548" fmla="*/ 1958098 h 4749526"/>
              <a:gd name="connsiteX3549" fmla="*/ 3339392 w 7402822"/>
              <a:gd name="connsiteY3549" fmla="*/ 1948991 h 4749526"/>
              <a:gd name="connsiteX3550" fmla="*/ 3348499 w 7402822"/>
              <a:gd name="connsiteY3550" fmla="*/ 1958098 h 4749526"/>
              <a:gd name="connsiteX3551" fmla="*/ 3342427 w 7402822"/>
              <a:gd name="connsiteY3551" fmla="*/ 1961135 h 4749526"/>
              <a:gd name="connsiteX3552" fmla="*/ 3336355 w 7402822"/>
              <a:gd name="connsiteY3552" fmla="*/ 1955063 h 4749526"/>
              <a:gd name="connsiteX3553" fmla="*/ 725558 w 7402822"/>
              <a:gd name="connsiteY3553" fmla="*/ 1942920 h 4749526"/>
              <a:gd name="connsiteX3554" fmla="*/ 731629 w 7402822"/>
              <a:gd name="connsiteY3554" fmla="*/ 1952027 h 4749526"/>
              <a:gd name="connsiteX3555" fmla="*/ 725558 w 7402822"/>
              <a:gd name="connsiteY3555" fmla="*/ 1955063 h 4749526"/>
              <a:gd name="connsiteX3556" fmla="*/ 722522 w 7402822"/>
              <a:gd name="connsiteY3556" fmla="*/ 1948992 h 4749526"/>
              <a:gd name="connsiteX3557" fmla="*/ 695200 w 7402822"/>
              <a:gd name="connsiteY3557" fmla="*/ 1942920 h 4749526"/>
              <a:gd name="connsiteX3558" fmla="*/ 704307 w 7402822"/>
              <a:gd name="connsiteY3558" fmla="*/ 1952027 h 4749526"/>
              <a:gd name="connsiteX3559" fmla="*/ 698235 w 7402822"/>
              <a:gd name="connsiteY3559" fmla="*/ 1955063 h 4749526"/>
              <a:gd name="connsiteX3560" fmla="*/ 701271 w 7402822"/>
              <a:gd name="connsiteY3560" fmla="*/ 1964170 h 4749526"/>
              <a:gd name="connsiteX3561" fmla="*/ 698235 w 7402822"/>
              <a:gd name="connsiteY3561" fmla="*/ 1973278 h 4749526"/>
              <a:gd name="connsiteX3562" fmla="*/ 695200 w 7402822"/>
              <a:gd name="connsiteY3562" fmla="*/ 1979349 h 4749526"/>
              <a:gd name="connsiteX3563" fmla="*/ 692164 w 7402822"/>
              <a:gd name="connsiteY3563" fmla="*/ 1970242 h 4749526"/>
              <a:gd name="connsiteX3564" fmla="*/ 689128 w 7402822"/>
              <a:gd name="connsiteY3564" fmla="*/ 1948992 h 4749526"/>
              <a:gd name="connsiteX3565" fmla="*/ 701271 w 7402822"/>
              <a:gd name="connsiteY3565" fmla="*/ 1930776 h 4749526"/>
              <a:gd name="connsiteX3566" fmla="*/ 719487 w 7402822"/>
              <a:gd name="connsiteY3566" fmla="*/ 1936848 h 4749526"/>
              <a:gd name="connsiteX3567" fmla="*/ 716450 w 7402822"/>
              <a:gd name="connsiteY3567" fmla="*/ 1955063 h 4749526"/>
              <a:gd name="connsiteX3568" fmla="*/ 710378 w 7402822"/>
              <a:gd name="connsiteY3568" fmla="*/ 1955063 h 4749526"/>
              <a:gd name="connsiteX3569" fmla="*/ 707343 w 7402822"/>
              <a:gd name="connsiteY3569" fmla="*/ 1952027 h 4749526"/>
              <a:gd name="connsiteX3570" fmla="*/ 698235 w 7402822"/>
              <a:gd name="connsiteY3570" fmla="*/ 1936848 h 4749526"/>
              <a:gd name="connsiteX3571" fmla="*/ 664842 w 7402822"/>
              <a:gd name="connsiteY3571" fmla="*/ 1927741 h 4749526"/>
              <a:gd name="connsiteX3572" fmla="*/ 664842 w 7402822"/>
              <a:gd name="connsiteY3572" fmla="*/ 1939884 h 4749526"/>
              <a:gd name="connsiteX3573" fmla="*/ 661806 w 7402822"/>
              <a:gd name="connsiteY3573" fmla="*/ 1930776 h 4749526"/>
              <a:gd name="connsiteX3574" fmla="*/ 3817531 w 7402822"/>
              <a:gd name="connsiteY3574" fmla="*/ 1921669 h 4749526"/>
              <a:gd name="connsiteX3575" fmla="*/ 3811459 w 7402822"/>
              <a:gd name="connsiteY3575" fmla="*/ 1945956 h 4749526"/>
              <a:gd name="connsiteX3576" fmla="*/ 3805388 w 7402822"/>
              <a:gd name="connsiteY3576" fmla="*/ 1964170 h 4749526"/>
              <a:gd name="connsiteX3577" fmla="*/ 3802352 w 7402822"/>
              <a:gd name="connsiteY3577" fmla="*/ 1952027 h 4749526"/>
              <a:gd name="connsiteX3578" fmla="*/ 3808423 w 7402822"/>
              <a:gd name="connsiteY3578" fmla="*/ 1942919 h 4749526"/>
              <a:gd name="connsiteX3579" fmla="*/ 670914 w 7402822"/>
              <a:gd name="connsiteY3579" fmla="*/ 1915597 h 4749526"/>
              <a:gd name="connsiteX3580" fmla="*/ 676985 w 7402822"/>
              <a:gd name="connsiteY3580" fmla="*/ 1918634 h 4749526"/>
              <a:gd name="connsiteX3581" fmla="*/ 680021 w 7402822"/>
              <a:gd name="connsiteY3581" fmla="*/ 1921669 h 4749526"/>
              <a:gd name="connsiteX3582" fmla="*/ 683057 w 7402822"/>
              <a:gd name="connsiteY3582" fmla="*/ 1927741 h 4749526"/>
              <a:gd name="connsiteX3583" fmla="*/ 686092 w 7402822"/>
              <a:gd name="connsiteY3583" fmla="*/ 1964170 h 4749526"/>
              <a:gd name="connsiteX3584" fmla="*/ 686092 w 7402822"/>
              <a:gd name="connsiteY3584" fmla="*/ 1967206 h 4749526"/>
              <a:gd name="connsiteX3585" fmla="*/ 683057 w 7402822"/>
              <a:gd name="connsiteY3585" fmla="*/ 1961135 h 4749526"/>
              <a:gd name="connsiteX3586" fmla="*/ 673949 w 7402822"/>
              <a:gd name="connsiteY3586" fmla="*/ 1945956 h 4749526"/>
              <a:gd name="connsiteX3587" fmla="*/ 667877 w 7402822"/>
              <a:gd name="connsiteY3587" fmla="*/ 1927741 h 4749526"/>
              <a:gd name="connsiteX3588" fmla="*/ 667877 w 7402822"/>
              <a:gd name="connsiteY3588" fmla="*/ 1921669 h 4749526"/>
              <a:gd name="connsiteX3589" fmla="*/ 3333320 w 7402822"/>
              <a:gd name="connsiteY3589" fmla="*/ 1909526 h 4749526"/>
              <a:gd name="connsiteX3590" fmla="*/ 3339392 w 7402822"/>
              <a:gd name="connsiteY3590" fmla="*/ 1912562 h 4749526"/>
              <a:gd name="connsiteX3591" fmla="*/ 3342427 w 7402822"/>
              <a:gd name="connsiteY3591" fmla="*/ 1924705 h 4749526"/>
              <a:gd name="connsiteX3592" fmla="*/ 3342427 w 7402822"/>
              <a:gd name="connsiteY3592" fmla="*/ 1927740 h 4749526"/>
              <a:gd name="connsiteX3593" fmla="*/ 3336355 w 7402822"/>
              <a:gd name="connsiteY3593" fmla="*/ 1927740 h 4749526"/>
              <a:gd name="connsiteX3594" fmla="*/ 3333320 w 7402822"/>
              <a:gd name="connsiteY3594" fmla="*/ 1921669 h 4749526"/>
              <a:gd name="connsiteX3595" fmla="*/ 3327248 w 7402822"/>
              <a:gd name="connsiteY3595" fmla="*/ 1918633 h 4749526"/>
              <a:gd name="connsiteX3596" fmla="*/ 3318141 w 7402822"/>
              <a:gd name="connsiteY3596" fmla="*/ 1909526 h 4749526"/>
              <a:gd name="connsiteX3597" fmla="*/ 3318141 w 7402822"/>
              <a:gd name="connsiteY3597" fmla="*/ 1912562 h 4749526"/>
              <a:gd name="connsiteX3598" fmla="*/ 3315105 w 7402822"/>
              <a:gd name="connsiteY3598" fmla="*/ 1912562 h 4749526"/>
              <a:gd name="connsiteX3599" fmla="*/ 3315105 w 7402822"/>
              <a:gd name="connsiteY3599" fmla="*/ 1915597 h 4749526"/>
              <a:gd name="connsiteX3600" fmla="*/ 3309034 w 7402822"/>
              <a:gd name="connsiteY3600" fmla="*/ 1912562 h 4749526"/>
              <a:gd name="connsiteX3601" fmla="*/ 3850925 w 7402822"/>
              <a:gd name="connsiteY3601" fmla="*/ 1900418 h 4749526"/>
              <a:gd name="connsiteX3602" fmla="*/ 3856996 w 7402822"/>
              <a:gd name="connsiteY3602" fmla="*/ 1900418 h 4749526"/>
              <a:gd name="connsiteX3603" fmla="*/ 3856996 w 7402822"/>
              <a:gd name="connsiteY3603" fmla="*/ 1903454 h 4749526"/>
              <a:gd name="connsiteX3604" fmla="*/ 3856996 w 7402822"/>
              <a:gd name="connsiteY3604" fmla="*/ 1906490 h 4749526"/>
              <a:gd name="connsiteX3605" fmla="*/ 3853961 w 7402822"/>
              <a:gd name="connsiteY3605" fmla="*/ 1906490 h 4749526"/>
              <a:gd name="connsiteX3606" fmla="*/ 3853961 w 7402822"/>
              <a:gd name="connsiteY3606" fmla="*/ 1912562 h 4749526"/>
              <a:gd name="connsiteX3607" fmla="*/ 3853961 w 7402822"/>
              <a:gd name="connsiteY3607" fmla="*/ 1915597 h 4749526"/>
              <a:gd name="connsiteX3608" fmla="*/ 3847889 w 7402822"/>
              <a:gd name="connsiteY3608" fmla="*/ 1927740 h 4749526"/>
              <a:gd name="connsiteX3609" fmla="*/ 3841817 w 7402822"/>
              <a:gd name="connsiteY3609" fmla="*/ 1933812 h 4749526"/>
              <a:gd name="connsiteX3610" fmla="*/ 3838782 w 7402822"/>
              <a:gd name="connsiteY3610" fmla="*/ 1915597 h 4749526"/>
              <a:gd name="connsiteX3611" fmla="*/ 3844853 w 7402822"/>
              <a:gd name="connsiteY3611" fmla="*/ 1906490 h 4749526"/>
              <a:gd name="connsiteX3612" fmla="*/ 315724 w 7402822"/>
              <a:gd name="connsiteY3612" fmla="*/ 1900418 h 4749526"/>
              <a:gd name="connsiteX3613" fmla="*/ 318760 w 7402822"/>
              <a:gd name="connsiteY3613" fmla="*/ 1900418 h 4749526"/>
              <a:gd name="connsiteX3614" fmla="*/ 324831 w 7402822"/>
              <a:gd name="connsiteY3614" fmla="*/ 1909526 h 4749526"/>
              <a:gd name="connsiteX3615" fmla="*/ 324831 w 7402822"/>
              <a:gd name="connsiteY3615" fmla="*/ 1912562 h 4749526"/>
              <a:gd name="connsiteX3616" fmla="*/ 321796 w 7402822"/>
              <a:gd name="connsiteY3616" fmla="*/ 1918634 h 4749526"/>
              <a:gd name="connsiteX3617" fmla="*/ 315724 w 7402822"/>
              <a:gd name="connsiteY3617" fmla="*/ 1924705 h 4749526"/>
              <a:gd name="connsiteX3618" fmla="*/ 312688 w 7402822"/>
              <a:gd name="connsiteY3618" fmla="*/ 1924705 h 4749526"/>
              <a:gd name="connsiteX3619" fmla="*/ 309652 w 7402822"/>
              <a:gd name="connsiteY3619" fmla="*/ 1921669 h 4749526"/>
              <a:gd name="connsiteX3620" fmla="*/ 303580 w 7402822"/>
              <a:gd name="connsiteY3620" fmla="*/ 1924705 h 4749526"/>
              <a:gd name="connsiteX3621" fmla="*/ 297509 w 7402822"/>
              <a:gd name="connsiteY3621" fmla="*/ 1927741 h 4749526"/>
              <a:gd name="connsiteX3622" fmla="*/ 294473 w 7402822"/>
              <a:gd name="connsiteY3622" fmla="*/ 1939884 h 4749526"/>
              <a:gd name="connsiteX3623" fmla="*/ 285365 w 7402822"/>
              <a:gd name="connsiteY3623" fmla="*/ 1942920 h 4749526"/>
              <a:gd name="connsiteX3624" fmla="*/ 273222 w 7402822"/>
              <a:gd name="connsiteY3624" fmla="*/ 1924705 h 4749526"/>
              <a:gd name="connsiteX3625" fmla="*/ 273222 w 7402822"/>
              <a:gd name="connsiteY3625" fmla="*/ 1921669 h 4749526"/>
              <a:gd name="connsiteX3626" fmla="*/ 276258 w 7402822"/>
              <a:gd name="connsiteY3626" fmla="*/ 1915597 h 4749526"/>
              <a:gd name="connsiteX3627" fmla="*/ 282329 w 7402822"/>
              <a:gd name="connsiteY3627" fmla="*/ 1909526 h 4749526"/>
              <a:gd name="connsiteX3628" fmla="*/ 291438 w 7402822"/>
              <a:gd name="connsiteY3628" fmla="*/ 1909526 h 4749526"/>
              <a:gd name="connsiteX3629" fmla="*/ 297509 w 7402822"/>
              <a:gd name="connsiteY3629" fmla="*/ 1909526 h 4749526"/>
              <a:gd name="connsiteX3630" fmla="*/ 306616 w 7402822"/>
              <a:gd name="connsiteY3630" fmla="*/ 1903455 h 4749526"/>
              <a:gd name="connsiteX3631" fmla="*/ 661806 w 7402822"/>
              <a:gd name="connsiteY3631" fmla="*/ 1885239 h 4749526"/>
              <a:gd name="connsiteX3632" fmla="*/ 664842 w 7402822"/>
              <a:gd name="connsiteY3632" fmla="*/ 1885239 h 4749526"/>
              <a:gd name="connsiteX3633" fmla="*/ 676985 w 7402822"/>
              <a:gd name="connsiteY3633" fmla="*/ 1891311 h 4749526"/>
              <a:gd name="connsiteX3634" fmla="*/ 683057 w 7402822"/>
              <a:gd name="connsiteY3634" fmla="*/ 1897383 h 4749526"/>
              <a:gd name="connsiteX3635" fmla="*/ 683057 w 7402822"/>
              <a:gd name="connsiteY3635" fmla="*/ 1906490 h 4749526"/>
              <a:gd name="connsiteX3636" fmla="*/ 680021 w 7402822"/>
              <a:gd name="connsiteY3636" fmla="*/ 1915597 h 4749526"/>
              <a:gd name="connsiteX3637" fmla="*/ 673949 w 7402822"/>
              <a:gd name="connsiteY3637" fmla="*/ 1912562 h 4749526"/>
              <a:gd name="connsiteX3638" fmla="*/ 667877 w 7402822"/>
              <a:gd name="connsiteY3638" fmla="*/ 1912562 h 4749526"/>
              <a:gd name="connsiteX3639" fmla="*/ 667877 w 7402822"/>
              <a:gd name="connsiteY3639" fmla="*/ 1918634 h 4749526"/>
              <a:gd name="connsiteX3640" fmla="*/ 661806 w 7402822"/>
              <a:gd name="connsiteY3640" fmla="*/ 1918634 h 4749526"/>
              <a:gd name="connsiteX3641" fmla="*/ 652698 w 7402822"/>
              <a:gd name="connsiteY3641" fmla="*/ 1903455 h 4749526"/>
              <a:gd name="connsiteX3642" fmla="*/ 652698 w 7402822"/>
              <a:gd name="connsiteY3642" fmla="*/ 1888276 h 4749526"/>
              <a:gd name="connsiteX3643" fmla="*/ 683057 w 7402822"/>
              <a:gd name="connsiteY3643" fmla="*/ 1882204 h 4749526"/>
              <a:gd name="connsiteX3644" fmla="*/ 686092 w 7402822"/>
              <a:gd name="connsiteY3644" fmla="*/ 1888276 h 4749526"/>
              <a:gd name="connsiteX3645" fmla="*/ 692164 w 7402822"/>
              <a:gd name="connsiteY3645" fmla="*/ 1888276 h 4749526"/>
              <a:gd name="connsiteX3646" fmla="*/ 701271 w 7402822"/>
              <a:gd name="connsiteY3646" fmla="*/ 1900418 h 4749526"/>
              <a:gd name="connsiteX3647" fmla="*/ 704307 w 7402822"/>
              <a:gd name="connsiteY3647" fmla="*/ 1918634 h 4749526"/>
              <a:gd name="connsiteX3648" fmla="*/ 695200 w 7402822"/>
              <a:gd name="connsiteY3648" fmla="*/ 1927741 h 4749526"/>
              <a:gd name="connsiteX3649" fmla="*/ 692164 w 7402822"/>
              <a:gd name="connsiteY3649" fmla="*/ 1933813 h 4749526"/>
              <a:gd name="connsiteX3650" fmla="*/ 689128 w 7402822"/>
              <a:gd name="connsiteY3650" fmla="*/ 1927741 h 4749526"/>
              <a:gd name="connsiteX3651" fmla="*/ 689128 w 7402822"/>
              <a:gd name="connsiteY3651" fmla="*/ 1918634 h 4749526"/>
              <a:gd name="connsiteX3652" fmla="*/ 689128 w 7402822"/>
              <a:gd name="connsiteY3652" fmla="*/ 1909526 h 4749526"/>
              <a:gd name="connsiteX3653" fmla="*/ 683057 w 7402822"/>
              <a:gd name="connsiteY3653" fmla="*/ 1888276 h 4749526"/>
              <a:gd name="connsiteX3654" fmla="*/ 318760 w 7402822"/>
              <a:gd name="connsiteY3654" fmla="*/ 1879168 h 4749526"/>
              <a:gd name="connsiteX3655" fmla="*/ 327867 w 7402822"/>
              <a:gd name="connsiteY3655" fmla="*/ 1882204 h 4749526"/>
              <a:gd name="connsiteX3656" fmla="*/ 324831 w 7402822"/>
              <a:gd name="connsiteY3656" fmla="*/ 1891311 h 4749526"/>
              <a:gd name="connsiteX3657" fmla="*/ 309652 w 7402822"/>
              <a:gd name="connsiteY3657" fmla="*/ 1894346 h 4749526"/>
              <a:gd name="connsiteX3658" fmla="*/ 303580 w 7402822"/>
              <a:gd name="connsiteY3658" fmla="*/ 1888276 h 4749526"/>
              <a:gd name="connsiteX3659" fmla="*/ 309652 w 7402822"/>
              <a:gd name="connsiteY3659" fmla="*/ 1882204 h 4749526"/>
              <a:gd name="connsiteX3660" fmla="*/ 3336354 w 7402822"/>
              <a:gd name="connsiteY3660" fmla="*/ 1876132 h 4749526"/>
              <a:gd name="connsiteX3661" fmla="*/ 3339391 w 7402822"/>
              <a:gd name="connsiteY3661" fmla="*/ 1879167 h 4749526"/>
              <a:gd name="connsiteX3662" fmla="*/ 3333319 w 7402822"/>
              <a:gd name="connsiteY3662" fmla="*/ 1894346 h 4749526"/>
              <a:gd name="connsiteX3663" fmla="*/ 3327247 w 7402822"/>
              <a:gd name="connsiteY3663" fmla="*/ 1894346 h 4749526"/>
              <a:gd name="connsiteX3664" fmla="*/ 3324212 w 7402822"/>
              <a:gd name="connsiteY3664" fmla="*/ 1903454 h 4749526"/>
              <a:gd name="connsiteX3665" fmla="*/ 3321176 w 7402822"/>
              <a:gd name="connsiteY3665" fmla="*/ 1903454 h 4749526"/>
              <a:gd name="connsiteX3666" fmla="*/ 3321176 w 7402822"/>
              <a:gd name="connsiteY3666" fmla="*/ 1900418 h 4749526"/>
              <a:gd name="connsiteX3667" fmla="*/ 3324212 w 7402822"/>
              <a:gd name="connsiteY3667" fmla="*/ 1900418 h 4749526"/>
              <a:gd name="connsiteX3668" fmla="*/ 3321176 w 7402822"/>
              <a:gd name="connsiteY3668" fmla="*/ 1897383 h 4749526"/>
              <a:gd name="connsiteX3669" fmla="*/ 3321176 w 7402822"/>
              <a:gd name="connsiteY3669" fmla="*/ 1888275 h 4749526"/>
              <a:gd name="connsiteX3670" fmla="*/ 3333319 w 7402822"/>
              <a:gd name="connsiteY3670" fmla="*/ 1879167 h 4749526"/>
              <a:gd name="connsiteX3671" fmla="*/ 3923785 w 7402822"/>
              <a:gd name="connsiteY3671" fmla="*/ 1873096 h 4749526"/>
              <a:gd name="connsiteX3672" fmla="*/ 3938964 w 7402822"/>
              <a:gd name="connsiteY3672" fmla="*/ 1873096 h 4749526"/>
              <a:gd name="connsiteX3673" fmla="*/ 3942000 w 7402822"/>
              <a:gd name="connsiteY3673" fmla="*/ 1876132 h 4749526"/>
              <a:gd name="connsiteX3674" fmla="*/ 3938964 w 7402822"/>
              <a:gd name="connsiteY3674" fmla="*/ 1882204 h 4749526"/>
              <a:gd name="connsiteX3675" fmla="*/ 3932893 w 7402822"/>
              <a:gd name="connsiteY3675" fmla="*/ 1888275 h 4749526"/>
              <a:gd name="connsiteX3676" fmla="*/ 3920749 w 7402822"/>
              <a:gd name="connsiteY3676" fmla="*/ 1897383 h 4749526"/>
              <a:gd name="connsiteX3677" fmla="*/ 3917713 w 7402822"/>
              <a:gd name="connsiteY3677" fmla="*/ 1897383 h 4749526"/>
              <a:gd name="connsiteX3678" fmla="*/ 3917713 w 7402822"/>
              <a:gd name="connsiteY3678" fmla="*/ 1882204 h 4749526"/>
              <a:gd name="connsiteX3679" fmla="*/ 3366712 w 7402822"/>
              <a:gd name="connsiteY3679" fmla="*/ 1870060 h 4749526"/>
              <a:gd name="connsiteX3680" fmla="*/ 3369749 w 7402822"/>
              <a:gd name="connsiteY3680" fmla="*/ 1873096 h 4749526"/>
              <a:gd name="connsiteX3681" fmla="*/ 3394035 w 7402822"/>
              <a:gd name="connsiteY3681" fmla="*/ 1873096 h 4749526"/>
              <a:gd name="connsiteX3682" fmla="*/ 3403142 w 7402822"/>
              <a:gd name="connsiteY3682" fmla="*/ 1870060 h 4749526"/>
              <a:gd name="connsiteX3683" fmla="*/ 3400107 w 7402822"/>
              <a:gd name="connsiteY3683" fmla="*/ 1885239 h 4749526"/>
              <a:gd name="connsiteX3684" fmla="*/ 3378856 w 7402822"/>
              <a:gd name="connsiteY3684" fmla="*/ 1900418 h 4749526"/>
              <a:gd name="connsiteX3685" fmla="*/ 3381892 w 7402822"/>
              <a:gd name="connsiteY3685" fmla="*/ 1906490 h 4749526"/>
              <a:gd name="connsiteX3686" fmla="*/ 3375821 w 7402822"/>
              <a:gd name="connsiteY3686" fmla="*/ 1909526 h 4749526"/>
              <a:gd name="connsiteX3687" fmla="*/ 3378856 w 7402822"/>
              <a:gd name="connsiteY3687" fmla="*/ 1912562 h 4749526"/>
              <a:gd name="connsiteX3688" fmla="*/ 3394035 w 7402822"/>
              <a:gd name="connsiteY3688" fmla="*/ 1909526 h 4749526"/>
              <a:gd name="connsiteX3689" fmla="*/ 3418322 w 7402822"/>
              <a:gd name="connsiteY3689" fmla="*/ 1909526 h 4749526"/>
              <a:gd name="connsiteX3690" fmla="*/ 3424393 w 7402822"/>
              <a:gd name="connsiteY3690" fmla="*/ 1909526 h 4749526"/>
              <a:gd name="connsiteX3691" fmla="*/ 3430465 w 7402822"/>
              <a:gd name="connsiteY3691" fmla="*/ 1915597 h 4749526"/>
              <a:gd name="connsiteX3692" fmla="*/ 3415286 w 7402822"/>
              <a:gd name="connsiteY3692" fmla="*/ 1955063 h 4749526"/>
              <a:gd name="connsiteX3693" fmla="*/ 3406178 w 7402822"/>
              <a:gd name="connsiteY3693" fmla="*/ 1964170 h 4749526"/>
              <a:gd name="connsiteX3694" fmla="*/ 3400107 w 7402822"/>
              <a:gd name="connsiteY3694" fmla="*/ 1970242 h 4749526"/>
              <a:gd name="connsiteX3695" fmla="*/ 3406178 w 7402822"/>
              <a:gd name="connsiteY3695" fmla="*/ 1973277 h 4749526"/>
              <a:gd name="connsiteX3696" fmla="*/ 3409214 w 7402822"/>
              <a:gd name="connsiteY3696" fmla="*/ 1970242 h 4749526"/>
              <a:gd name="connsiteX3697" fmla="*/ 3418322 w 7402822"/>
              <a:gd name="connsiteY3697" fmla="*/ 1973277 h 4749526"/>
              <a:gd name="connsiteX3698" fmla="*/ 3427429 w 7402822"/>
              <a:gd name="connsiteY3698" fmla="*/ 1982386 h 4749526"/>
              <a:gd name="connsiteX3699" fmla="*/ 3433501 w 7402822"/>
              <a:gd name="connsiteY3699" fmla="*/ 1991493 h 4749526"/>
              <a:gd name="connsiteX3700" fmla="*/ 3433501 w 7402822"/>
              <a:gd name="connsiteY3700" fmla="*/ 1994528 h 4749526"/>
              <a:gd name="connsiteX3701" fmla="*/ 3433501 w 7402822"/>
              <a:gd name="connsiteY3701" fmla="*/ 2000600 h 4749526"/>
              <a:gd name="connsiteX3702" fmla="*/ 3448680 w 7402822"/>
              <a:gd name="connsiteY3702" fmla="*/ 2021851 h 4749526"/>
              <a:gd name="connsiteX3703" fmla="*/ 3460822 w 7402822"/>
              <a:gd name="connsiteY3703" fmla="*/ 2037030 h 4749526"/>
              <a:gd name="connsiteX3704" fmla="*/ 3472966 w 7402822"/>
              <a:gd name="connsiteY3704" fmla="*/ 2067387 h 4749526"/>
              <a:gd name="connsiteX3705" fmla="*/ 3472966 w 7402822"/>
              <a:gd name="connsiteY3705" fmla="*/ 2076496 h 4749526"/>
              <a:gd name="connsiteX3706" fmla="*/ 3476002 w 7402822"/>
              <a:gd name="connsiteY3706" fmla="*/ 2082566 h 4749526"/>
              <a:gd name="connsiteX3707" fmla="*/ 3488145 w 7402822"/>
              <a:gd name="connsiteY3707" fmla="*/ 2079531 h 4749526"/>
              <a:gd name="connsiteX3708" fmla="*/ 3500289 w 7402822"/>
              <a:gd name="connsiteY3708" fmla="*/ 2085603 h 4749526"/>
              <a:gd name="connsiteX3709" fmla="*/ 3503324 w 7402822"/>
              <a:gd name="connsiteY3709" fmla="*/ 2097745 h 4749526"/>
              <a:gd name="connsiteX3710" fmla="*/ 3500289 w 7402822"/>
              <a:gd name="connsiteY3710" fmla="*/ 2109889 h 4749526"/>
              <a:gd name="connsiteX3711" fmla="*/ 3494217 w 7402822"/>
              <a:gd name="connsiteY3711" fmla="*/ 2112925 h 4749526"/>
              <a:gd name="connsiteX3712" fmla="*/ 3491181 w 7402822"/>
              <a:gd name="connsiteY3712" fmla="*/ 2118996 h 4749526"/>
              <a:gd name="connsiteX3713" fmla="*/ 3485110 w 7402822"/>
              <a:gd name="connsiteY3713" fmla="*/ 2125068 h 4749526"/>
              <a:gd name="connsiteX3714" fmla="*/ 3485110 w 7402822"/>
              <a:gd name="connsiteY3714" fmla="*/ 2131140 h 4749526"/>
              <a:gd name="connsiteX3715" fmla="*/ 3491181 w 7402822"/>
              <a:gd name="connsiteY3715" fmla="*/ 2131140 h 4749526"/>
              <a:gd name="connsiteX3716" fmla="*/ 3497252 w 7402822"/>
              <a:gd name="connsiteY3716" fmla="*/ 2131140 h 4749526"/>
              <a:gd name="connsiteX3717" fmla="*/ 3494217 w 7402822"/>
              <a:gd name="connsiteY3717" fmla="*/ 2140247 h 4749526"/>
              <a:gd name="connsiteX3718" fmla="*/ 3488145 w 7402822"/>
              <a:gd name="connsiteY3718" fmla="*/ 2143283 h 4749526"/>
              <a:gd name="connsiteX3719" fmla="*/ 3472966 w 7402822"/>
              <a:gd name="connsiteY3719" fmla="*/ 2152390 h 4749526"/>
              <a:gd name="connsiteX3720" fmla="*/ 3466894 w 7402822"/>
              <a:gd name="connsiteY3720" fmla="*/ 2152390 h 4749526"/>
              <a:gd name="connsiteX3721" fmla="*/ 3454752 w 7402822"/>
              <a:gd name="connsiteY3721" fmla="*/ 2152390 h 4749526"/>
              <a:gd name="connsiteX3722" fmla="*/ 3424393 w 7402822"/>
              <a:gd name="connsiteY3722" fmla="*/ 2155426 h 4749526"/>
              <a:gd name="connsiteX3723" fmla="*/ 3424393 w 7402822"/>
              <a:gd name="connsiteY3723" fmla="*/ 2158462 h 4749526"/>
              <a:gd name="connsiteX3724" fmla="*/ 3415286 w 7402822"/>
              <a:gd name="connsiteY3724" fmla="*/ 2155426 h 4749526"/>
              <a:gd name="connsiteX3725" fmla="*/ 3400107 w 7402822"/>
              <a:gd name="connsiteY3725" fmla="*/ 2155426 h 4749526"/>
              <a:gd name="connsiteX3726" fmla="*/ 3390999 w 7402822"/>
              <a:gd name="connsiteY3726" fmla="*/ 2164534 h 4749526"/>
              <a:gd name="connsiteX3727" fmla="*/ 3384928 w 7402822"/>
              <a:gd name="connsiteY3727" fmla="*/ 2167569 h 4749526"/>
              <a:gd name="connsiteX3728" fmla="*/ 3381892 w 7402822"/>
              <a:gd name="connsiteY3728" fmla="*/ 2167569 h 4749526"/>
              <a:gd name="connsiteX3729" fmla="*/ 3363677 w 7402822"/>
              <a:gd name="connsiteY3729" fmla="*/ 2170605 h 4749526"/>
              <a:gd name="connsiteX3730" fmla="*/ 3351533 w 7402822"/>
              <a:gd name="connsiteY3730" fmla="*/ 2176677 h 4749526"/>
              <a:gd name="connsiteX3731" fmla="*/ 3351533 w 7402822"/>
              <a:gd name="connsiteY3731" fmla="*/ 2170605 h 4749526"/>
              <a:gd name="connsiteX3732" fmla="*/ 3354570 w 7402822"/>
              <a:gd name="connsiteY3732" fmla="*/ 2170605 h 4749526"/>
              <a:gd name="connsiteX3733" fmla="*/ 3360642 w 7402822"/>
              <a:gd name="connsiteY3733" fmla="*/ 2167569 h 4749526"/>
              <a:gd name="connsiteX3734" fmla="*/ 3372784 w 7402822"/>
              <a:gd name="connsiteY3734" fmla="*/ 2152390 h 4749526"/>
              <a:gd name="connsiteX3735" fmla="*/ 3378856 w 7402822"/>
              <a:gd name="connsiteY3735" fmla="*/ 2140247 h 4749526"/>
              <a:gd name="connsiteX3736" fmla="*/ 3387963 w 7402822"/>
              <a:gd name="connsiteY3736" fmla="*/ 2137211 h 4749526"/>
              <a:gd name="connsiteX3737" fmla="*/ 3397071 w 7402822"/>
              <a:gd name="connsiteY3737" fmla="*/ 2140247 h 4749526"/>
              <a:gd name="connsiteX3738" fmla="*/ 3403142 w 7402822"/>
              <a:gd name="connsiteY3738" fmla="*/ 2137211 h 4749526"/>
              <a:gd name="connsiteX3739" fmla="*/ 3406178 w 7402822"/>
              <a:gd name="connsiteY3739" fmla="*/ 2134175 h 4749526"/>
              <a:gd name="connsiteX3740" fmla="*/ 3415286 w 7402822"/>
              <a:gd name="connsiteY3740" fmla="*/ 2122032 h 4749526"/>
              <a:gd name="connsiteX3741" fmla="*/ 3409214 w 7402822"/>
              <a:gd name="connsiteY3741" fmla="*/ 2128104 h 4749526"/>
              <a:gd name="connsiteX3742" fmla="*/ 3406178 w 7402822"/>
              <a:gd name="connsiteY3742" fmla="*/ 2128104 h 4749526"/>
              <a:gd name="connsiteX3743" fmla="*/ 3400107 w 7402822"/>
              <a:gd name="connsiteY3743" fmla="*/ 2131140 h 4749526"/>
              <a:gd name="connsiteX3744" fmla="*/ 3394035 w 7402822"/>
              <a:gd name="connsiteY3744" fmla="*/ 2131140 h 4749526"/>
              <a:gd name="connsiteX3745" fmla="*/ 3387963 w 7402822"/>
              <a:gd name="connsiteY3745" fmla="*/ 2128104 h 4749526"/>
              <a:gd name="connsiteX3746" fmla="*/ 3381892 w 7402822"/>
              <a:gd name="connsiteY3746" fmla="*/ 2125068 h 4749526"/>
              <a:gd name="connsiteX3747" fmla="*/ 3381892 w 7402822"/>
              <a:gd name="connsiteY3747" fmla="*/ 2122032 h 4749526"/>
              <a:gd name="connsiteX3748" fmla="*/ 3372784 w 7402822"/>
              <a:gd name="connsiteY3748" fmla="*/ 2122032 h 4749526"/>
              <a:gd name="connsiteX3749" fmla="*/ 3369749 w 7402822"/>
              <a:gd name="connsiteY3749" fmla="*/ 2122032 h 4749526"/>
              <a:gd name="connsiteX3750" fmla="*/ 3363677 w 7402822"/>
              <a:gd name="connsiteY3750" fmla="*/ 2122032 h 4749526"/>
              <a:gd name="connsiteX3751" fmla="*/ 3360642 w 7402822"/>
              <a:gd name="connsiteY3751" fmla="*/ 2122032 h 4749526"/>
              <a:gd name="connsiteX3752" fmla="*/ 3357605 w 7402822"/>
              <a:gd name="connsiteY3752" fmla="*/ 2115961 h 4749526"/>
              <a:gd name="connsiteX3753" fmla="*/ 3360642 w 7402822"/>
              <a:gd name="connsiteY3753" fmla="*/ 2109889 h 4749526"/>
              <a:gd name="connsiteX3754" fmla="*/ 3366712 w 7402822"/>
              <a:gd name="connsiteY3754" fmla="*/ 2109889 h 4749526"/>
              <a:gd name="connsiteX3755" fmla="*/ 3372784 w 7402822"/>
              <a:gd name="connsiteY3755" fmla="*/ 2106854 h 4749526"/>
              <a:gd name="connsiteX3756" fmla="*/ 3378856 w 7402822"/>
              <a:gd name="connsiteY3756" fmla="*/ 2100782 h 4749526"/>
              <a:gd name="connsiteX3757" fmla="*/ 3381892 w 7402822"/>
              <a:gd name="connsiteY3757" fmla="*/ 2088638 h 4749526"/>
              <a:gd name="connsiteX3758" fmla="*/ 3375821 w 7402822"/>
              <a:gd name="connsiteY3758" fmla="*/ 2082566 h 4749526"/>
              <a:gd name="connsiteX3759" fmla="*/ 3372784 w 7402822"/>
              <a:gd name="connsiteY3759" fmla="*/ 2082566 h 4749526"/>
              <a:gd name="connsiteX3760" fmla="*/ 3369749 w 7402822"/>
              <a:gd name="connsiteY3760" fmla="*/ 2085603 h 4749526"/>
              <a:gd name="connsiteX3761" fmla="*/ 3372784 w 7402822"/>
              <a:gd name="connsiteY3761" fmla="*/ 2076496 h 4749526"/>
              <a:gd name="connsiteX3762" fmla="*/ 3378249 w 7402822"/>
              <a:gd name="connsiteY3762" fmla="*/ 2072852 h 4749526"/>
              <a:gd name="connsiteX3763" fmla="*/ 3372785 w 7402822"/>
              <a:gd name="connsiteY3763" fmla="*/ 2067387 h 4749526"/>
              <a:gd name="connsiteX3764" fmla="*/ 3375821 w 7402822"/>
              <a:gd name="connsiteY3764" fmla="*/ 2064352 h 4749526"/>
              <a:gd name="connsiteX3765" fmla="*/ 3381893 w 7402822"/>
              <a:gd name="connsiteY3765" fmla="*/ 2067387 h 4749526"/>
              <a:gd name="connsiteX3766" fmla="*/ 3379617 w 7402822"/>
              <a:gd name="connsiteY3766" fmla="*/ 2071941 h 4749526"/>
              <a:gd name="connsiteX3767" fmla="*/ 3381892 w 7402822"/>
              <a:gd name="connsiteY3767" fmla="*/ 2070424 h 4749526"/>
              <a:gd name="connsiteX3768" fmla="*/ 3387963 w 7402822"/>
              <a:gd name="connsiteY3768" fmla="*/ 2067387 h 4749526"/>
              <a:gd name="connsiteX3769" fmla="*/ 3397071 w 7402822"/>
              <a:gd name="connsiteY3769" fmla="*/ 2067387 h 4749526"/>
              <a:gd name="connsiteX3770" fmla="*/ 3406178 w 7402822"/>
              <a:gd name="connsiteY3770" fmla="*/ 2064352 h 4749526"/>
              <a:gd name="connsiteX3771" fmla="*/ 3403142 w 7402822"/>
              <a:gd name="connsiteY3771" fmla="*/ 2049173 h 4749526"/>
              <a:gd name="connsiteX3772" fmla="*/ 3400107 w 7402822"/>
              <a:gd name="connsiteY3772" fmla="*/ 2040066 h 4749526"/>
              <a:gd name="connsiteX3773" fmla="*/ 3397071 w 7402822"/>
              <a:gd name="connsiteY3773" fmla="*/ 2037030 h 4749526"/>
              <a:gd name="connsiteX3774" fmla="*/ 3397071 w 7402822"/>
              <a:gd name="connsiteY3774" fmla="*/ 2033994 h 4749526"/>
              <a:gd name="connsiteX3775" fmla="*/ 3394035 w 7402822"/>
              <a:gd name="connsiteY3775" fmla="*/ 2021851 h 4749526"/>
              <a:gd name="connsiteX3776" fmla="*/ 3397071 w 7402822"/>
              <a:gd name="connsiteY3776" fmla="*/ 2012743 h 4749526"/>
              <a:gd name="connsiteX3777" fmla="*/ 3375821 w 7402822"/>
              <a:gd name="connsiteY3777" fmla="*/ 2015779 h 4749526"/>
              <a:gd name="connsiteX3778" fmla="*/ 3360642 w 7402822"/>
              <a:gd name="connsiteY3778" fmla="*/ 2012743 h 4749526"/>
              <a:gd name="connsiteX3779" fmla="*/ 3369749 w 7402822"/>
              <a:gd name="connsiteY3779" fmla="*/ 1994528 h 4749526"/>
              <a:gd name="connsiteX3780" fmla="*/ 3369749 w 7402822"/>
              <a:gd name="connsiteY3780" fmla="*/ 1985421 h 4749526"/>
              <a:gd name="connsiteX3781" fmla="*/ 3366712 w 7402822"/>
              <a:gd name="connsiteY3781" fmla="*/ 1982386 h 4749526"/>
              <a:gd name="connsiteX3782" fmla="*/ 3366712 w 7402822"/>
              <a:gd name="connsiteY3782" fmla="*/ 1976314 h 4749526"/>
              <a:gd name="connsiteX3783" fmla="*/ 3366712 w 7402822"/>
              <a:gd name="connsiteY3783" fmla="*/ 1967206 h 4749526"/>
              <a:gd name="connsiteX3784" fmla="*/ 3363677 w 7402822"/>
              <a:gd name="connsiteY3784" fmla="*/ 1976314 h 4749526"/>
              <a:gd name="connsiteX3785" fmla="*/ 3357605 w 7402822"/>
              <a:gd name="connsiteY3785" fmla="*/ 1976314 h 4749526"/>
              <a:gd name="connsiteX3786" fmla="*/ 3357605 w 7402822"/>
              <a:gd name="connsiteY3786" fmla="*/ 1973277 h 4749526"/>
              <a:gd name="connsiteX3787" fmla="*/ 3354570 w 7402822"/>
              <a:gd name="connsiteY3787" fmla="*/ 1979349 h 4749526"/>
              <a:gd name="connsiteX3788" fmla="*/ 3354570 w 7402822"/>
              <a:gd name="connsiteY3788" fmla="*/ 1988456 h 4749526"/>
              <a:gd name="connsiteX3789" fmla="*/ 3348498 w 7402822"/>
              <a:gd name="connsiteY3789" fmla="*/ 1997564 h 4749526"/>
              <a:gd name="connsiteX3790" fmla="*/ 3348498 w 7402822"/>
              <a:gd name="connsiteY3790" fmla="*/ 1988456 h 4749526"/>
              <a:gd name="connsiteX3791" fmla="*/ 3351533 w 7402822"/>
              <a:gd name="connsiteY3791" fmla="*/ 1967206 h 4749526"/>
              <a:gd name="connsiteX3792" fmla="*/ 3351533 w 7402822"/>
              <a:gd name="connsiteY3792" fmla="*/ 1952027 h 4749526"/>
              <a:gd name="connsiteX3793" fmla="*/ 3345463 w 7402822"/>
              <a:gd name="connsiteY3793" fmla="*/ 1952027 h 4749526"/>
              <a:gd name="connsiteX3794" fmla="*/ 3339391 w 7402822"/>
              <a:gd name="connsiteY3794" fmla="*/ 1945956 h 4749526"/>
              <a:gd name="connsiteX3795" fmla="*/ 3339391 w 7402822"/>
              <a:gd name="connsiteY3795" fmla="*/ 1942919 h 4749526"/>
              <a:gd name="connsiteX3796" fmla="*/ 3345463 w 7402822"/>
              <a:gd name="connsiteY3796" fmla="*/ 1939884 h 4749526"/>
              <a:gd name="connsiteX3797" fmla="*/ 3345463 w 7402822"/>
              <a:gd name="connsiteY3797" fmla="*/ 1933812 h 4749526"/>
              <a:gd name="connsiteX3798" fmla="*/ 3351533 w 7402822"/>
              <a:gd name="connsiteY3798" fmla="*/ 1933812 h 4749526"/>
              <a:gd name="connsiteX3799" fmla="*/ 3348498 w 7402822"/>
              <a:gd name="connsiteY3799" fmla="*/ 1930776 h 4749526"/>
              <a:gd name="connsiteX3800" fmla="*/ 3348498 w 7402822"/>
              <a:gd name="connsiteY3800" fmla="*/ 1921669 h 4749526"/>
              <a:gd name="connsiteX3801" fmla="*/ 3345463 w 7402822"/>
              <a:gd name="connsiteY3801" fmla="*/ 1912562 h 4749526"/>
              <a:gd name="connsiteX3802" fmla="*/ 3348498 w 7402822"/>
              <a:gd name="connsiteY3802" fmla="*/ 1906490 h 4749526"/>
              <a:gd name="connsiteX3803" fmla="*/ 3354570 w 7402822"/>
              <a:gd name="connsiteY3803" fmla="*/ 1894346 h 4749526"/>
              <a:gd name="connsiteX3804" fmla="*/ 3357605 w 7402822"/>
              <a:gd name="connsiteY3804" fmla="*/ 1891311 h 4749526"/>
              <a:gd name="connsiteX3805" fmla="*/ 3354570 w 7402822"/>
              <a:gd name="connsiteY3805" fmla="*/ 1885239 h 4749526"/>
              <a:gd name="connsiteX3806" fmla="*/ 3360642 w 7402822"/>
              <a:gd name="connsiteY3806" fmla="*/ 1876132 h 4749526"/>
              <a:gd name="connsiteX3807" fmla="*/ 630689 w 7402822"/>
              <a:gd name="connsiteY3807" fmla="*/ 1855640 h 4749526"/>
              <a:gd name="connsiteX3808" fmla="*/ 631447 w 7402822"/>
              <a:gd name="connsiteY3808" fmla="*/ 1857917 h 4749526"/>
              <a:gd name="connsiteX3809" fmla="*/ 633565 w 7402822"/>
              <a:gd name="connsiteY3809" fmla="*/ 1856506 h 4749526"/>
              <a:gd name="connsiteX3810" fmla="*/ 633563 w 7402822"/>
              <a:gd name="connsiteY3810" fmla="*/ 1856506 h 4749526"/>
              <a:gd name="connsiteX3811" fmla="*/ 631447 w 7402822"/>
              <a:gd name="connsiteY3811" fmla="*/ 1857916 h 4749526"/>
              <a:gd name="connsiteX3812" fmla="*/ 3397071 w 7402822"/>
              <a:gd name="connsiteY3812" fmla="*/ 1854881 h 4749526"/>
              <a:gd name="connsiteX3813" fmla="*/ 3412250 w 7402822"/>
              <a:gd name="connsiteY3813" fmla="*/ 1857917 h 4749526"/>
              <a:gd name="connsiteX3814" fmla="*/ 3403142 w 7402822"/>
              <a:gd name="connsiteY3814" fmla="*/ 1860953 h 4749526"/>
              <a:gd name="connsiteX3815" fmla="*/ 3932893 w 7402822"/>
              <a:gd name="connsiteY3815" fmla="*/ 1851846 h 4749526"/>
              <a:gd name="connsiteX3816" fmla="*/ 3938964 w 7402822"/>
              <a:gd name="connsiteY3816" fmla="*/ 1857917 h 4749526"/>
              <a:gd name="connsiteX3817" fmla="*/ 3938964 w 7402822"/>
              <a:gd name="connsiteY3817" fmla="*/ 1863988 h 4749526"/>
              <a:gd name="connsiteX3818" fmla="*/ 3935928 w 7402822"/>
              <a:gd name="connsiteY3818" fmla="*/ 1863988 h 4749526"/>
              <a:gd name="connsiteX3819" fmla="*/ 3926821 w 7402822"/>
              <a:gd name="connsiteY3819" fmla="*/ 1863988 h 4749526"/>
              <a:gd name="connsiteX3820" fmla="*/ 6859412 w 7402822"/>
              <a:gd name="connsiteY3820" fmla="*/ 1848809 h 4749526"/>
              <a:gd name="connsiteX3821" fmla="*/ 6862449 w 7402822"/>
              <a:gd name="connsiteY3821" fmla="*/ 1848809 h 4749526"/>
              <a:gd name="connsiteX3822" fmla="*/ 6862449 w 7402822"/>
              <a:gd name="connsiteY3822" fmla="*/ 1860953 h 4749526"/>
              <a:gd name="connsiteX3823" fmla="*/ 6856377 w 7402822"/>
              <a:gd name="connsiteY3823" fmla="*/ 1863988 h 4749526"/>
              <a:gd name="connsiteX3824" fmla="*/ 6838161 w 7402822"/>
              <a:gd name="connsiteY3824" fmla="*/ 1873096 h 4749526"/>
              <a:gd name="connsiteX3825" fmla="*/ 6850305 w 7402822"/>
              <a:gd name="connsiteY3825" fmla="*/ 1854881 h 4749526"/>
              <a:gd name="connsiteX3826" fmla="*/ 555553 w 7402822"/>
              <a:gd name="connsiteY3826" fmla="*/ 1803272 h 4749526"/>
              <a:gd name="connsiteX3827" fmla="*/ 555553 w 7402822"/>
              <a:gd name="connsiteY3827" fmla="*/ 1803273 h 4749526"/>
              <a:gd name="connsiteX3828" fmla="*/ 563435 w 7402822"/>
              <a:gd name="connsiteY3828" fmla="*/ 1804849 h 4749526"/>
              <a:gd name="connsiteX3829" fmla="*/ 563433 w 7402822"/>
              <a:gd name="connsiteY3829" fmla="*/ 1804848 h 4749526"/>
              <a:gd name="connsiteX3830" fmla="*/ 3875213 w 7402822"/>
              <a:gd name="connsiteY3830" fmla="*/ 1800236 h 4749526"/>
              <a:gd name="connsiteX3831" fmla="*/ 3884320 w 7402822"/>
              <a:gd name="connsiteY3831" fmla="*/ 1803272 h 4749526"/>
              <a:gd name="connsiteX3832" fmla="*/ 3878248 w 7402822"/>
              <a:gd name="connsiteY3832" fmla="*/ 1812380 h 4749526"/>
              <a:gd name="connsiteX3833" fmla="*/ 3872176 w 7402822"/>
              <a:gd name="connsiteY3833" fmla="*/ 1812380 h 4749526"/>
              <a:gd name="connsiteX3834" fmla="*/ 3872176 w 7402822"/>
              <a:gd name="connsiteY3834" fmla="*/ 1803272 h 4749526"/>
              <a:gd name="connsiteX3835" fmla="*/ 431085 w 7402822"/>
              <a:gd name="connsiteY3835" fmla="*/ 1800236 h 4749526"/>
              <a:gd name="connsiteX3836" fmla="*/ 434120 w 7402822"/>
              <a:gd name="connsiteY3836" fmla="*/ 1803273 h 4749526"/>
              <a:gd name="connsiteX3837" fmla="*/ 421977 w 7402822"/>
              <a:gd name="connsiteY3837" fmla="*/ 1818452 h 4749526"/>
              <a:gd name="connsiteX3838" fmla="*/ 421977 w 7402822"/>
              <a:gd name="connsiteY3838" fmla="*/ 1821487 h 4749526"/>
              <a:gd name="connsiteX3839" fmla="*/ 415906 w 7402822"/>
              <a:gd name="connsiteY3839" fmla="*/ 1824523 h 4749526"/>
              <a:gd name="connsiteX3840" fmla="*/ 412869 w 7402822"/>
              <a:gd name="connsiteY3840" fmla="*/ 1824523 h 4749526"/>
              <a:gd name="connsiteX3841" fmla="*/ 425013 w 7402822"/>
              <a:gd name="connsiteY3841" fmla="*/ 1803273 h 4749526"/>
              <a:gd name="connsiteX3842" fmla="*/ 443227 w 7402822"/>
              <a:gd name="connsiteY3842" fmla="*/ 1797201 h 4749526"/>
              <a:gd name="connsiteX3843" fmla="*/ 452335 w 7402822"/>
              <a:gd name="connsiteY3843" fmla="*/ 1800236 h 4749526"/>
              <a:gd name="connsiteX3844" fmla="*/ 443227 w 7402822"/>
              <a:gd name="connsiteY3844" fmla="*/ 1803273 h 4749526"/>
              <a:gd name="connsiteX3845" fmla="*/ 440192 w 7402822"/>
              <a:gd name="connsiteY3845" fmla="*/ 1803273 h 4749526"/>
              <a:gd name="connsiteX3846" fmla="*/ 437156 w 7402822"/>
              <a:gd name="connsiteY3846" fmla="*/ 1800236 h 4749526"/>
              <a:gd name="connsiteX3847" fmla="*/ 39465 w 7402822"/>
              <a:gd name="connsiteY3847" fmla="*/ 1797201 h 4749526"/>
              <a:gd name="connsiteX3848" fmla="*/ 45536 w 7402822"/>
              <a:gd name="connsiteY3848" fmla="*/ 1803273 h 4749526"/>
              <a:gd name="connsiteX3849" fmla="*/ 48572 w 7402822"/>
              <a:gd name="connsiteY3849" fmla="*/ 1815416 h 4749526"/>
              <a:gd name="connsiteX3850" fmla="*/ 45536 w 7402822"/>
              <a:gd name="connsiteY3850" fmla="*/ 1818452 h 4749526"/>
              <a:gd name="connsiteX3851" fmla="*/ 33394 w 7402822"/>
              <a:gd name="connsiteY3851" fmla="*/ 1824523 h 4749526"/>
              <a:gd name="connsiteX3852" fmla="*/ 24286 w 7402822"/>
              <a:gd name="connsiteY3852" fmla="*/ 1818452 h 4749526"/>
              <a:gd name="connsiteX3853" fmla="*/ 12143 w 7402822"/>
              <a:gd name="connsiteY3853" fmla="*/ 1812380 h 4749526"/>
              <a:gd name="connsiteX3854" fmla="*/ 15178 w 7402822"/>
              <a:gd name="connsiteY3854" fmla="*/ 1806308 h 4749526"/>
              <a:gd name="connsiteX3855" fmla="*/ 2064349 w 7402822"/>
              <a:gd name="connsiteY3855" fmla="*/ 1794165 h 4749526"/>
              <a:gd name="connsiteX3856" fmla="*/ 2064349 w 7402822"/>
              <a:gd name="connsiteY3856" fmla="*/ 1800235 h 4749526"/>
              <a:gd name="connsiteX3857" fmla="*/ 2055242 w 7402822"/>
              <a:gd name="connsiteY3857" fmla="*/ 1806307 h 4749526"/>
              <a:gd name="connsiteX3858" fmla="*/ 2055242 w 7402822"/>
              <a:gd name="connsiteY3858" fmla="*/ 1797200 h 4749526"/>
              <a:gd name="connsiteX3859" fmla="*/ 3439573 w 7402822"/>
              <a:gd name="connsiteY3859" fmla="*/ 1788094 h 4749526"/>
              <a:gd name="connsiteX3860" fmla="*/ 3439573 w 7402822"/>
              <a:gd name="connsiteY3860" fmla="*/ 1794165 h 4749526"/>
              <a:gd name="connsiteX3861" fmla="*/ 3439573 w 7402822"/>
              <a:gd name="connsiteY3861" fmla="*/ 1800236 h 4749526"/>
              <a:gd name="connsiteX3862" fmla="*/ 3442608 w 7402822"/>
              <a:gd name="connsiteY3862" fmla="*/ 1797201 h 4749526"/>
              <a:gd name="connsiteX3863" fmla="*/ 3445643 w 7402822"/>
              <a:gd name="connsiteY3863" fmla="*/ 1800236 h 4749526"/>
              <a:gd name="connsiteX3864" fmla="*/ 3442608 w 7402822"/>
              <a:gd name="connsiteY3864" fmla="*/ 1809344 h 4749526"/>
              <a:gd name="connsiteX3865" fmla="*/ 3439573 w 7402822"/>
              <a:gd name="connsiteY3865" fmla="*/ 1821487 h 4749526"/>
              <a:gd name="connsiteX3866" fmla="*/ 3439573 w 7402822"/>
              <a:gd name="connsiteY3866" fmla="*/ 1818451 h 4749526"/>
              <a:gd name="connsiteX3867" fmla="*/ 3436536 w 7402822"/>
              <a:gd name="connsiteY3867" fmla="*/ 1806308 h 4749526"/>
              <a:gd name="connsiteX3868" fmla="*/ 3436536 w 7402822"/>
              <a:gd name="connsiteY3868" fmla="*/ 1809344 h 4749526"/>
              <a:gd name="connsiteX3869" fmla="*/ 3433501 w 7402822"/>
              <a:gd name="connsiteY3869" fmla="*/ 1806308 h 4749526"/>
              <a:gd name="connsiteX3870" fmla="*/ 3436536 w 7402822"/>
              <a:gd name="connsiteY3870" fmla="*/ 1803272 h 4749526"/>
              <a:gd name="connsiteX3871" fmla="*/ 3436536 w 7402822"/>
              <a:gd name="connsiteY3871" fmla="*/ 1797201 h 4749526"/>
              <a:gd name="connsiteX3872" fmla="*/ 3433501 w 7402822"/>
              <a:gd name="connsiteY3872" fmla="*/ 1797201 h 4749526"/>
              <a:gd name="connsiteX3873" fmla="*/ 3448680 w 7402822"/>
              <a:gd name="connsiteY3873" fmla="*/ 1782022 h 4749526"/>
              <a:gd name="connsiteX3874" fmla="*/ 3448680 w 7402822"/>
              <a:gd name="connsiteY3874" fmla="*/ 1788094 h 4749526"/>
              <a:gd name="connsiteX3875" fmla="*/ 3445643 w 7402822"/>
              <a:gd name="connsiteY3875" fmla="*/ 1788094 h 4749526"/>
              <a:gd name="connsiteX3876" fmla="*/ 2115959 w 7402822"/>
              <a:gd name="connsiteY3876" fmla="*/ 1745591 h 4749526"/>
              <a:gd name="connsiteX3877" fmla="*/ 2118994 w 7402822"/>
              <a:gd name="connsiteY3877" fmla="*/ 1745591 h 4749526"/>
              <a:gd name="connsiteX3878" fmla="*/ 2131138 w 7402822"/>
              <a:gd name="connsiteY3878" fmla="*/ 1745591 h 4749526"/>
              <a:gd name="connsiteX3879" fmla="*/ 2131138 w 7402822"/>
              <a:gd name="connsiteY3879" fmla="*/ 1754699 h 4749526"/>
              <a:gd name="connsiteX3880" fmla="*/ 2128102 w 7402822"/>
              <a:gd name="connsiteY3880" fmla="*/ 1760770 h 4749526"/>
              <a:gd name="connsiteX3881" fmla="*/ 2115959 w 7402822"/>
              <a:gd name="connsiteY3881" fmla="*/ 1748627 h 4749526"/>
              <a:gd name="connsiteX3882" fmla="*/ 3318141 w 7402822"/>
              <a:gd name="connsiteY3882" fmla="*/ 1718269 h 4749526"/>
              <a:gd name="connsiteX3883" fmla="*/ 3327248 w 7402822"/>
              <a:gd name="connsiteY3883" fmla="*/ 1733448 h 4749526"/>
              <a:gd name="connsiteX3884" fmla="*/ 3318141 w 7402822"/>
              <a:gd name="connsiteY3884" fmla="*/ 1724340 h 4749526"/>
              <a:gd name="connsiteX3885" fmla="*/ 1824522 w 7402822"/>
              <a:gd name="connsiteY3885" fmla="*/ 1712197 h 4749526"/>
              <a:gd name="connsiteX3886" fmla="*/ 1830593 w 7402822"/>
              <a:gd name="connsiteY3886" fmla="*/ 1721305 h 4749526"/>
              <a:gd name="connsiteX3887" fmla="*/ 1824522 w 7402822"/>
              <a:gd name="connsiteY3887" fmla="*/ 1739520 h 4749526"/>
              <a:gd name="connsiteX3888" fmla="*/ 1818450 w 7402822"/>
              <a:gd name="connsiteY3888" fmla="*/ 1742556 h 4749526"/>
              <a:gd name="connsiteX3889" fmla="*/ 1812378 w 7402822"/>
              <a:gd name="connsiteY3889" fmla="*/ 1736484 h 4749526"/>
              <a:gd name="connsiteX3890" fmla="*/ 1812378 w 7402822"/>
              <a:gd name="connsiteY3890" fmla="*/ 1724341 h 4749526"/>
              <a:gd name="connsiteX3891" fmla="*/ 1818450 w 7402822"/>
              <a:gd name="connsiteY3891" fmla="*/ 1715233 h 4749526"/>
              <a:gd name="connsiteX3892" fmla="*/ 2131138 w 7402822"/>
              <a:gd name="connsiteY3892" fmla="*/ 1706125 h 4749526"/>
              <a:gd name="connsiteX3893" fmla="*/ 2137210 w 7402822"/>
              <a:gd name="connsiteY3893" fmla="*/ 1706125 h 4749526"/>
              <a:gd name="connsiteX3894" fmla="*/ 2128102 w 7402822"/>
              <a:gd name="connsiteY3894" fmla="*/ 1712197 h 4749526"/>
              <a:gd name="connsiteX3895" fmla="*/ 2125066 w 7402822"/>
              <a:gd name="connsiteY3895" fmla="*/ 1712197 h 4749526"/>
              <a:gd name="connsiteX3896" fmla="*/ 2128102 w 7402822"/>
              <a:gd name="connsiteY3896" fmla="*/ 1709162 h 4749526"/>
              <a:gd name="connsiteX3897" fmla="*/ 1997563 w 7402822"/>
              <a:gd name="connsiteY3897" fmla="*/ 1690946 h 4749526"/>
              <a:gd name="connsiteX3898" fmla="*/ 2009705 w 7402822"/>
              <a:gd name="connsiteY3898" fmla="*/ 1697018 h 4749526"/>
              <a:gd name="connsiteX3899" fmla="*/ 2015777 w 7402822"/>
              <a:gd name="connsiteY3899" fmla="*/ 1706125 h 4749526"/>
              <a:gd name="connsiteX3900" fmla="*/ 2006670 w 7402822"/>
              <a:gd name="connsiteY3900" fmla="*/ 1706125 h 4749526"/>
              <a:gd name="connsiteX3901" fmla="*/ 1997563 w 7402822"/>
              <a:gd name="connsiteY3901" fmla="*/ 1697018 h 4749526"/>
              <a:gd name="connsiteX3902" fmla="*/ 1772913 w 7402822"/>
              <a:gd name="connsiteY3902" fmla="*/ 1687911 h 4749526"/>
              <a:gd name="connsiteX3903" fmla="*/ 1775948 w 7402822"/>
              <a:gd name="connsiteY3903" fmla="*/ 1690946 h 4749526"/>
              <a:gd name="connsiteX3904" fmla="*/ 1775948 w 7402822"/>
              <a:gd name="connsiteY3904" fmla="*/ 1700054 h 4749526"/>
              <a:gd name="connsiteX3905" fmla="*/ 1766841 w 7402822"/>
              <a:gd name="connsiteY3905" fmla="*/ 1706125 h 4749526"/>
              <a:gd name="connsiteX3906" fmla="*/ 1757734 w 7402822"/>
              <a:gd name="connsiteY3906" fmla="*/ 1718269 h 4749526"/>
              <a:gd name="connsiteX3907" fmla="*/ 1742555 w 7402822"/>
              <a:gd name="connsiteY3907" fmla="*/ 1724341 h 4749526"/>
              <a:gd name="connsiteX3908" fmla="*/ 1739519 w 7402822"/>
              <a:gd name="connsiteY3908" fmla="*/ 1721305 h 4749526"/>
              <a:gd name="connsiteX3909" fmla="*/ 1733447 w 7402822"/>
              <a:gd name="connsiteY3909" fmla="*/ 1712197 h 4749526"/>
              <a:gd name="connsiteX3910" fmla="*/ 1739519 w 7402822"/>
              <a:gd name="connsiteY3910" fmla="*/ 1703090 h 4749526"/>
              <a:gd name="connsiteX3911" fmla="*/ 1742555 w 7402822"/>
              <a:gd name="connsiteY3911" fmla="*/ 1693983 h 4749526"/>
              <a:gd name="connsiteX3912" fmla="*/ 1751662 w 7402822"/>
              <a:gd name="connsiteY3912" fmla="*/ 1693983 h 4749526"/>
              <a:gd name="connsiteX3913" fmla="*/ 1760769 w 7402822"/>
              <a:gd name="connsiteY3913" fmla="*/ 1690946 h 4749526"/>
              <a:gd name="connsiteX3914" fmla="*/ 1845772 w 7402822"/>
              <a:gd name="connsiteY3914" fmla="*/ 1666660 h 4749526"/>
              <a:gd name="connsiteX3915" fmla="*/ 1867023 w 7402822"/>
              <a:gd name="connsiteY3915" fmla="*/ 1675767 h 4749526"/>
              <a:gd name="connsiteX3916" fmla="*/ 1854879 w 7402822"/>
              <a:gd name="connsiteY3916" fmla="*/ 1681839 h 4749526"/>
              <a:gd name="connsiteX3917" fmla="*/ 1848808 w 7402822"/>
              <a:gd name="connsiteY3917" fmla="*/ 1672732 h 4749526"/>
              <a:gd name="connsiteX3918" fmla="*/ 3646008 w 7402822"/>
              <a:gd name="connsiteY3918" fmla="*/ 1657554 h 4749526"/>
              <a:gd name="connsiteX3919" fmla="*/ 3652080 w 7402822"/>
              <a:gd name="connsiteY3919" fmla="*/ 1657554 h 4749526"/>
              <a:gd name="connsiteX3920" fmla="*/ 3655115 w 7402822"/>
              <a:gd name="connsiteY3920" fmla="*/ 1660589 h 4749526"/>
              <a:gd name="connsiteX3921" fmla="*/ 3636901 w 7402822"/>
              <a:gd name="connsiteY3921" fmla="*/ 1663625 h 4749526"/>
              <a:gd name="connsiteX3922" fmla="*/ 2137210 w 7402822"/>
              <a:gd name="connsiteY3922" fmla="*/ 1657553 h 4749526"/>
              <a:gd name="connsiteX3923" fmla="*/ 2140245 w 7402822"/>
              <a:gd name="connsiteY3923" fmla="*/ 1657553 h 4749526"/>
              <a:gd name="connsiteX3924" fmla="*/ 2146317 w 7402822"/>
              <a:gd name="connsiteY3924" fmla="*/ 1672732 h 4749526"/>
              <a:gd name="connsiteX3925" fmla="*/ 2137210 w 7402822"/>
              <a:gd name="connsiteY3925" fmla="*/ 1663625 h 4749526"/>
              <a:gd name="connsiteX3926" fmla="*/ 1867023 w 7402822"/>
              <a:gd name="connsiteY3926" fmla="*/ 1657553 h 4749526"/>
              <a:gd name="connsiteX3927" fmla="*/ 1885237 w 7402822"/>
              <a:gd name="connsiteY3927" fmla="*/ 1663625 h 4749526"/>
              <a:gd name="connsiteX3928" fmla="*/ 1885237 w 7402822"/>
              <a:gd name="connsiteY3928" fmla="*/ 1666660 h 4749526"/>
              <a:gd name="connsiteX3929" fmla="*/ 1876130 w 7402822"/>
              <a:gd name="connsiteY3929" fmla="*/ 1666660 h 4749526"/>
              <a:gd name="connsiteX3930" fmla="*/ 7351213 w 7402822"/>
              <a:gd name="connsiteY3930" fmla="*/ 1654517 h 4749526"/>
              <a:gd name="connsiteX3931" fmla="*/ 7363357 w 7402822"/>
              <a:gd name="connsiteY3931" fmla="*/ 1657553 h 4749526"/>
              <a:gd name="connsiteX3932" fmla="*/ 7372464 w 7402822"/>
              <a:gd name="connsiteY3932" fmla="*/ 1657553 h 4749526"/>
              <a:gd name="connsiteX3933" fmla="*/ 7381571 w 7402822"/>
              <a:gd name="connsiteY3933" fmla="*/ 1654517 h 4749526"/>
              <a:gd name="connsiteX3934" fmla="*/ 7393715 w 7402822"/>
              <a:gd name="connsiteY3934" fmla="*/ 1663625 h 4749526"/>
              <a:gd name="connsiteX3935" fmla="*/ 7402822 w 7402822"/>
              <a:gd name="connsiteY3935" fmla="*/ 1675768 h 4749526"/>
              <a:gd name="connsiteX3936" fmla="*/ 7393715 w 7402822"/>
              <a:gd name="connsiteY3936" fmla="*/ 1684876 h 4749526"/>
              <a:gd name="connsiteX3937" fmla="*/ 7390679 w 7402822"/>
              <a:gd name="connsiteY3937" fmla="*/ 1681839 h 4749526"/>
              <a:gd name="connsiteX3938" fmla="*/ 7384607 w 7402822"/>
              <a:gd name="connsiteY3938" fmla="*/ 1675768 h 4749526"/>
              <a:gd name="connsiteX3939" fmla="*/ 7375499 w 7402822"/>
              <a:gd name="connsiteY3939" fmla="*/ 1666661 h 4749526"/>
              <a:gd name="connsiteX3940" fmla="*/ 7363357 w 7402822"/>
              <a:gd name="connsiteY3940" fmla="*/ 1666661 h 4749526"/>
              <a:gd name="connsiteX3941" fmla="*/ 7354249 w 7402822"/>
              <a:gd name="connsiteY3941" fmla="*/ 1672732 h 4749526"/>
              <a:gd name="connsiteX3942" fmla="*/ 7348177 w 7402822"/>
              <a:gd name="connsiteY3942" fmla="*/ 1663625 h 4749526"/>
              <a:gd name="connsiteX3943" fmla="*/ 2625976 w 7402822"/>
              <a:gd name="connsiteY3943" fmla="*/ 1596836 h 4749526"/>
              <a:gd name="connsiteX3944" fmla="*/ 2629013 w 7402822"/>
              <a:gd name="connsiteY3944" fmla="*/ 1596836 h 4749526"/>
              <a:gd name="connsiteX3945" fmla="*/ 2638120 w 7402822"/>
              <a:gd name="connsiteY3945" fmla="*/ 1615051 h 4749526"/>
              <a:gd name="connsiteX3946" fmla="*/ 2632048 w 7402822"/>
              <a:gd name="connsiteY3946" fmla="*/ 1618087 h 4749526"/>
              <a:gd name="connsiteX3947" fmla="*/ 3714314 w 7402822"/>
              <a:gd name="connsiteY3947" fmla="*/ 1563444 h 4749526"/>
              <a:gd name="connsiteX3948" fmla="*/ 3720386 w 7402822"/>
              <a:gd name="connsiteY3948" fmla="*/ 1572551 h 4749526"/>
              <a:gd name="connsiteX3949" fmla="*/ 3711279 w 7402822"/>
              <a:gd name="connsiteY3949" fmla="*/ 1581658 h 4749526"/>
              <a:gd name="connsiteX3950" fmla="*/ 2689728 w 7402822"/>
              <a:gd name="connsiteY3950" fmla="*/ 1551299 h 4749526"/>
              <a:gd name="connsiteX3951" fmla="*/ 2698836 w 7402822"/>
              <a:gd name="connsiteY3951" fmla="*/ 1560406 h 4749526"/>
              <a:gd name="connsiteX3952" fmla="*/ 2689728 w 7402822"/>
              <a:gd name="connsiteY3952" fmla="*/ 1569514 h 4749526"/>
              <a:gd name="connsiteX3953" fmla="*/ 2683657 w 7402822"/>
              <a:gd name="connsiteY3953" fmla="*/ 1560406 h 4749526"/>
              <a:gd name="connsiteX3954" fmla="*/ 1700054 w 7402822"/>
              <a:gd name="connsiteY3954" fmla="*/ 1545228 h 4749526"/>
              <a:gd name="connsiteX3955" fmla="*/ 1706124 w 7402822"/>
              <a:gd name="connsiteY3955" fmla="*/ 1551299 h 4749526"/>
              <a:gd name="connsiteX3956" fmla="*/ 1712196 w 7402822"/>
              <a:gd name="connsiteY3956" fmla="*/ 1560407 h 4749526"/>
              <a:gd name="connsiteX3957" fmla="*/ 1715233 w 7402822"/>
              <a:gd name="connsiteY3957" fmla="*/ 1566478 h 4749526"/>
              <a:gd name="connsiteX3958" fmla="*/ 1724340 w 7402822"/>
              <a:gd name="connsiteY3958" fmla="*/ 1575585 h 4749526"/>
              <a:gd name="connsiteX3959" fmla="*/ 1748626 w 7402822"/>
              <a:gd name="connsiteY3959" fmla="*/ 1593801 h 4749526"/>
              <a:gd name="connsiteX3960" fmla="*/ 1757734 w 7402822"/>
              <a:gd name="connsiteY3960" fmla="*/ 1602908 h 4749526"/>
              <a:gd name="connsiteX3961" fmla="*/ 1769877 w 7402822"/>
              <a:gd name="connsiteY3961" fmla="*/ 1605944 h 4749526"/>
              <a:gd name="connsiteX3962" fmla="*/ 1778985 w 7402822"/>
              <a:gd name="connsiteY3962" fmla="*/ 1618087 h 4749526"/>
              <a:gd name="connsiteX3963" fmla="*/ 1782020 w 7402822"/>
              <a:gd name="connsiteY3963" fmla="*/ 1630231 h 4749526"/>
              <a:gd name="connsiteX3964" fmla="*/ 1778985 w 7402822"/>
              <a:gd name="connsiteY3964" fmla="*/ 1636302 h 4749526"/>
              <a:gd name="connsiteX3965" fmla="*/ 1775948 w 7402822"/>
              <a:gd name="connsiteY3965" fmla="*/ 1636302 h 4749526"/>
              <a:gd name="connsiteX3966" fmla="*/ 1775948 w 7402822"/>
              <a:gd name="connsiteY3966" fmla="*/ 1639338 h 4749526"/>
              <a:gd name="connsiteX3967" fmla="*/ 1794164 w 7402822"/>
              <a:gd name="connsiteY3967" fmla="*/ 1636302 h 4749526"/>
              <a:gd name="connsiteX3968" fmla="*/ 1794164 w 7402822"/>
              <a:gd name="connsiteY3968" fmla="*/ 1633266 h 4749526"/>
              <a:gd name="connsiteX3969" fmla="*/ 1800234 w 7402822"/>
              <a:gd name="connsiteY3969" fmla="*/ 1636302 h 4749526"/>
              <a:gd name="connsiteX3970" fmla="*/ 1812378 w 7402822"/>
              <a:gd name="connsiteY3970" fmla="*/ 1648446 h 4749526"/>
              <a:gd name="connsiteX3971" fmla="*/ 1794164 w 7402822"/>
              <a:gd name="connsiteY3971" fmla="*/ 1663625 h 4749526"/>
              <a:gd name="connsiteX3972" fmla="*/ 1782020 w 7402822"/>
              <a:gd name="connsiteY3972" fmla="*/ 1660588 h 4749526"/>
              <a:gd name="connsiteX3973" fmla="*/ 1769877 w 7402822"/>
              <a:gd name="connsiteY3973" fmla="*/ 1654517 h 4749526"/>
              <a:gd name="connsiteX3974" fmla="*/ 1763805 w 7402822"/>
              <a:gd name="connsiteY3974" fmla="*/ 1654517 h 4749526"/>
              <a:gd name="connsiteX3975" fmla="*/ 1763805 w 7402822"/>
              <a:gd name="connsiteY3975" fmla="*/ 1648446 h 4749526"/>
              <a:gd name="connsiteX3976" fmla="*/ 1760769 w 7402822"/>
              <a:gd name="connsiteY3976" fmla="*/ 1639338 h 4749526"/>
              <a:gd name="connsiteX3977" fmla="*/ 1754698 w 7402822"/>
              <a:gd name="connsiteY3977" fmla="*/ 1633266 h 4749526"/>
              <a:gd name="connsiteX3978" fmla="*/ 1742555 w 7402822"/>
              <a:gd name="connsiteY3978" fmla="*/ 1633266 h 4749526"/>
              <a:gd name="connsiteX3979" fmla="*/ 1739519 w 7402822"/>
              <a:gd name="connsiteY3979" fmla="*/ 1636302 h 4749526"/>
              <a:gd name="connsiteX3980" fmla="*/ 1739519 w 7402822"/>
              <a:gd name="connsiteY3980" fmla="*/ 1642374 h 4749526"/>
              <a:gd name="connsiteX3981" fmla="*/ 1739519 w 7402822"/>
              <a:gd name="connsiteY3981" fmla="*/ 1651481 h 4749526"/>
              <a:gd name="connsiteX3982" fmla="*/ 1730411 w 7402822"/>
              <a:gd name="connsiteY3982" fmla="*/ 1660588 h 4749526"/>
              <a:gd name="connsiteX3983" fmla="*/ 1709161 w 7402822"/>
              <a:gd name="connsiteY3983" fmla="*/ 1678804 h 4749526"/>
              <a:gd name="connsiteX3984" fmla="*/ 1700054 w 7402822"/>
              <a:gd name="connsiteY3984" fmla="*/ 1678804 h 4749526"/>
              <a:gd name="connsiteX3985" fmla="*/ 1697017 w 7402822"/>
              <a:gd name="connsiteY3985" fmla="*/ 1651481 h 4749526"/>
              <a:gd name="connsiteX3986" fmla="*/ 1684875 w 7402822"/>
              <a:gd name="connsiteY3986" fmla="*/ 1657553 h 4749526"/>
              <a:gd name="connsiteX3987" fmla="*/ 1666659 w 7402822"/>
              <a:gd name="connsiteY3987" fmla="*/ 1660588 h 4749526"/>
              <a:gd name="connsiteX3988" fmla="*/ 1672731 w 7402822"/>
              <a:gd name="connsiteY3988" fmla="*/ 1645409 h 4749526"/>
              <a:gd name="connsiteX3989" fmla="*/ 1675767 w 7402822"/>
              <a:gd name="connsiteY3989" fmla="*/ 1639338 h 4749526"/>
              <a:gd name="connsiteX3990" fmla="*/ 1684875 w 7402822"/>
              <a:gd name="connsiteY3990" fmla="*/ 1630231 h 4749526"/>
              <a:gd name="connsiteX3991" fmla="*/ 1684875 w 7402822"/>
              <a:gd name="connsiteY3991" fmla="*/ 1618087 h 4749526"/>
              <a:gd name="connsiteX3992" fmla="*/ 1684875 w 7402822"/>
              <a:gd name="connsiteY3992" fmla="*/ 1602908 h 4749526"/>
              <a:gd name="connsiteX3993" fmla="*/ 1687910 w 7402822"/>
              <a:gd name="connsiteY3993" fmla="*/ 1590765 h 4749526"/>
              <a:gd name="connsiteX3994" fmla="*/ 1687910 w 7402822"/>
              <a:gd name="connsiteY3994" fmla="*/ 1578622 h 4749526"/>
              <a:gd name="connsiteX3995" fmla="*/ 1715233 w 7402822"/>
              <a:gd name="connsiteY3995" fmla="*/ 1542192 h 4749526"/>
              <a:gd name="connsiteX3996" fmla="*/ 1721304 w 7402822"/>
              <a:gd name="connsiteY3996" fmla="*/ 1557371 h 4749526"/>
              <a:gd name="connsiteX3997" fmla="*/ 1715233 w 7402822"/>
              <a:gd name="connsiteY3997" fmla="*/ 1563443 h 4749526"/>
              <a:gd name="connsiteX3998" fmla="*/ 1709161 w 7402822"/>
              <a:gd name="connsiteY3998" fmla="*/ 1548264 h 4749526"/>
              <a:gd name="connsiteX3999" fmla="*/ 1724340 w 7402822"/>
              <a:gd name="connsiteY3999" fmla="*/ 1536120 h 4749526"/>
              <a:gd name="connsiteX4000" fmla="*/ 1733447 w 7402822"/>
              <a:gd name="connsiteY4000" fmla="*/ 1542192 h 4749526"/>
              <a:gd name="connsiteX4001" fmla="*/ 1745590 w 7402822"/>
              <a:gd name="connsiteY4001" fmla="*/ 1554336 h 4749526"/>
              <a:gd name="connsiteX4002" fmla="*/ 1742555 w 7402822"/>
              <a:gd name="connsiteY4002" fmla="*/ 1560407 h 4749526"/>
              <a:gd name="connsiteX4003" fmla="*/ 1736483 w 7402822"/>
              <a:gd name="connsiteY4003" fmla="*/ 1560407 h 4749526"/>
              <a:gd name="connsiteX4004" fmla="*/ 1739519 w 7402822"/>
              <a:gd name="connsiteY4004" fmla="*/ 1554336 h 4749526"/>
              <a:gd name="connsiteX4005" fmla="*/ 1733447 w 7402822"/>
              <a:gd name="connsiteY4005" fmla="*/ 1551299 h 4749526"/>
              <a:gd name="connsiteX4006" fmla="*/ 1730411 w 7402822"/>
              <a:gd name="connsiteY4006" fmla="*/ 1548264 h 4749526"/>
              <a:gd name="connsiteX4007" fmla="*/ 1724340 w 7402822"/>
              <a:gd name="connsiteY4007" fmla="*/ 1542192 h 4749526"/>
              <a:gd name="connsiteX4008" fmla="*/ 3132956 w 7402822"/>
              <a:gd name="connsiteY4008" fmla="*/ 1514869 h 4749526"/>
              <a:gd name="connsiteX4009" fmla="*/ 3142063 w 7402822"/>
              <a:gd name="connsiteY4009" fmla="*/ 1523977 h 4749526"/>
              <a:gd name="connsiteX4010" fmla="*/ 3151172 w 7402822"/>
              <a:gd name="connsiteY4010" fmla="*/ 1533085 h 4749526"/>
              <a:gd name="connsiteX4011" fmla="*/ 3157243 w 7402822"/>
              <a:gd name="connsiteY4011" fmla="*/ 1539155 h 4749526"/>
              <a:gd name="connsiteX4012" fmla="*/ 3169386 w 7402822"/>
              <a:gd name="connsiteY4012" fmla="*/ 1554335 h 4749526"/>
              <a:gd name="connsiteX4013" fmla="*/ 3172422 w 7402822"/>
              <a:gd name="connsiteY4013" fmla="*/ 1560406 h 4749526"/>
              <a:gd name="connsiteX4014" fmla="*/ 3181530 w 7402822"/>
              <a:gd name="connsiteY4014" fmla="*/ 1560406 h 4749526"/>
              <a:gd name="connsiteX4015" fmla="*/ 3184565 w 7402822"/>
              <a:gd name="connsiteY4015" fmla="*/ 1566478 h 4749526"/>
              <a:gd name="connsiteX4016" fmla="*/ 3184565 w 7402822"/>
              <a:gd name="connsiteY4016" fmla="*/ 1581657 h 4749526"/>
              <a:gd name="connsiteX4017" fmla="*/ 3181530 w 7402822"/>
              <a:gd name="connsiteY4017" fmla="*/ 1599872 h 4749526"/>
              <a:gd name="connsiteX4018" fmla="*/ 3175458 w 7402822"/>
              <a:gd name="connsiteY4018" fmla="*/ 1605944 h 4749526"/>
              <a:gd name="connsiteX4019" fmla="*/ 3163314 w 7402822"/>
              <a:gd name="connsiteY4019" fmla="*/ 1621123 h 4749526"/>
              <a:gd name="connsiteX4020" fmla="*/ 3160279 w 7402822"/>
              <a:gd name="connsiteY4020" fmla="*/ 1624158 h 4749526"/>
              <a:gd name="connsiteX4021" fmla="*/ 3160279 w 7402822"/>
              <a:gd name="connsiteY4021" fmla="*/ 1627195 h 4749526"/>
              <a:gd name="connsiteX4022" fmla="*/ 3154207 w 7402822"/>
              <a:gd name="connsiteY4022" fmla="*/ 1627195 h 4749526"/>
              <a:gd name="connsiteX4023" fmla="*/ 3129921 w 7402822"/>
              <a:gd name="connsiteY4023" fmla="*/ 1639337 h 4749526"/>
              <a:gd name="connsiteX4024" fmla="*/ 3117777 w 7402822"/>
              <a:gd name="connsiteY4024" fmla="*/ 1648446 h 4749526"/>
              <a:gd name="connsiteX4025" fmla="*/ 3090455 w 7402822"/>
              <a:gd name="connsiteY4025" fmla="*/ 1663625 h 4749526"/>
              <a:gd name="connsiteX4026" fmla="*/ 3066169 w 7402822"/>
              <a:gd name="connsiteY4026" fmla="*/ 1663625 h 4749526"/>
              <a:gd name="connsiteX4027" fmla="*/ 3038846 w 7402822"/>
              <a:gd name="connsiteY4027" fmla="*/ 1651481 h 4749526"/>
              <a:gd name="connsiteX4028" fmla="*/ 3026704 w 7402822"/>
              <a:gd name="connsiteY4028" fmla="*/ 1648446 h 4749526"/>
              <a:gd name="connsiteX4029" fmla="*/ 3011524 w 7402822"/>
              <a:gd name="connsiteY4029" fmla="*/ 1648446 h 4749526"/>
              <a:gd name="connsiteX4030" fmla="*/ 3002417 w 7402822"/>
              <a:gd name="connsiteY4030" fmla="*/ 1648446 h 4749526"/>
              <a:gd name="connsiteX4031" fmla="*/ 2996345 w 7402822"/>
              <a:gd name="connsiteY4031" fmla="*/ 1642374 h 4749526"/>
              <a:gd name="connsiteX4032" fmla="*/ 3005453 w 7402822"/>
              <a:gd name="connsiteY4032" fmla="*/ 1639337 h 4749526"/>
              <a:gd name="connsiteX4033" fmla="*/ 3014560 w 7402822"/>
              <a:gd name="connsiteY4033" fmla="*/ 1636302 h 4749526"/>
              <a:gd name="connsiteX4034" fmla="*/ 3011524 w 7402822"/>
              <a:gd name="connsiteY4034" fmla="*/ 1621123 h 4749526"/>
              <a:gd name="connsiteX4035" fmla="*/ 3008488 w 7402822"/>
              <a:gd name="connsiteY4035" fmla="*/ 1605944 h 4749526"/>
              <a:gd name="connsiteX4036" fmla="*/ 2996345 w 7402822"/>
              <a:gd name="connsiteY4036" fmla="*/ 1599872 h 4749526"/>
              <a:gd name="connsiteX4037" fmla="*/ 2984202 w 7402822"/>
              <a:gd name="connsiteY4037" fmla="*/ 1599872 h 4749526"/>
              <a:gd name="connsiteX4038" fmla="*/ 2975094 w 7402822"/>
              <a:gd name="connsiteY4038" fmla="*/ 1605944 h 4749526"/>
              <a:gd name="connsiteX4039" fmla="*/ 2969023 w 7402822"/>
              <a:gd name="connsiteY4039" fmla="*/ 1596836 h 4749526"/>
              <a:gd name="connsiteX4040" fmla="*/ 2975094 w 7402822"/>
              <a:gd name="connsiteY4040" fmla="*/ 1596836 h 4749526"/>
              <a:gd name="connsiteX4041" fmla="*/ 2984202 w 7402822"/>
              <a:gd name="connsiteY4041" fmla="*/ 1593801 h 4749526"/>
              <a:gd name="connsiteX4042" fmla="*/ 2993309 w 7402822"/>
              <a:gd name="connsiteY4042" fmla="*/ 1587729 h 4749526"/>
              <a:gd name="connsiteX4043" fmla="*/ 3017595 w 7402822"/>
              <a:gd name="connsiteY4043" fmla="*/ 1569514 h 4749526"/>
              <a:gd name="connsiteX4044" fmla="*/ 2999381 w 7402822"/>
              <a:gd name="connsiteY4044" fmla="*/ 1566478 h 4749526"/>
              <a:gd name="connsiteX4045" fmla="*/ 2984202 w 7402822"/>
              <a:gd name="connsiteY4045" fmla="*/ 1566478 h 4749526"/>
              <a:gd name="connsiteX4046" fmla="*/ 2972059 w 7402822"/>
              <a:gd name="connsiteY4046" fmla="*/ 1572550 h 4749526"/>
              <a:gd name="connsiteX4047" fmla="*/ 2959915 w 7402822"/>
              <a:gd name="connsiteY4047" fmla="*/ 1566478 h 4749526"/>
              <a:gd name="connsiteX4048" fmla="*/ 2975094 w 7402822"/>
              <a:gd name="connsiteY4048" fmla="*/ 1539155 h 4749526"/>
              <a:gd name="connsiteX4049" fmla="*/ 2987238 w 7402822"/>
              <a:gd name="connsiteY4049" fmla="*/ 1523977 h 4749526"/>
              <a:gd name="connsiteX4050" fmla="*/ 2999381 w 7402822"/>
              <a:gd name="connsiteY4050" fmla="*/ 1520941 h 4749526"/>
              <a:gd name="connsiteX4051" fmla="*/ 3005453 w 7402822"/>
              <a:gd name="connsiteY4051" fmla="*/ 1527013 h 4749526"/>
              <a:gd name="connsiteX4052" fmla="*/ 3011524 w 7402822"/>
              <a:gd name="connsiteY4052" fmla="*/ 1530048 h 4749526"/>
              <a:gd name="connsiteX4053" fmla="*/ 3017595 w 7402822"/>
              <a:gd name="connsiteY4053" fmla="*/ 1533085 h 4749526"/>
              <a:gd name="connsiteX4054" fmla="*/ 3026704 w 7402822"/>
              <a:gd name="connsiteY4054" fmla="*/ 1542192 h 4749526"/>
              <a:gd name="connsiteX4055" fmla="*/ 3026704 w 7402822"/>
              <a:gd name="connsiteY4055" fmla="*/ 1551299 h 4749526"/>
              <a:gd name="connsiteX4056" fmla="*/ 3032774 w 7402822"/>
              <a:gd name="connsiteY4056" fmla="*/ 1569514 h 4749526"/>
              <a:gd name="connsiteX4057" fmla="*/ 3038846 w 7402822"/>
              <a:gd name="connsiteY4057" fmla="*/ 1560406 h 4749526"/>
              <a:gd name="connsiteX4058" fmla="*/ 3041883 w 7402822"/>
              <a:gd name="connsiteY4058" fmla="*/ 1566478 h 4749526"/>
              <a:gd name="connsiteX4059" fmla="*/ 3047953 w 7402822"/>
              <a:gd name="connsiteY4059" fmla="*/ 1560406 h 4749526"/>
              <a:gd name="connsiteX4060" fmla="*/ 3047953 w 7402822"/>
              <a:gd name="connsiteY4060" fmla="*/ 1548264 h 4749526"/>
              <a:gd name="connsiteX4061" fmla="*/ 3044918 w 7402822"/>
              <a:gd name="connsiteY4061" fmla="*/ 1536120 h 4749526"/>
              <a:gd name="connsiteX4062" fmla="*/ 3050990 w 7402822"/>
              <a:gd name="connsiteY4062" fmla="*/ 1536120 h 4749526"/>
              <a:gd name="connsiteX4063" fmla="*/ 3060097 w 7402822"/>
              <a:gd name="connsiteY4063" fmla="*/ 1554335 h 4749526"/>
              <a:gd name="connsiteX4064" fmla="*/ 3063133 w 7402822"/>
              <a:gd name="connsiteY4064" fmla="*/ 1545227 h 4749526"/>
              <a:gd name="connsiteX4065" fmla="*/ 3066169 w 7402822"/>
              <a:gd name="connsiteY4065" fmla="*/ 1539155 h 4749526"/>
              <a:gd name="connsiteX4066" fmla="*/ 3069204 w 7402822"/>
              <a:gd name="connsiteY4066" fmla="*/ 1536120 h 4749526"/>
              <a:gd name="connsiteX4067" fmla="*/ 3075276 w 7402822"/>
              <a:gd name="connsiteY4067" fmla="*/ 1533085 h 4749526"/>
              <a:gd name="connsiteX4068" fmla="*/ 3081348 w 7402822"/>
              <a:gd name="connsiteY4068" fmla="*/ 1536120 h 4749526"/>
              <a:gd name="connsiteX4069" fmla="*/ 3096527 w 7402822"/>
              <a:gd name="connsiteY4069" fmla="*/ 1533085 h 4749526"/>
              <a:gd name="connsiteX4070" fmla="*/ 3099563 w 7402822"/>
              <a:gd name="connsiteY4070" fmla="*/ 1539155 h 4749526"/>
              <a:gd name="connsiteX4071" fmla="*/ 3105634 w 7402822"/>
              <a:gd name="connsiteY4071" fmla="*/ 1536120 h 4749526"/>
              <a:gd name="connsiteX4072" fmla="*/ 3114742 w 7402822"/>
              <a:gd name="connsiteY4072" fmla="*/ 1533085 h 4749526"/>
              <a:gd name="connsiteX4073" fmla="*/ 3117777 w 7402822"/>
              <a:gd name="connsiteY4073" fmla="*/ 1536120 h 4749526"/>
              <a:gd name="connsiteX4074" fmla="*/ 3120814 w 7402822"/>
              <a:gd name="connsiteY4074" fmla="*/ 1536120 h 4749526"/>
              <a:gd name="connsiteX4075" fmla="*/ 3126885 w 7402822"/>
              <a:gd name="connsiteY4075" fmla="*/ 1533085 h 4749526"/>
              <a:gd name="connsiteX4076" fmla="*/ 3126885 w 7402822"/>
              <a:gd name="connsiteY4076" fmla="*/ 1530048 h 4749526"/>
              <a:gd name="connsiteX4077" fmla="*/ 3126885 w 7402822"/>
              <a:gd name="connsiteY4077" fmla="*/ 1523977 h 4749526"/>
              <a:gd name="connsiteX4078" fmla="*/ 1933811 w 7402822"/>
              <a:gd name="connsiteY4078" fmla="*/ 1429867 h 4749526"/>
              <a:gd name="connsiteX4079" fmla="*/ 1945954 w 7402822"/>
              <a:gd name="connsiteY4079" fmla="*/ 1435938 h 4749526"/>
              <a:gd name="connsiteX4080" fmla="*/ 1952025 w 7402822"/>
              <a:gd name="connsiteY4080" fmla="*/ 1438975 h 4749526"/>
              <a:gd name="connsiteX4081" fmla="*/ 1952025 w 7402822"/>
              <a:gd name="connsiteY4081" fmla="*/ 1451117 h 4749526"/>
              <a:gd name="connsiteX4082" fmla="*/ 1939882 w 7402822"/>
              <a:gd name="connsiteY4082" fmla="*/ 1448082 h 4749526"/>
              <a:gd name="connsiteX4083" fmla="*/ 1924703 w 7402822"/>
              <a:gd name="connsiteY4083" fmla="*/ 1442010 h 4749526"/>
              <a:gd name="connsiteX4084" fmla="*/ 3744673 w 7402822"/>
              <a:gd name="connsiteY4084" fmla="*/ 1420760 h 4749526"/>
              <a:gd name="connsiteX4085" fmla="*/ 3756815 w 7402822"/>
              <a:gd name="connsiteY4085" fmla="*/ 1423796 h 4749526"/>
              <a:gd name="connsiteX4086" fmla="*/ 3750744 w 7402822"/>
              <a:gd name="connsiteY4086" fmla="*/ 1429867 h 4749526"/>
              <a:gd name="connsiteX4087" fmla="*/ 3744673 w 7402822"/>
              <a:gd name="connsiteY4087" fmla="*/ 1432904 h 4749526"/>
              <a:gd name="connsiteX4088" fmla="*/ 1675766 w 7402822"/>
              <a:gd name="connsiteY4088" fmla="*/ 1420760 h 4749526"/>
              <a:gd name="connsiteX4089" fmla="*/ 1681838 w 7402822"/>
              <a:gd name="connsiteY4089" fmla="*/ 1426831 h 4749526"/>
              <a:gd name="connsiteX4090" fmla="*/ 1681838 w 7402822"/>
              <a:gd name="connsiteY4090" fmla="*/ 1448082 h 4749526"/>
              <a:gd name="connsiteX4091" fmla="*/ 1672730 w 7402822"/>
              <a:gd name="connsiteY4091" fmla="*/ 1442010 h 4749526"/>
              <a:gd name="connsiteX4092" fmla="*/ 1900416 w 7402822"/>
              <a:gd name="connsiteY4092" fmla="*/ 1417724 h 4749526"/>
              <a:gd name="connsiteX4093" fmla="*/ 1912560 w 7402822"/>
              <a:gd name="connsiteY4093" fmla="*/ 1420760 h 4749526"/>
              <a:gd name="connsiteX4094" fmla="*/ 1918632 w 7402822"/>
              <a:gd name="connsiteY4094" fmla="*/ 1429867 h 4749526"/>
              <a:gd name="connsiteX4095" fmla="*/ 1915595 w 7402822"/>
              <a:gd name="connsiteY4095" fmla="*/ 1445046 h 4749526"/>
              <a:gd name="connsiteX4096" fmla="*/ 1918632 w 7402822"/>
              <a:gd name="connsiteY4096" fmla="*/ 1463261 h 4749526"/>
              <a:gd name="connsiteX4097" fmla="*/ 1906488 w 7402822"/>
              <a:gd name="connsiteY4097" fmla="*/ 1472368 h 4749526"/>
              <a:gd name="connsiteX4098" fmla="*/ 1891309 w 7402822"/>
              <a:gd name="connsiteY4098" fmla="*/ 1478440 h 4749526"/>
              <a:gd name="connsiteX4099" fmla="*/ 1879166 w 7402822"/>
              <a:gd name="connsiteY4099" fmla="*/ 1478440 h 4749526"/>
              <a:gd name="connsiteX4100" fmla="*/ 1876130 w 7402822"/>
              <a:gd name="connsiteY4100" fmla="*/ 1475405 h 4749526"/>
              <a:gd name="connsiteX4101" fmla="*/ 1873095 w 7402822"/>
              <a:gd name="connsiteY4101" fmla="*/ 1466296 h 4749526"/>
              <a:gd name="connsiteX4102" fmla="*/ 1870058 w 7402822"/>
              <a:gd name="connsiteY4102" fmla="*/ 1454154 h 4749526"/>
              <a:gd name="connsiteX4103" fmla="*/ 1873095 w 7402822"/>
              <a:gd name="connsiteY4103" fmla="*/ 1445046 h 4749526"/>
              <a:gd name="connsiteX4104" fmla="*/ 1882202 w 7402822"/>
              <a:gd name="connsiteY4104" fmla="*/ 1423796 h 4749526"/>
              <a:gd name="connsiteX4105" fmla="*/ 3775031 w 7402822"/>
              <a:gd name="connsiteY4105" fmla="*/ 1411653 h 4749526"/>
              <a:gd name="connsiteX4106" fmla="*/ 3765924 w 7402822"/>
              <a:gd name="connsiteY4106" fmla="*/ 1423796 h 4749526"/>
              <a:gd name="connsiteX4107" fmla="*/ 3759852 w 7402822"/>
              <a:gd name="connsiteY4107" fmla="*/ 1429867 h 4749526"/>
              <a:gd name="connsiteX4108" fmla="*/ 3756815 w 7402822"/>
              <a:gd name="connsiteY4108" fmla="*/ 1429867 h 4749526"/>
              <a:gd name="connsiteX4109" fmla="*/ 3765924 w 7402822"/>
              <a:gd name="connsiteY4109" fmla="*/ 1414688 h 4749526"/>
              <a:gd name="connsiteX4110" fmla="*/ 1299325 w 7402822"/>
              <a:gd name="connsiteY4110" fmla="*/ 1405581 h 4749526"/>
              <a:gd name="connsiteX4111" fmla="*/ 1305397 w 7402822"/>
              <a:gd name="connsiteY4111" fmla="*/ 1405581 h 4749526"/>
              <a:gd name="connsiteX4112" fmla="*/ 1308433 w 7402822"/>
              <a:gd name="connsiteY4112" fmla="*/ 1414688 h 4749526"/>
              <a:gd name="connsiteX4113" fmla="*/ 1839700 w 7402822"/>
              <a:gd name="connsiteY4113" fmla="*/ 1399509 h 4749526"/>
              <a:gd name="connsiteX4114" fmla="*/ 1845772 w 7402822"/>
              <a:gd name="connsiteY4114" fmla="*/ 1402545 h 4749526"/>
              <a:gd name="connsiteX4115" fmla="*/ 1842736 w 7402822"/>
              <a:gd name="connsiteY4115" fmla="*/ 1408616 h 4749526"/>
              <a:gd name="connsiteX4116" fmla="*/ 1839700 w 7402822"/>
              <a:gd name="connsiteY4116" fmla="*/ 1411652 h 4749526"/>
              <a:gd name="connsiteX4117" fmla="*/ 1836665 w 7402822"/>
              <a:gd name="connsiteY4117" fmla="*/ 1408616 h 4749526"/>
              <a:gd name="connsiteX4118" fmla="*/ 1912560 w 7402822"/>
              <a:gd name="connsiteY4118" fmla="*/ 1396473 h 4749526"/>
              <a:gd name="connsiteX4119" fmla="*/ 1921667 w 7402822"/>
              <a:gd name="connsiteY4119" fmla="*/ 1408616 h 4749526"/>
              <a:gd name="connsiteX4120" fmla="*/ 1921667 w 7402822"/>
              <a:gd name="connsiteY4120" fmla="*/ 1417724 h 4749526"/>
              <a:gd name="connsiteX4121" fmla="*/ 1918632 w 7402822"/>
              <a:gd name="connsiteY4121" fmla="*/ 1417724 h 4749526"/>
              <a:gd name="connsiteX4122" fmla="*/ 1909524 w 7402822"/>
              <a:gd name="connsiteY4122" fmla="*/ 1408616 h 4749526"/>
              <a:gd name="connsiteX4123" fmla="*/ 1360043 w 7402822"/>
              <a:gd name="connsiteY4123" fmla="*/ 1390402 h 4749526"/>
              <a:gd name="connsiteX4124" fmla="*/ 1366115 w 7402822"/>
              <a:gd name="connsiteY4124" fmla="*/ 1393437 h 4749526"/>
              <a:gd name="connsiteX4125" fmla="*/ 1353971 w 7402822"/>
              <a:gd name="connsiteY4125" fmla="*/ 1399509 h 4749526"/>
              <a:gd name="connsiteX4126" fmla="*/ 3799317 w 7402822"/>
              <a:gd name="connsiteY4126" fmla="*/ 1384330 h 4749526"/>
              <a:gd name="connsiteX4127" fmla="*/ 3805389 w 7402822"/>
              <a:gd name="connsiteY4127" fmla="*/ 1405581 h 4749526"/>
              <a:gd name="connsiteX4128" fmla="*/ 3796281 w 7402822"/>
              <a:gd name="connsiteY4128" fmla="*/ 1414688 h 4749526"/>
              <a:gd name="connsiteX4129" fmla="*/ 3790210 w 7402822"/>
              <a:gd name="connsiteY4129" fmla="*/ 1417724 h 4749526"/>
              <a:gd name="connsiteX4130" fmla="*/ 3775031 w 7402822"/>
              <a:gd name="connsiteY4130" fmla="*/ 1420760 h 4749526"/>
              <a:gd name="connsiteX4131" fmla="*/ 3784138 w 7402822"/>
              <a:gd name="connsiteY4131" fmla="*/ 1390402 h 4749526"/>
              <a:gd name="connsiteX4132" fmla="*/ 3775031 w 7402822"/>
              <a:gd name="connsiteY4132" fmla="*/ 1378258 h 4749526"/>
              <a:gd name="connsiteX4133" fmla="*/ 3781103 w 7402822"/>
              <a:gd name="connsiteY4133" fmla="*/ 1396474 h 4749526"/>
              <a:gd name="connsiteX4134" fmla="*/ 3768959 w 7402822"/>
              <a:gd name="connsiteY4134" fmla="*/ 1399509 h 4749526"/>
              <a:gd name="connsiteX4135" fmla="*/ 3762887 w 7402822"/>
              <a:gd name="connsiteY4135" fmla="*/ 1399509 h 4749526"/>
              <a:gd name="connsiteX4136" fmla="*/ 3762887 w 7402822"/>
              <a:gd name="connsiteY4136" fmla="*/ 1390402 h 4749526"/>
              <a:gd name="connsiteX4137" fmla="*/ 3768959 w 7402822"/>
              <a:gd name="connsiteY4137" fmla="*/ 1384330 h 4749526"/>
              <a:gd name="connsiteX4138" fmla="*/ 1390401 w 7402822"/>
              <a:gd name="connsiteY4138" fmla="*/ 1378258 h 4749526"/>
              <a:gd name="connsiteX4139" fmla="*/ 1396473 w 7402822"/>
              <a:gd name="connsiteY4139" fmla="*/ 1381294 h 4749526"/>
              <a:gd name="connsiteX4140" fmla="*/ 1399508 w 7402822"/>
              <a:gd name="connsiteY4140" fmla="*/ 1393437 h 4749526"/>
              <a:gd name="connsiteX4141" fmla="*/ 1390401 w 7402822"/>
              <a:gd name="connsiteY4141" fmla="*/ 1393437 h 4749526"/>
              <a:gd name="connsiteX4142" fmla="*/ 3790210 w 7402822"/>
              <a:gd name="connsiteY4142" fmla="*/ 1366116 h 4749526"/>
              <a:gd name="connsiteX4143" fmla="*/ 3799317 w 7402822"/>
              <a:gd name="connsiteY4143" fmla="*/ 1366116 h 4749526"/>
              <a:gd name="connsiteX4144" fmla="*/ 3790210 w 7402822"/>
              <a:gd name="connsiteY4144" fmla="*/ 1381295 h 4749526"/>
              <a:gd name="connsiteX4145" fmla="*/ 3784138 w 7402822"/>
              <a:gd name="connsiteY4145" fmla="*/ 1384330 h 4749526"/>
              <a:gd name="connsiteX4146" fmla="*/ 1845772 w 7402822"/>
              <a:gd name="connsiteY4146" fmla="*/ 1357007 h 4749526"/>
              <a:gd name="connsiteX4147" fmla="*/ 1851844 w 7402822"/>
              <a:gd name="connsiteY4147" fmla="*/ 1363079 h 4749526"/>
              <a:gd name="connsiteX4148" fmla="*/ 1845772 w 7402822"/>
              <a:gd name="connsiteY4148" fmla="*/ 1378258 h 4749526"/>
              <a:gd name="connsiteX4149" fmla="*/ 1830593 w 7402822"/>
              <a:gd name="connsiteY4149" fmla="*/ 1390402 h 4749526"/>
              <a:gd name="connsiteX4150" fmla="*/ 1827557 w 7402822"/>
              <a:gd name="connsiteY4150" fmla="*/ 1384330 h 4749526"/>
              <a:gd name="connsiteX4151" fmla="*/ 1833629 w 7402822"/>
              <a:gd name="connsiteY4151" fmla="*/ 1375223 h 4749526"/>
              <a:gd name="connsiteX4152" fmla="*/ 4485410 w 7402822"/>
              <a:gd name="connsiteY4152" fmla="*/ 1353972 h 4749526"/>
              <a:gd name="connsiteX4153" fmla="*/ 4500589 w 7402822"/>
              <a:gd name="connsiteY4153" fmla="*/ 1366116 h 4749526"/>
              <a:gd name="connsiteX4154" fmla="*/ 4503625 w 7402822"/>
              <a:gd name="connsiteY4154" fmla="*/ 1372187 h 4749526"/>
              <a:gd name="connsiteX4155" fmla="*/ 4500589 w 7402822"/>
              <a:gd name="connsiteY4155" fmla="*/ 1381295 h 4749526"/>
              <a:gd name="connsiteX4156" fmla="*/ 4485410 w 7402822"/>
              <a:gd name="connsiteY4156" fmla="*/ 1390402 h 4749526"/>
              <a:gd name="connsiteX4157" fmla="*/ 4476303 w 7402822"/>
              <a:gd name="connsiteY4157" fmla="*/ 1396474 h 4749526"/>
              <a:gd name="connsiteX4158" fmla="*/ 4467195 w 7402822"/>
              <a:gd name="connsiteY4158" fmla="*/ 1396474 h 4749526"/>
              <a:gd name="connsiteX4159" fmla="*/ 4461124 w 7402822"/>
              <a:gd name="connsiteY4159" fmla="*/ 1387367 h 4749526"/>
              <a:gd name="connsiteX4160" fmla="*/ 4461124 w 7402822"/>
              <a:gd name="connsiteY4160" fmla="*/ 1375223 h 4749526"/>
              <a:gd name="connsiteX4161" fmla="*/ 4464160 w 7402822"/>
              <a:gd name="connsiteY4161" fmla="*/ 1357008 h 4749526"/>
              <a:gd name="connsiteX4162" fmla="*/ 1876130 w 7402822"/>
              <a:gd name="connsiteY4162" fmla="*/ 1353972 h 4749526"/>
              <a:gd name="connsiteX4163" fmla="*/ 1882202 w 7402822"/>
              <a:gd name="connsiteY4163" fmla="*/ 1357007 h 4749526"/>
              <a:gd name="connsiteX4164" fmla="*/ 1882202 w 7402822"/>
              <a:gd name="connsiteY4164" fmla="*/ 1366115 h 4749526"/>
              <a:gd name="connsiteX4165" fmla="*/ 1873095 w 7402822"/>
              <a:gd name="connsiteY4165" fmla="*/ 1372186 h 4749526"/>
              <a:gd name="connsiteX4166" fmla="*/ 1870058 w 7402822"/>
              <a:gd name="connsiteY4166" fmla="*/ 1363079 h 4749526"/>
              <a:gd name="connsiteX4167" fmla="*/ 1487546 w 7402822"/>
              <a:gd name="connsiteY4167" fmla="*/ 1350936 h 4749526"/>
              <a:gd name="connsiteX4168" fmla="*/ 1490582 w 7402822"/>
              <a:gd name="connsiteY4168" fmla="*/ 1353972 h 4749526"/>
              <a:gd name="connsiteX4169" fmla="*/ 1487546 w 7402822"/>
              <a:gd name="connsiteY4169" fmla="*/ 1357007 h 4749526"/>
              <a:gd name="connsiteX4170" fmla="*/ 3817532 w 7402822"/>
              <a:gd name="connsiteY4170" fmla="*/ 1347900 h 4749526"/>
              <a:gd name="connsiteX4171" fmla="*/ 3832711 w 7402822"/>
              <a:gd name="connsiteY4171" fmla="*/ 1347900 h 4749526"/>
              <a:gd name="connsiteX4172" fmla="*/ 3832711 w 7402822"/>
              <a:gd name="connsiteY4172" fmla="*/ 1357008 h 4749526"/>
              <a:gd name="connsiteX4173" fmla="*/ 3829675 w 7402822"/>
              <a:gd name="connsiteY4173" fmla="*/ 1369151 h 4749526"/>
              <a:gd name="connsiteX4174" fmla="*/ 3811460 w 7402822"/>
              <a:gd name="connsiteY4174" fmla="*/ 1375223 h 4749526"/>
              <a:gd name="connsiteX4175" fmla="*/ 3814496 w 7402822"/>
              <a:gd name="connsiteY4175" fmla="*/ 1369151 h 4749526"/>
              <a:gd name="connsiteX4176" fmla="*/ 3808424 w 7402822"/>
              <a:gd name="connsiteY4176" fmla="*/ 1363079 h 4749526"/>
              <a:gd name="connsiteX4177" fmla="*/ 3808424 w 7402822"/>
              <a:gd name="connsiteY4177" fmla="*/ 1357008 h 4749526"/>
              <a:gd name="connsiteX4178" fmla="*/ 1469331 w 7402822"/>
              <a:gd name="connsiteY4178" fmla="*/ 1347900 h 4749526"/>
              <a:gd name="connsiteX4179" fmla="*/ 1478438 w 7402822"/>
              <a:gd name="connsiteY4179" fmla="*/ 1347900 h 4749526"/>
              <a:gd name="connsiteX4180" fmla="*/ 1481475 w 7402822"/>
              <a:gd name="connsiteY4180" fmla="*/ 1347900 h 4749526"/>
              <a:gd name="connsiteX4181" fmla="*/ 1481475 w 7402822"/>
              <a:gd name="connsiteY4181" fmla="*/ 1360044 h 4749526"/>
              <a:gd name="connsiteX4182" fmla="*/ 1478438 w 7402822"/>
              <a:gd name="connsiteY4182" fmla="*/ 1360044 h 4749526"/>
              <a:gd name="connsiteX4183" fmla="*/ 701271 w 7402822"/>
              <a:gd name="connsiteY4183" fmla="*/ 1347900 h 4749526"/>
              <a:gd name="connsiteX4184" fmla="*/ 704307 w 7402822"/>
              <a:gd name="connsiteY4184" fmla="*/ 1347900 h 4749526"/>
              <a:gd name="connsiteX4185" fmla="*/ 704307 w 7402822"/>
              <a:gd name="connsiteY4185" fmla="*/ 1353972 h 4749526"/>
              <a:gd name="connsiteX4186" fmla="*/ 695200 w 7402822"/>
              <a:gd name="connsiteY4186" fmla="*/ 1366115 h 4749526"/>
              <a:gd name="connsiteX4187" fmla="*/ 686092 w 7402822"/>
              <a:gd name="connsiteY4187" fmla="*/ 1375223 h 4749526"/>
              <a:gd name="connsiteX4188" fmla="*/ 670914 w 7402822"/>
              <a:gd name="connsiteY4188" fmla="*/ 1381294 h 4749526"/>
              <a:gd name="connsiteX4189" fmla="*/ 661806 w 7402822"/>
              <a:gd name="connsiteY4189" fmla="*/ 1375223 h 4749526"/>
              <a:gd name="connsiteX4190" fmla="*/ 661806 w 7402822"/>
              <a:gd name="connsiteY4190" fmla="*/ 1366115 h 4749526"/>
              <a:gd name="connsiteX4191" fmla="*/ 664842 w 7402822"/>
              <a:gd name="connsiteY4191" fmla="*/ 1360044 h 4749526"/>
              <a:gd name="connsiteX4192" fmla="*/ 680021 w 7402822"/>
              <a:gd name="connsiteY4192" fmla="*/ 1353972 h 4749526"/>
              <a:gd name="connsiteX4193" fmla="*/ 689128 w 7402822"/>
              <a:gd name="connsiteY4193" fmla="*/ 1350936 h 4749526"/>
              <a:gd name="connsiteX4194" fmla="*/ 1487546 w 7402822"/>
              <a:gd name="connsiteY4194" fmla="*/ 1344865 h 4749526"/>
              <a:gd name="connsiteX4195" fmla="*/ 1496654 w 7402822"/>
              <a:gd name="connsiteY4195" fmla="*/ 1347900 h 4749526"/>
              <a:gd name="connsiteX4196" fmla="*/ 1496654 w 7402822"/>
              <a:gd name="connsiteY4196" fmla="*/ 1353972 h 4749526"/>
              <a:gd name="connsiteX4197" fmla="*/ 1493617 w 7402822"/>
              <a:gd name="connsiteY4197" fmla="*/ 1363079 h 4749526"/>
              <a:gd name="connsiteX4198" fmla="*/ 1490582 w 7402822"/>
              <a:gd name="connsiteY4198" fmla="*/ 1363079 h 4749526"/>
              <a:gd name="connsiteX4199" fmla="*/ 1493617 w 7402822"/>
              <a:gd name="connsiteY4199" fmla="*/ 1357007 h 4749526"/>
              <a:gd name="connsiteX4200" fmla="*/ 1490582 w 7402822"/>
              <a:gd name="connsiteY4200" fmla="*/ 1347900 h 4749526"/>
              <a:gd name="connsiteX4201" fmla="*/ 1487546 w 7402822"/>
              <a:gd name="connsiteY4201" fmla="*/ 1350936 h 4749526"/>
              <a:gd name="connsiteX4202" fmla="*/ 1857915 w 7402822"/>
              <a:gd name="connsiteY4202" fmla="*/ 1338793 h 4749526"/>
              <a:gd name="connsiteX4203" fmla="*/ 1851844 w 7402822"/>
              <a:gd name="connsiteY4203" fmla="*/ 1347900 h 4749526"/>
              <a:gd name="connsiteX4204" fmla="*/ 1845772 w 7402822"/>
              <a:gd name="connsiteY4204" fmla="*/ 1353972 h 4749526"/>
              <a:gd name="connsiteX4205" fmla="*/ 1839700 w 7402822"/>
              <a:gd name="connsiteY4205" fmla="*/ 1353972 h 4749526"/>
              <a:gd name="connsiteX4206" fmla="*/ 1845772 w 7402822"/>
              <a:gd name="connsiteY4206" fmla="*/ 1341828 h 4749526"/>
              <a:gd name="connsiteX4207" fmla="*/ 1438973 w 7402822"/>
              <a:gd name="connsiteY4207" fmla="*/ 1335757 h 4749526"/>
              <a:gd name="connsiteX4208" fmla="*/ 1454152 w 7402822"/>
              <a:gd name="connsiteY4208" fmla="*/ 1335757 h 4749526"/>
              <a:gd name="connsiteX4209" fmla="*/ 1472366 w 7402822"/>
              <a:gd name="connsiteY4209" fmla="*/ 1353972 h 4749526"/>
              <a:gd name="connsiteX4210" fmla="*/ 1487546 w 7402822"/>
              <a:gd name="connsiteY4210" fmla="*/ 1375223 h 4749526"/>
              <a:gd name="connsiteX4211" fmla="*/ 1493617 w 7402822"/>
              <a:gd name="connsiteY4211" fmla="*/ 1390402 h 4749526"/>
              <a:gd name="connsiteX4212" fmla="*/ 1502725 w 7402822"/>
              <a:gd name="connsiteY4212" fmla="*/ 1390402 h 4749526"/>
              <a:gd name="connsiteX4213" fmla="*/ 1496654 w 7402822"/>
              <a:gd name="connsiteY4213" fmla="*/ 1396473 h 4749526"/>
              <a:gd name="connsiteX4214" fmla="*/ 1493617 w 7402822"/>
              <a:gd name="connsiteY4214" fmla="*/ 1393437 h 4749526"/>
              <a:gd name="connsiteX4215" fmla="*/ 1490582 w 7402822"/>
              <a:gd name="connsiteY4215" fmla="*/ 1396473 h 4749526"/>
              <a:gd name="connsiteX4216" fmla="*/ 1478438 w 7402822"/>
              <a:gd name="connsiteY4216" fmla="*/ 1408616 h 4749526"/>
              <a:gd name="connsiteX4217" fmla="*/ 1469331 w 7402822"/>
              <a:gd name="connsiteY4217" fmla="*/ 1411652 h 4749526"/>
              <a:gd name="connsiteX4218" fmla="*/ 1454152 w 7402822"/>
              <a:gd name="connsiteY4218" fmla="*/ 1405581 h 4749526"/>
              <a:gd name="connsiteX4219" fmla="*/ 1445045 w 7402822"/>
              <a:gd name="connsiteY4219" fmla="*/ 1396473 h 4749526"/>
              <a:gd name="connsiteX4220" fmla="*/ 1429865 w 7402822"/>
              <a:gd name="connsiteY4220" fmla="*/ 1390402 h 4749526"/>
              <a:gd name="connsiteX4221" fmla="*/ 1414686 w 7402822"/>
              <a:gd name="connsiteY4221" fmla="*/ 1387366 h 4749526"/>
              <a:gd name="connsiteX4222" fmla="*/ 1411651 w 7402822"/>
              <a:gd name="connsiteY4222" fmla="*/ 1381294 h 4749526"/>
              <a:gd name="connsiteX4223" fmla="*/ 1411651 w 7402822"/>
              <a:gd name="connsiteY4223" fmla="*/ 1375223 h 4749526"/>
              <a:gd name="connsiteX4224" fmla="*/ 1423794 w 7402822"/>
              <a:gd name="connsiteY4224" fmla="*/ 1372186 h 4749526"/>
              <a:gd name="connsiteX4225" fmla="*/ 1435937 w 7402822"/>
              <a:gd name="connsiteY4225" fmla="*/ 1363079 h 4749526"/>
              <a:gd name="connsiteX4226" fmla="*/ 1432901 w 7402822"/>
              <a:gd name="connsiteY4226" fmla="*/ 1347900 h 4749526"/>
              <a:gd name="connsiteX4227" fmla="*/ 1821485 w 7402822"/>
              <a:gd name="connsiteY4227" fmla="*/ 1332721 h 4749526"/>
              <a:gd name="connsiteX4228" fmla="*/ 1827557 w 7402822"/>
              <a:gd name="connsiteY4228" fmla="*/ 1338793 h 4749526"/>
              <a:gd name="connsiteX4229" fmla="*/ 1824522 w 7402822"/>
              <a:gd name="connsiteY4229" fmla="*/ 1344865 h 4749526"/>
              <a:gd name="connsiteX4230" fmla="*/ 1815414 w 7402822"/>
              <a:gd name="connsiteY4230" fmla="*/ 1347900 h 4749526"/>
              <a:gd name="connsiteX4231" fmla="*/ 1800234 w 7402822"/>
              <a:gd name="connsiteY4231" fmla="*/ 1338793 h 4749526"/>
              <a:gd name="connsiteX4232" fmla="*/ 1806306 w 7402822"/>
              <a:gd name="connsiteY4232" fmla="*/ 1335757 h 4749526"/>
              <a:gd name="connsiteX4233" fmla="*/ 1818450 w 7402822"/>
              <a:gd name="connsiteY4233" fmla="*/ 1335757 h 4749526"/>
              <a:gd name="connsiteX4234" fmla="*/ 1821485 w 7402822"/>
              <a:gd name="connsiteY4234" fmla="*/ 1335757 h 4749526"/>
              <a:gd name="connsiteX4235" fmla="*/ 3844854 w 7402822"/>
              <a:gd name="connsiteY4235" fmla="*/ 1326650 h 4749526"/>
              <a:gd name="connsiteX4236" fmla="*/ 3850925 w 7402822"/>
              <a:gd name="connsiteY4236" fmla="*/ 1326650 h 4749526"/>
              <a:gd name="connsiteX4237" fmla="*/ 3853962 w 7402822"/>
              <a:gd name="connsiteY4237" fmla="*/ 1329686 h 4749526"/>
              <a:gd name="connsiteX4238" fmla="*/ 3847890 w 7402822"/>
              <a:gd name="connsiteY4238" fmla="*/ 1344865 h 4749526"/>
              <a:gd name="connsiteX4239" fmla="*/ 3838783 w 7402822"/>
              <a:gd name="connsiteY4239" fmla="*/ 1347900 h 4749526"/>
              <a:gd name="connsiteX4240" fmla="*/ 3832711 w 7402822"/>
              <a:gd name="connsiteY4240" fmla="*/ 1341829 h 4749526"/>
              <a:gd name="connsiteX4241" fmla="*/ 2410434 w 7402822"/>
              <a:gd name="connsiteY4241" fmla="*/ 1326649 h 4749526"/>
              <a:gd name="connsiteX4242" fmla="*/ 2419542 w 7402822"/>
              <a:gd name="connsiteY4242" fmla="*/ 1332721 h 4749526"/>
              <a:gd name="connsiteX4243" fmla="*/ 2413470 w 7402822"/>
              <a:gd name="connsiteY4243" fmla="*/ 1344864 h 4749526"/>
              <a:gd name="connsiteX4244" fmla="*/ 2410434 w 7402822"/>
              <a:gd name="connsiteY4244" fmla="*/ 1350935 h 4749526"/>
              <a:gd name="connsiteX4245" fmla="*/ 2404363 w 7402822"/>
              <a:gd name="connsiteY4245" fmla="*/ 1341828 h 4749526"/>
              <a:gd name="connsiteX4246" fmla="*/ 6935307 w 7402822"/>
              <a:gd name="connsiteY4246" fmla="*/ 1320578 h 4749526"/>
              <a:gd name="connsiteX4247" fmla="*/ 6944415 w 7402822"/>
              <a:gd name="connsiteY4247" fmla="*/ 1323614 h 4749526"/>
              <a:gd name="connsiteX4248" fmla="*/ 6956559 w 7402822"/>
              <a:gd name="connsiteY4248" fmla="*/ 1326649 h 4749526"/>
              <a:gd name="connsiteX4249" fmla="*/ 6962631 w 7402822"/>
              <a:gd name="connsiteY4249" fmla="*/ 1335757 h 4749526"/>
              <a:gd name="connsiteX4250" fmla="*/ 6956559 w 7402822"/>
              <a:gd name="connsiteY4250" fmla="*/ 1347900 h 4749526"/>
              <a:gd name="connsiteX4251" fmla="*/ 6947450 w 7402822"/>
              <a:gd name="connsiteY4251" fmla="*/ 1344865 h 4749526"/>
              <a:gd name="connsiteX4252" fmla="*/ 6926201 w 7402822"/>
              <a:gd name="connsiteY4252" fmla="*/ 1329686 h 4749526"/>
              <a:gd name="connsiteX4253" fmla="*/ 3866104 w 7402822"/>
              <a:gd name="connsiteY4253" fmla="*/ 1314506 h 4749526"/>
              <a:gd name="connsiteX4254" fmla="*/ 3872176 w 7402822"/>
              <a:gd name="connsiteY4254" fmla="*/ 1317543 h 4749526"/>
              <a:gd name="connsiteX4255" fmla="*/ 3869141 w 7402822"/>
              <a:gd name="connsiteY4255" fmla="*/ 1323614 h 4749526"/>
              <a:gd name="connsiteX4256" fmla="*/ 3860034 w 7402822"/>
              <a:gd name="connsiteY4256" fmla="*/ 1329686 h 4749526"/>
              <a:gd name="connsiteX4257" fmla="*/ 3853962 w 7402822"/>
              <a:gd name="connsiteY4257" fmla="*/ 1323614 h 4749526"/>
              <a:gd name="connsiteX4258" fmla="*/ 3853962 w 7402822"/>
              <a:gd name="connsiteY4258" fmla="*/ 1317543 h 4749526"/>
              <a:gd name="connsiteX4259" fmla="*/ 1663624 w 7402822"/>
              <a:gd name="connsiteY4259" fmla="*/ 1314506 h 4749526"/>
              <a:gd name="connsiteX4260" fmla="*/ 1666659 w 7402822"/>
              <a:gd name="connsiteY4260" fmla="*/ 1314506 h 4749526"/>
              <a:gd name="connsiteX4261" fmla="*/ 1681839 w 7402822"/>
              <a:gd name="connsiteY4261" fmla="*/ 1320578 h 4749526"/>
              <a:gd name="connsiteX4262" fmla="*/ 1672731 w 7402822"/>
              <a:gd name="connsiteY4262" fmla="*/ 1323614 h 4749526"/>
              <a:gd name="connsiteX4263" fmla="*/ 3869141 w 7402822"/>
              <a:gd name="connsiteY4263" fmla="*/ 1305399 h 4749526"/>
              <a:gd name="connsiteX4264" fmla="*/ 3881283 w 7402822"/>
              <a:gd name="connsiteY4264" fmla="*/ 1314506 h 4749526"/>
              <a:gd name="connsiteX4265" fmla="*/ 3875213 w 7402822"/>
              <a:gd name="connsiteY4265" fmla="*/ 1317543 h 4749526"/>
              <a:gd name="connsiteX4266" fmla="*/ 2346682 w 7402822"/>
              <a:gd name="connsiteY4266" fmla="*/ 1302363 h 4749526"/>
              <a:gd name="connsiteX4267" fmla="*/ 2367933 w 7402822"/>
              <a:gd name="connsiteY4267" fmla="*/ 1308434 h 4749526"/>
              <a:gd name="connsiteX4268" fmla="*/ 2380076 w 7402822"/>
              <a:gd name="connsiteY4268" fmla="*/ 1329685 h 4749526"/>
              <a:gd name="connsiteX4269" fmla="*/ 2392219 w 7402822"/>
              <a:gd name="connsiteY4269" fmla="*/ 1332721 h 4749526"/>
              <a:gd name="connsiteX4270" fmla="*/ 2395255 w 7402822"/>
              <a:gd name="connsiteY4270" fmla="*/ 1344864 h 4749526"/>
              <a:gd name="connsiteX4271" fmla="*/ 2392219 w 7402822"/>
              <a:gd name="connsiteY4271" fmla="*/ 1350935 h 4749526"/>
              <a:gd name="connsiteX4272" fmla="*/ 2367933 w 7402822"/>
              <a:gd name="connsiteY4272" fmla="*/ 1363078 h 4749526"/>
              <a:gd name="connsiteX4273" fmla="*/ 2346682 w 7402822"/>
              <a:gd name="connsiteY4273" fmla="*/ 1357007 h 4749526"/>
              <a:gd name="connsiteX4274" fmla="*/ 2331503 w 7402822"/>
              <a:gd name="connsiteY4274" fmla="*/ 1341828 h 4749526"/>
              <a:gd name="connsiteX4275" fmla="*/ 2334539 w 7402822"/>
              <a:gd name="connsiteY4275" fmla="*/ 1335756 h 4749526"/>
              <a:gd name="connsiteX4276" fmla="*/ 2340610 w 7402822"/>
              <a:gd name="connsiteY4276" fmla="*/ 1323613 h 4749526"/>
              <a:gd name="connsiteX4277" fmla="*/ 2334539 w 7402822"/>
              <a:gd name="connsiteY4277" fmla="*/ 1308434 h 4749526"/>
              <a:gd name="connsiteX4278" fmla="*/ 4685774 w 7402822"/>
              <a:gd name="connsiteY4278" fmla="*/ 1290219 h 4749526"/>
              <a:gd name="connsiteX4279" fmla="*/ 4713096 w 7402822"/>
              <a:gd name="connsiteY4279" fmla="*/ 1320577 h 4749526"/>
              <a:gd name="connsiteX4280" fmla="*/ 4716132 w 7402822"/>
              <a:gd name="connsiteY4280" fmla="*/ 1329685 h 4749526"/>
              <a:gd name="connsiteX4281" fmla="*/ 4710060 w 7402822"/>
              <a:gd name="connsiteY4281" fmla="*/ 1335756 h 4749526"/>
              <a:gd name="connsiteX4282" fmla="*/ 4697917 w 7402822"/>
              <a:gd name="connsiteY4282" fmla="*/ 1335756 h 4749526"/>
              <a:gd name="connsiteX4283" fmla="*/ 4694881 w 7402822"/>
              <a:gd name="connsiteY4283" fmla="*/ 1332721 h 4749526"/>
              <a:gd name="connsiteX4284" fmla="*/ 4694881 w 7402822"/>
              <a:gd name="connsiteY4284" fmla="*/ 1329685 h 4749526"/>
              <a:gd name="connsiteX4285" fmla="*/ 4682738 w 7402822"/>
              <a:gd name="connsiteY4285" fmla="*/ 1323613 h 4749526"/>
              <a:gd name="connsiteX4286" fmla="*/ 4673630 w 7402822"/>
              <a:gd name="connsiteY4286" fmla="*/ 1314505 h 4749526"/>
              <a:gd name="connsiteX4287" fmla="*/ 4670594 w 7402822"/>
              <a:gd name="connsiteY4287" fmla="*/ 1302363 h 4749526"/>
              <a:gd name="connsiteX4288" fmla="*/ 4676666 w 7402822"/>
              <a:gd name="connsiteY4288" fmla="*/ 1296291 h 4749526"/>
              <a:gd name="connsiteX4289" fmla="*/ 3951107 w 7402822"/>
              <a:gd name="connsiteY4289" fmla="*/ 1284148 h 4749526"/>
              <a:gd name="connsiteX4290" fmla="*/ 3951107 w 7402822"/>
              <a:gd name="connsiteY4290" fmla="*/ 1299327 h 4749526"/>
              <a:gd name="connsiteX4291" fmla="*/ 3942000 w 7402822"/>
              <a:gd name="connsiteY4291" fmla="*/ 1305399 h 4749526"/>
              <a:gd name="connsiteX4292" fmla="*/ 3935928 w 7402822"/>
              <a:gd name="connsiteY4292" fmla="*/ 1296292 h 4749526"/>
              <a:gd name="connsiteX4293" fmla="*/ 3945036 w 7402822"/>
              <a:gd name="connsiteY4293" fmla="*/ 1287185 h 4749526"/>
              <a:gd name="connsiteX4294" fmla="*/ 3926821 w 7402822"/>
              <a:gd name="connsiteY4294" fmla="*/ 1278076 h 4749526"/>
              <a:gd name="connsiteX4295" fmla="*/ 3932893 w 7402822"/>
              <a:gd name="connsiteY4295" fmla="*/ 1281113 h 4749526"/>
              <a:gd name="connsiteX4296" fmla="*/ 3920749 w 7402822"/>
              <a:gd name="connsiteY4296" fmla="*/ 1293256 h 4749526"/>
              <a:gd name="connsiteX4297" fmla="*/ 3926821 w 7402822"/>
              <a:gd name="connsiteY4297" fmla="*/ 1284148 h 4749526"/>
              <a:gd name="connsiteX4298" fmla="*/ 3954143 w 7402822"/>
              <a:gd name="connsiteY4298" fmla="*/ 1272006 h 4749526"/>
              <a:gd name="connsiteX4299" fmla="*/ 3960215 w 7402822"/>
              <a:gd name="connsiteY4299" fmla="*/ 1275041 h 4749526"/>
              <a:gd name="connsiteX4300" fmla="*/ 3954143 w 7402822"/>
              <a:gd name="connsiteY4300" fmla="*/ 1287185 h 4749526"/>
              <a:gd name="connsiteX4301" fmla="*/ 2935629 w 7402822"/>
              <a:gd name="connsiteY4301" fmla="*/ 1256826 h 4749526"/>
              <a:gd name="connsiteX4302" fmla="*/ 2941701 w 7402822"/>
              <a:gd name="connsiteY4302" fmla="*/ 1268968 h 4749526"/>
              <a:gd name="connsiteX4303" fmla="*/ 2944736 w 7402822"/>
              <a:gd name="connsiteY4303" fmla="*/ 1281112 h 4749526"/>
              <a:gd name="connsiteX4304" fmla="*/ 2932594 w 7402822"/>
              <a:gd name="connsiteY4304" fmla="*/ 1287184 h 4749526"/>
              <a:gd name="connsiteX4305" fmla="*/ 2926522 w 7402822"/>
              <a:gd name="connsiteY4305" fmla="*/ 1287184 h 4749526"/>
              <a:gd name="connsiteX4306" fmla="*/ 2920450 w 7402822"/>
              <a:gd name="connsiteY4306" fmla="*/ 1290219 h 4749526"/>
              <a:gd name="connsiteX4307" fmla="*/ 2908306 w 7402822"/>
              <a:gd name="connsiteY4307" fmla="*/ 1290219 h 4749526"/>
              <a:gd name="connsiteX4308" fmla="*/ 2893127 w 7402822"/>
              <a:gd name="connsiteY4308" fmla="*/ 1296291 h 4749526"/>
              <a:gd name="connsiteX4309" fmla="*/ 2887056 w 7402822"/>
              <a:gd name="connsiteY4309" fmla="*/ 1287184 h 4749526"/>
              <a:gd name="connsiteX4310" fmla="*/ 2899199 w 7402822"/>
              <a:gd name="connsiteY4310" fmla="*/ 1275040 h 4749526"/>
              <a:gd name="connsiteX4311" fmla="*/ 2911343 w 7402822"/>
              <a:gd name="connsiteY4311" fmla="*/ 1265933 h 4749526"/>
              <a:gd name="connsiteX4312" fmla="*/ 3990573 w 7402822"/>
              <a:gd name="connsiteY4312" fmla="*/ 1250755 h 4749526"/>
              <a:gd name="connsiteX4313" fmla="*/ 3999681 w 7402822"/>
              <a:gd name="connsiteY4313" fmla="*/ 1250755 h 4749526"/>
              <a:gd name="connsiteX4314" fmla="*/ 4002716 w 7402822"/>
              <a:gd name="connsiteY4314" fmla="*/ 1256827 h 4749526"/>
              <a:gd name="connsiteX4315" fmla="*/ 3993609 w 7402822"/>
              <a:gd name="connsiteY4315" fmla="*/ 1259862 h 4749526"/>
              <a:gd name="connsiteX4316" fmla="*/ 4546126 w 7402822"/>
              <a:gd name="connsiteY4316" fmla="*/ 1247718 h 4749526"/>
              <a:gd name="connsiteX4317" fmla="*/ 4561305 w 7402822"/>
              <a:gd name="connsiteY4317" fmla="*/ 1250754 h 4749526"/>
              <a:gd name="connsiteX4318" fmla="*/ 4558270 w 7402822"/>
              <a:gd name="connsiteY4318" fmla="*/ 1272005 h 4749526"/>
              <a:gd name="connsiteX4319" fmla="*/ 4549162 w 7402822"/>
              <a:gd name="connsiteY4319" fmla="*/ 1253789 h 4749526"/>
              <a:gd name="connsiteX4320" fmla="*/ 4543091 w 7402822"/>
              <a:gd name="connsiteY4320" fmla="*/ 1250754 h 4749526"/>
              <a:gd name="connsiteX4321" fmla="*/ 2361861 w 7402822"/>
              <a:gd name="connsiteY4321" fmla="*/ 1241646 h 4749526"/>
              <a:gd name="connsiteX4322" fmla="*/ 2364897 w 7402822"/>
              <a:gd name="connsiteY4322" fmla="*/ 1256826 h 4749526"/>
              <a:gd name="connsiteX4323" fmla="*/ 2355789 w 7402822"/>
              <a:gd name="connsiteY4323" fmla="*/ 1256826 h 4749526"/>
              <a:gd name="connsiteX4324" fmla="*/ 2352754 w 7402822"/>
              <a:gd name="connsiteY4324" fmla="*/ 1247718 h 4749526"/>
              <a:gd name="connsiteX4325" fmla="*/ 2370968 w 7402822"/>
              <a:gd name="connsiteY4325" fmla="*/ 1238610 h 4749526"/>
              <a:gd name="connsiteX4326" fmla="*/ 2380076 w 7402822"/>
              <a:gd name="connsiteY4326" fmla="*/ 1241646 h 4749526"/>
              <a:gd name="connsiteX4327" fmla="*/ 2374005 w 7402822"/>
              <a:gd name="connsiteY4327" fmla="*/ 1253789 h 4749526"/>
              <a:gd name="connsiteX4328" fmla="*/ 2367933 w 7402822"/>
              <a:gd name="connsiteY4328" fmla="*/ 1247718 h 4749526"/>
              <a:gd name="connsiteX4329" fmla="*/ 7190315 w 7402822"/>
              <a:gd name="connsiteY4329" fmla="*/ 1223432 h 4749526"/>
              <a:gd name="connsiteX4330" fmla="*/ 7214602 w 7402822"/>
              <a:gd name="connsiteY4330" fmla="*/ 1226467 h 4749526"/>
              <a:gd name="connsiteX4331" fmla="*/ 7229781 w 7402822"/>
              <a:gd name="connsiteY4331" fmla="*/ 1238611 h 4749526"/>
              <a:gd name="connsiteX4332" fmla="*/ 7232817 w 7402822"/>
              <a:gd name="connsiteY4332" fmla="*/ 1244683 h 4749526"/>
              <a:gd name="connsiteX4333" fmla="*/ 7229781 w 7402822"/>
              <a:gd name="connsiteY4333" fmla="*/ 1250755 h 4749526"/>
              <a:gd name="connsiteX4334" fmla="*/ 7202459 w 7402822"/>
              <a:gd name="connsiteY4334" fmla="*/ 1262897 h 4749526"/>
              <a:gd name="connsiteX4335" fmla="*/ 7190315 w 7402822"/>
              <a:gd name="connsiteY4335" fmla="*/ 1265934 h 4749526"/>
              <a:gd name="connsiteX4336" fmla="*/ 7181209 w 7402822"/>
              <a:gd name="connsiteY4336" fmla="*/ 1259862 h 4749526"/>
              <a:gd name="connsiteX4337" fmla="*/ 7172100 w 7402822"/>
              <a:gd name="connsiteY4337" fmla="*/ 1265934 h 4749526"/>
              <a:gd name="connsiteX4338" fmla="*/ 7159957 w 7402822"/>
              <a:gd name="connsiteY4338" fmla="*/ 1268969 h 4749526"/>
              <a:gd name="connsiteX4339" fmla="*/ 7153885 w 7402822"/>
              <a:gd name="connsiteY4339" fmla="*/ 1265934 h 4749526"/>
              <a:gd name="connsiteX4340" fmla="*/ 7153885 w 7402822"/>
              <a:gd name="connsiteY4340" fmla="*/ 1253790 h 4749526"/>
              <a:gd name="connsiteX4341" fmla="*/ 7162993 w 7402822"/>
              <a:gd name="connsiteY4341" fmla="*/ 1241646 h 4749526"/>
              <a:gd name="connsiteX4342" fmla="*/ 7181209 w 7402822"/>
              <a:gd name="connsiteY4342" fmla="*/ 1226467 h 4749526"/>
              <a:gd name="connsiteX4343" fmla="*/ 1952025 w 7402822"/>
              <a:gd name="connsiteY4343" fmla="*/ 1220396 h 4749526"/>
              <a:gd name="connsiteX4344" fmla="*/ 1955061 w 7402822"/>
              <a:gd name="connsiteY4344" fmla="*/ 1220396 h 4749526"/>
              <a:gd name="connsiteX4345" fmla="*/ 1961133 w 7402822"/>
              <a:gd name="connsiteY4345" fmla="*/ 1223432 h 4749526"/>
              <a:gd name="connsiteX4346" fmla="*/ 1961133 w 7402822"/>
              <a:gd name="connsiteY4346" fmla="*/ 1229504 h 4749526"/>
              <a:gd name="connsiteX4347" fmla="*/ 1961133 w 7402822"/>
              <a:gd name="connsiteY4347" fmla="*/ 1235576 h 4749526"/>
              <a:gd name="connsiteX4348" fmla="*/ 1952025 w 7402822"/>
              <a:gd name="connsiteY4348" fmla="*/ 1232539 h 4749526"/>
              <a:gd name="connsiteX4349" fmla="*/ 1502725 w 7402822"/>
              <a:gd name="connsiteY4349" fmla="*/ 1196110 h 4749526"/>
              <a:gd name="connsiteX4350" fmla="*/ 1511832 w 7402822"/>
              <a:gd name="connsiteY4350" fmla="*/ 1196110 h 4749526"/>
              <a:gd name="connsiteX4351" fmla="*/ 1517904 w 7402822"/>
              <a:gd name="connsiteY4351" fmla="*/ 1202181 h 4749526"/>
              <a:gd name="connsiteX4352" fmla="*/ 1514868 w 7402822"/>
              <a:gd name="connsiteY4352" fmla="*/ 1205217 h 4749526"/>
              <a:gd name="connsiteX4353" fmla="*/ 1530047 w 7402822"/>
              <a:gd name="connsiteY4353" fmla="*/ 1208253 h 4749526"/>
              <a:gd name="connsiteX4354" fmla="*/ 1539154 w 7402822"/>
              <a:gd name="connsiteY4354" fmla="*/ 1223432 h 4749526"/>
              <a:gd name="connsiteX4355" fmla="*/ 1548262 w 7402822"/>
              <a:gd name="connsiteY4355" fmla="*/ 1247718 h 4749526"/>
              <a:gd name="connsiteX4356" fmla="*/ 1548262 w 7402822"/>
              <a:gd name="connsiteY4356" fmla="*/ 1268969 h 4749526"/>
              <a:gd name="connsiteX4357" fmla="*/ 1545226 w 7402822"/>
              <a:gd name="connsiteY4357" fmla="*/ 1268969 h 4749526"/>
              <a:gd name="connsiteX4358" fmla="*/ 1554334 w 7402822"/>
              <a:gd name="connsiteY4358" fmla="*/ 1275041 h 4749526"/>
              <a:gd name="connsiteX4359" fmla="*/ 1563441 w 7402822"/>
              <a:gd name="connsiteY4359" fmla="*/ 1287184 h 4749526"/>
              <a:gd name="connsiteX4360" fmla="*/ 1578620 w 7402822"/>
              <a:gd name="connsiteY4360" fmla="*/ 1311470 h 4749526"/>
              <a:gd name="connsiteX4361" fmla="*/ 1560406 w 7402822"/>
              <a:gd name="connsiteY4361" fmla="*/ 1329686 h 4749526"/>
              <a:gd name="connsiteX4362" fmla="*/ 1557369 w 7402822"/>
              <a:gd name="connsiteY4362" fmla="*/ 1335757 h 4749526"/>
              <a:gd name="connsiteX4363" fmla="*/ 1557369 w 7402822"/>
              <a:gd name="connsiteY4363" fmla="*/ 1341828 h 4749526"/>
              <a:gd name="connsiteX4364" fmla="*/ 1566477 w 7402822"/>
              <a:gd name="connsiteY4364" fmla="*/ 1347900 h 4749526"/>
              <a:gd name="connsiteX4365" fmla="*/ 1602906 w 7402822"/>
              <a:gd name="connsiteY4365" fmla="*/ 1353972 h 4749526"/>
              <a:gd name="connsiteX4366" fmla="*/ 1596834 w 7402822"/>
              <a:gd name="connsiteY4366" fmla="*/ 1357007 h 4749526"/>
              <a:gd name="connsiteX4367" fmla="*/ 1587727 w 7402822"/>
              <a:gd name="connsiteY4367" fmla="*/ 1366115 h 4749526"/>
              <a:gd name="connsiteX4368" fmla="*/ 1599871 w 7402822"/>
              <a:gd name="connsiteY4368" fmla="*/ 1390402 h 4749526"/>
              <a:gd name="connsiteX4369" fmla="*/ 1596834 w 7402822"/>
              <a:gd name="connsiteY4369" fmla="*/ 1390402 h 4749526"/>
              <a:gd name="connsiteX4370" fmla="*/ 1599871 w 7402822"/>
              <a:gd name="connsiteY4370" fmla="*/ 1408616 h 4749526"/>
              <a:gd name="connsiteX4371" fmla="*/ 1602906 w 7402822"/>
              <a:gd name="connsiteY4371" fmla="*/ 1420760 h 4749526"/>
              <a:gd name="connsiteX4372" fmla="*/ 1608978 w 7402822"/>
              <a:gd name="connsiteY4372" fmla="*/ 1417724 h 4749526"/>
              <a:gd name="connsiteX4373" fmla="*/ 1612014 w 7402822"/>
              <a:gd name="connsiteY4373" fmla="*/ 1408616 h 4749526"/>
              <a:gd name="connsiteX4374" fmla="*/ 1615050 w 7402822"/>
              <a:gd name="connsiteY4374" fmla="*/ 1390402 h 4749526"/>
              <a:gd name="connsiteX4375" fmla="*/ 1615050 w 7402822"/>
              <a:gd name="connsiteY4375" fmla="*/ 1381294 h 4749526"/>
              <a:gd name="connsiteX4376" fmla="*/ 1621121 w 7402822"/>
              <a:gd name="connsiteY4376" fmla="*/ 1369151 h 4749526"/>
              <a:gd name="connsiteX4377" fmla="*/ 1630229 w 7402822"/>
              <a:gd name="connsiteY4377" fmla="*/ 1366115 h 4749526"/>
              <a:gd name="connsiteX4378" fmla="*/ 1645408 w 7402822"/>
              <a:gd name="connsiteY4378" fmla="*/ 1384330 h 4749526"/>
              <a:gd name="connsiteX4379" fmla="*/ 1651479 w 7402822"/>
              <a:gd name="connsiteY4379" fmla="*/ 1396473 h 4749526"/>
              <a:gd name="connsiteX4380" fmla="*/ 1651479 w 7402822"/>
              <a:gd name="connsiteY4380" fmla="*/ 1423796 h 4749526"/>
              <a:gd name="connsiteX4381" fmla="*/ 1645408 w 7402822"/>
              <a:gd name="connsiteY4381" fmla="*/ 1426831 h 4749526"/>
              <a:gd name="connsiteX4382" fmla="*/ 1642372 w 7402822"/>
              <a:gd name="connsiteY4382" fmla="*/ 1442010 h 4749526"/>
              <a:gd name="connsiteX4383" fmla="*/ 1648444 w 7402822"/>
              <a:gd name="connsiteY4383" fmla="*/ 1454154 h 4749526"/>
              <a:gd name="connsiteX4384" fmla="*/ 1651479 w 7402822"/>
              <a:gd name="connsiteY4384" fmla="*/ 1460226 h 4749526"/>
              <a:gd name="connsiteX4385" fmla="*/ 1660587 w 7402822"/>
              <a:gd name="connsiteY4385" fmla="*/ 1469333 h 4749526"/>
              <a:gd name="connsiteX4386" fmla="*/ 1660587 w 7402822"/>
              <a:gd name="connsiteY4386" fmla="*/ 1478440 h 4749526"/>
              <a:gd name="connsiteX4387" fmla="*/ 1660587 w 7402822"/>
              <a:gd name="connsiteY4387" fmla="*/ 1484512 h 4749526"/>
              <a:gd name="connsiteX4388" fmla="*/ 1672730 w 7402822"/>
              <a:gd name="connsiteY4388" fmla="*/ 1478440 h 4749526"/>
              <a:gd name="connsiteX4389" fmla="*/ 1669694 w 7402822"/>
              <a:gd name="connsiteY4389" fmla="*/ 1472368 h 4749526"/>
              <a:gd name="connsiteX4390" fmla="*/ 1675766 w 7402822"/>
              <a:gd name="connsiteY4390" fmla="*/ 1469333 h 4749526"/>
              <a:gd name="connsiteX4391" fmla="*/ 1681838 w 7402822"/>
              <a:gd name="connsiteY4391" fmla="*/ 1472368 h 4749526"/>
              <a:gd name="connsiteX4392" fmla="*/ 1681838 w 7402822"/>
              <a:gd name="connsiteY4392" fmla="*/ 1469333 h 4749526"/>
              <a:gd name="connsiteX4393" fmla="*/ 1681838 w 7402822"/>
              <a:gd name="connsiteY4393" fmla="*/ 1463261 h 4749526"/>
              <a:gd name="connsiteX4394" fmla="*/ 1681838 w 7402822"/>
              <a:gd name="connsiteY4394" fmla="*/ 1454154 h 4749526"/>
              <a:gd name="connsiteX4395" fmla="*/ 1684874 w 7402822"/>
              <a:gd name="connsiteY4395" fmla="*/ 1448082 h 4749526"/>
              <a:gd name="connsiteX4396" fmla="*/ 1690945 w 7402822"/>
              <a:gd name="connsiteY4396" fmla="*/ 1429867 h 4749526"/>
              <a:gd name="connsiteX4397" fmla="*/ 1693981 w 7402822"/>
              <a:gd name="connsiteY4397" fmla="*/ 1414688 h 4749526"/>
              <a:gd name="connsiteX4398" fmla="*/ 1703088 w 7402822"/>
              <a:gd name="connsiteY4398" fmla="*/ 1396473 h 4749526"/>
              <a:gd name="connsiteX4399" fmla="*/ 1709160 w 7402822"/>
              <a:gd name="connsiteY4399" fmla="*/ 1396473 h 4749526"/>
              <a:gd name="connsiteX4400" fmla="*/ 1709160 w 7402822"/>
              <a:gd name="connsiteY4400" fmla="*/ 1384330 h 4749526"/>
              <a:gd name="connsiteX4401" fmla="*/ 1706123 w 7402822"/>
              <a:gd name="connsiteY4401" fmla="*/ 1372186 h 4749526"/>
              <a:gd name="connsiteX4402" fmla="*/ 1700053 w 7402822"/>
              <a:gd name="connsiteY4402" fmla="*/ 1357007 h 4749526"/>
              <a:gd name="connsiteX4403" fmla="*/ 1700053 w 7402822"/>
              <a:gd name="connsiteY4403" fmla="*/ 1331215 h 4749526"/>
              <a:gd name="connsiteX4404" fmla="*/ 1700054 w 7402822"/>
              <a:gd name="connsiteY4404" fmla="*/ 1331215 h 4749526"/>
              <a:gd name="connsiteX4405" fmla="*/ 1700054 w 7402822"/>
              <a:gd name="connsiteY4405" fmla="*/ 1329686 h 4749526"/>
              <a:gd name="connsiteX4406" fmla="*/ 1718268 w 7402822"/>
              <a:gd name="connsiteY4406" fmla="*/ 1329686 h 4749526"/>
              <a:gd name="connsiteX4407" fmla="*/ 1721787 w 7402822"/>
              <a:gd name="connsiteY4407" fmla="*/ 1330859 h 4749526"/>
              <a:gd name="connsiteX4408" fmla="*/ 1727374 w 7402822"/>
              <a:gd name="connsiteY4408" fmla="*/ 1332721 h 4749526"/>
              <a:gd name="connsiteX4409" fmla="*/ 1739518 w 7402822"/>
              <a:gd name="connsiteY4409" fmla="*/ 1338793 h 4749526"/>
              <a:gd name="connsiteX4410" fmla="*/ 1748625 w 7402822"/>
              <a:gd name="connsiteY4410" fmla="*/ 1341828 h 4749526"/>
              <a:gd name="connsiteX4411" fmla="*/ 1763804 w 7402822"/>
              <a:gd name="connsiteY4411" fmla="*/ 1350936 h 4749526"/>
              <a:gd name="connsiteX4412" fmla="*/ 1775947 w 7402822"/>
              <a:gd name="connsiteY4412" fmla="*/ 1363079 h 4749526"/>
              <a:gd name="connsiteX4413" fmla="*/ 1788091 w 7402822"/>
              <a:gd name="connsiteY4413" fmla="*/ 1369151 h 4749526"/>
              <a:gd name="connsiteX4414" fmla="*/ 1788091 w 7402822"/>
              <a:gd name="connsiteY4414" fmla="*/ 1396473 h 4749526"/>
              <a:gd name="connsiteX4415" fmla="*/ 1778984 w 7402822"/>
              <a:gd name="connsiteY4415" fmla="*/ 1411652 h 4749526"/>
              <a:gd name="connsiteX4416" fmla="*/ 1772912 w 7402822"/>
              <a:gd name="connsiteY4416" fmla="*/ 1414688 h 4749526"/>
              <a:gd name="connsiteX4417" fmla="*/ 1769876 w 7402822"/>
              <a:gd name="connsiteY4417" fmla="*/ 1408616 h 4749526"/>
              <a:gd name="connsiteX4418" fmla="*/ 1763804 w 7402822"/>
              <a:gd name="connsiteY4418" fmla="*/ 1411652 h 4749526"/>
              <a:gd name="connsiteX4419" fmla="*/ 1760768 w 7402822"/>
              <a:gd name="connsiteY4419" fmla="*/ 1414688 h 4749526"/>
              <a:gd name="connsiteX4420" fmla="*/ 1769876 w 7402822"/>
              <a:gd name="connsiteY4420" fmla="*/ 1438975 h 4749526"/>
              <a:gd name="connsiteX4421" fmla="*/ 1778984 w 7402822"/>
              <a:gd name="connsiteY4421" fmla="*/ 1451117 h 4749526"/>
              <a:gd name="connsiteX4422" fmla="*/ 1788091 w 7402822"/>
              <a:gd name="connsiteY4422" fmla="*/ 1466296 h 4749526"/>
              <a:gd name="connsiteX4423" fmla="*/ 1788091 w 7402822"/>
              <a:gd name="connsiteY4423" fmla="*/ 1478440 h 4749526"/>
              <a:gd name="connsiteX4424" fmla="*/ 1785055 w 7402822"/>
              <a:gd name="connsiteY4424" fmla="*/ 1490584 h 4749526"/>
              <a:gd name="connsiteX4425" fmla="*/ 1775947 w 7402822"/>
              <a:gd name="connsiteY4425" fmla="*/ 1493619 h 4749526"/>
              <a:gd name="connsiteX4426" fmla="*/ 1769876 w 7402822"/>
              <a:gd name="connsiteY4426" fmla="*/ 1502726 h 4749526"/>
              <a:gd name="connsiteX4427" fmla="*/ 1766840 w 7402822"/>
              <a:gd name="connsiteY4427" fmla="*/ 1505762 h 4749526"/>
              <a:gd name="connsiteX4428" fmla="*/ 1751661 w 7402822"/>
              <a:gd name="connsiteY4428" fmla="*/ 1517906 h 4749526"/>
              <a:gd name="connsiteX4429" fmla="*/ 1739518 w 7402822"/>
              <a:gd name="connsiteY4429" fmla="*/ 1520941 h 4749526"/>
              <a:gd name="connsiteX4430" fmla="*/ 1739518 w 7402822"/>
              <a:gd name="connsiteY4430" fmla="*/ 1533085 h 4749526"/>
              <a:gd name="connsiteX4431" fmla="*/ 1733446 w 7402822"/>
              <a:gd name="connsiteY4431" fmla="*/ 1533085 h 4749526"/>
              <a:gd name="connsiteX4432" fmla="*/ 1721303 w 7402822"/>
              <a:gd name="connsiteY4432" fmla="*/ 1527013 h 4749526"/>
              <a:gd name="connsiteX4433" fmla="*/ 1721303 w 7402822"/>
              <a:gd name="connsiteY4433" fmla="*/ 1530049 h 4749526"/>
              <a:gd name="connsiteX4434" fmla="*/ 1706123 w 7402822"/>
              <a:gd name="connsiteY4434" fmla="*/ 1523977 h 4749526"/>
              <a:gd name="connsiteX4435" fmla="*/ 1703088 w 7402822"/>
              <a:gd name="connsiteY4435" fmla="*/ 1517906 h 4749526"/>
              <a:gd name="connsiteX4436" fmla="*/ 1693981 w 7402822"/>
              <a:gd name="connsiteY4436" fmla="*/ 1514870 h 4749526"/>
              <a:gd name="connsiteX4437" fmla="*/ 1681838 w 7402822"/>
              <a:gd name="connsiteY4437" fmla="*/ 1514870 h 4749526"/>
              <a:gd name="connsiteX4438" fmla="*/ 1675766 w 7402822"/>
              <a:gd name="connsiteY4438" fmla="*/ 1517906 h 4749526"/>
              <a:gd name="connsiteX4439" fmla="*/ 1678802 w 7402822"/>
              <a:gd name="connsiteY4439" fmla="*/ 1527013 h 4749526"/>
              <a:gd name="connsiteX4440" fmla="*/ 1687909 w 7402822"/>
              <a:gd name="connsiteY4440" fmla="*/ 1530049 h 4749526"/>
              <a:gd name="connsiteX4441" fmla="*/ 1693981 w 7402822"/>
              <a:gd name="connsiteY4441" fmla="*/ 1533085 h 4749526"/>
              <a:gd name="connsiteX4442" fmla="*/ 1690945 w 7402822"/>
              <a:gd name="connsiteY4442" fmla="*/ 1542192 h 4749526"/>
              <a:gd name="connsiteX4443" fmla="*/ 1684874 w 7402822"/>
              <a:gd name="connsiteY4443" fmla="*/ 1548264 h 4749526"/>
              <a:gd name="connsiteX4444" fmla="*/ 1678802 w 7402822"/>
              <a:gd name="connsiteY4444" fmla="*/ 1557371 h 4749526"/>
              <a:gd name="connsiteX4445" fmla="*/ 1672730 w 7402822"/>
              <a:gd name="connsiteY4445" fmla="*/ 1566478 h 4749526"/>
              <a:gd name="connsiteX4446" fmla="*/ 1666658 w 7402822"/>
              <a:gd name="connsiteY4446" fmla="*/ 1572550 h 4749526"/>
              <a:gd name="connsiteX4447" fmla="*/ 1666658 w 7402822"/>
              <a:gd name="connsiteY4447" fmla="*/ 1578622 h 4749526"/>
              <a:gd name="connsiteX4448" fmla="*/ 1669694 w 7402822"/>
              <a:gd name="connsiteY4448" fmla="*/ 1590765 h 4749526"/>
              <a:gd name="connsiteX4449" fmla="*/ 1660587 w 7402822"/>
              <a:gd name="connsiteY4449" fmla="*/ 1612015 h 4749526"/>
              <a:gd name="connsiteX4450" fmla="*/ 1654515 w 7402822"/>
              <a:gd name="connsiteY4450" fmla="*/ 1624159 h 4749526"/>
              <a:gd name="connsiteX4451" fmla="*/ 1651479 w 7402822"/>
              <a:gd name="connsiteY4451" fmla="*/ 1630231 h 4749526"/>
              <a:gd name="connsiteX4452" fmla="*/ 1636300 w 7402822"/>
              <a:gd name="connsiteY4452" fmla="*/ 1642374 h 4749526"/>
              <a:gd name="connsiteX4453" fmla="*/ 1624157 w 7402822"/>
              <a:gd name="connsiteY4453" fmla="*/ 1639338 h 4749526"/>
              <a:gd name="connsiteX4454" fmla="*/ 1618085 w 7402822"/>
              <a:gd name="connsiteY4454" fmla="*/ 1636302 h 4749526"/>
              <a:gd name="connsiteX4455" fmla="*/ 1612014 w 7402822"/>
              <a:gd name="connsiteY4455" fmla="*/ 1645409 h 4749526"/>
              <a:gd name="connsiteX4456" fmla="*/ 1608978 w 7402822"/>
              <a:gd name="connsiteY4456" fmla="*/ 1651481 h 4749526"/>
              <a:gd name="connsiteX4457" fmla="*/ 1602906 w 7402822"/>
              <a:gd name="connsiteY4457" fmla="*/ 1657553 h 4749526"/>
              <a:gd name="connsiteX4458" fmla="*/ 1596834 w 7402822"/>
              <a:gd name="connsiteY4458" fmla="*/ 1666660 h 4749526"/>
              <a:gd name="connsiteX4459" fmla="*/ 1593799 w 7402822"/>
              <a:gd name="connsiteY4459" fmla="*/ 1678804 h 4749526"/>
              <a:gd name="connsiteX4460" fmla="*/ 1593799 w 7402822"/>
              <a:gd name="connsiteY4460" fmla="*/ 1687911 h 4749526"/>
              <a:gd name="connsiteX4461" fmla="*/ 1587727 w 7402822"/>
              <a:gd name="connsiteY4461" fmla="*/ 1690946 h 4749526"/>
              <a:gd name="connsiteX4462" fmla="*/ 1575584 w 7402822"/>
              <a:gd name="connsiteY4462" fmla="*/ 1693983 h 4749526"/>
              <a:gd name="connsiteX4463" fmla="*/ 1560406 w 7402822"/>
              <a:gd name="connsiteY4463" fmla="*/ 1693983 h 4749526"/>
              <a:gd name="connsiteX4464" fmla="*/ 1554334 w 7402822"/>
              <a:gd name="connsiteY4464" fmla="*/ 1703090 h 4749526"/>
              <a:gd name="connsiteX4465" fmla="*/ 1551298 w 7402822"/>
              <a:gd name="connsiteY4465" fmla="*/ 1715233 h 4749526"/>
              <a:gd name="connsiteX4466" fmla="*/ 1551298 w 7402822"/>
              <a:gd name="connsiteY4466" fmla="*/ 1724341 h 4749526"/>
              <a:gd name="connsiteX4467" fmla="*/ 1542190 w 7402822"/>
              <a:gd name="connsiteY4467" fmla="*/ 1733448 h 4749526"/>
              <a:gd name="connsiteX4468" fmla="*/ 1533083 w 7402822"/>
              <a:gd name="connsiteY4468" fmla="*/ 1748627 h 4749526"/>
              <a:gd name="connsiteX4469" fmla="*/ 1527011 w 7402822"/>
              <a:gd name="connsiteY4469" fmla="*/ 1754699 h 4749526"/>
              <a:gd name="connsiteX4470" fmla="*/ 1527011 w 7402822"/>
              <a:gd name="connsiteY4470" fmla="*/ 1757735 h 4749526"/>
              <a:gd name="connsiteX4471" fmla="*/ 1523976 w 7402822"/>
              <a:gd name="connsiteY4471" fmla="*/ 1760770 h 4749526"/>
              <a:gd name="connsiteX4472" fmla="*/ 1517904 w 7402822"/>
              <a:gd name="connsiteY4472" fmla="*/ 1782021 h 4749526"/>
              <a:gd name="connsiteX4473" fmla="*/ 1511832 w 7402822"/>
              <a:gd name="connsiteY4473" fmla="*/ 1797200 h 4749526"/>
              <a:gd name="connsiteX4474" fmla="*/ 1514868 w 7402822"/>
              <a:gd name="connsiteY4474" fmla="*/ 1800235 h 4749526"/>
              <a:gd name="connsiteX4475" fmla="*/ 1511832 w 7402822"/>
              <a:gd name="connsiteY4475" fmla="*/ 1812379 h 4749526"/>
              <a:gd name="connsiteX4476" fmla="*/ 1508796 w 7402822"/>
              <a:gd name="connsiteY4476" fmla="*/ 1824523 h 4749526"/>
              <a:gd name="connsiteX4477" fmla="*/ 1511832 w 7402822"/>
              <a:gd name="connsiteY4477" fmla="*/ 1845773 h 4749526"/>
              <a:gd name="connsiteX4478" fmla="*/ 1508796 w 7402822"/>
              <a:gd name="connsiteY4478" fmla="*/ 1854880 h 4749526"/>
              <a:gd name="connsiteX4479" fmla="*/ 1517904 w 7402822"/>
              <a:gd name="connsiteY4479" fmla="*/ 1860952 h 4749526"/>
              <a:gd name="connsiteX4480" fmla="*/ 1520940 w 7402822"/>
              <a:gd name="connsiteY4480" fmla="*/ 1867024 h 4749526"/>
              <a:gd name="connsiteX4481" fmla="*/ 1530047 w 7402822"/>
              <a:gd name="connsiteY4481" fmla="*/ 1863988 h 4749526"/>
              <a:gd name="connsiteX4482" fmla="*/ 1542190 w 7402822"/>
              <a:gd name="connsiteY4482" fmla="*/ 1867024 h 4749526"/>
              <a:gd name="connsiteX4483" fmla="*/ 1545226 w 7402822"/>
              <a:gd name="connsiteY4483" fmla="*/ 1879167 h 4749526"/>
              <a:gd name="connsiteX4484" fmla="*/ 1551298 w 7402822"/>
              <a:gd name="connsiteY4484" fmla="*/ 1900417 h 4749526"/>
              <a:gd name="connsiteX4485" fmla="*/ 1554334 w 7402822"/>
              <a:gd name="connsiteY4485" fmla="*/ 1909525 h 4749526"/>
              <a:gd name="connsiteX4486" fmla="*/ 1557369 w 7402822"/>
              <a:gd name="connsiteY4486" fmla="*/ 1915596 h 4749526"/>
              <a:gd name="connsiteX4487" fmla="*/ 1560406 w 7402822"/>
              <a:gd name="connsiteY4487" fmla="*/ 1921668 h 4749526"/>
              <a:gd name="connsiteX4488" fmla="*/ 1563441 w 7402822"/>
              <a:gd name="connsiteY4488" fmla="*/ 1927740 h 4749526"/>
              <a:gd name="connsiteX4489" fmla="*/ 1566477 w 7402822"/>
              <a:gd name="connsiteY4489" fmla="*/ 1930775 h 4749526"/>
              <a:gd name="connsiteX4490" fmla="*/ 1593799 w 7402822"/>
              <a:gd name="connsiteY4490" fmla="*/ 1924704 h 4749526"/>
              <a:gd name="connsiteX4491" fmla="*/ 1615050 w 7402822"/>
              <a:gd name="connsiteY4491" fmla="*/ 1936847 h 4749526"/>
              <a:gd name="connsiteX4492" fmla="*/ 1630229 w 7402822"/>
              <a:gd name="connsiteY4492" fmla="*/ 1939883 h 4749526"/>
              <a:gd name="connsiteX4493" fmla="*/ 1642372 w 7402822"/>
              <a:gd name="connsiteY4493" fmla="*/ 1948991 h 4749526"/>
              <a:gd name="connsiteX4494" fmla="*/ 1651479 w 7402822"/>
              <a:gd name="connsiteY4494" fmla="*/ 1955062 h 4749526"/>
              <a:gd name="connsiteX4495" fmla="*/ 1660587 w 7402822"/>
              <a:gd name="connsiteY4495" fmla="*/ 1970241 h 4749526"/>
              <a:gd name="connsiteX4496" fmla="*/ 1681838 w 7402822"/>
              <a:gd name="connsiteY4496" fmla="*/ 1979348 h 4749526"/>
              <a:gd name="connsiteX4497" fmla="*/ 1697016 w 7402822"/>
              <a:gd name="connsiteY4497" fmla="*/ 1985420 h 4749526"/>
              <a:gd name="connsiteX4498" fmla="*/ 1706123 w 7402822"/>
              <a:gd name="connsiteY4498" fmla="*/ 1994527 h 4749526"/>
              <a:gd name="connsiteX4499" fmla="*/ 1730410 w 7402822"/>
              <a:gd name="connsiteY4499" fmla="*/ 1997564 h 4749526"/>
              <a:gd name="connsiteX4500" fmla="*/ 1742554 w 7402822"/>
              <a:gd name="connsiteY4500" fmla="*/ 1997564 h 4749526"/>
              <a:gd name="connsiteX4501" fmla="*/ 1751661 w 7402822"/>
              <a:gd name="connsiteY4501" fmla="*/ 1997564 h 4749526"/>
              <a:gd name="connsiteX4502" fmla="*/ 1754697 w 7402822"/>
              <a:gd name="connsiteY4502" fmla="*/ 2000599 h 4749526"/>
              <a:gd name="connsiteX4503" fmla="*/ 1763804 w 7402822"/>
              <a:gd name="connsiteY4503" fmla="*/ 2003636 h 4749526"/>
              <a:gd name="connsiteX4504" fmla="*/ 1769876 w 7402822"/>
              <a:gd name="connsiteY4504" fmla="*/ 2009706 h 4749526"/>
              <a:gd name="connsiteX4505" fmla="*/ 1769876 w 7402822"/>
              <a:gd name="connsiteY4505" fmla="*/ 2018815 h 4749526"/>
              <a:gd name="connsiteX4506" fmla="*/ 1769876 w 7402822"/>
              <a:gd name="connsiteY4506" fmla="*/ 2040065 h 4749526"/>
              <a:gd name="connsiteX4507" fmla="*/ 1769876 w 7402822"/>
              <a:gd name="connsiteY4507" fmla="*/ 2049172 h 4749526"/>
              <a:gd name="connsiteX4508" fmla="*/ 1772912 w 7402822"/>
              <a:gd name="connsiteY4508" fmla="*/ 2058280 h 4749526"/>
              <a:gd name="connsiteX4509" fmla="*/ 1772912 w 7402822"/>
              <a:gd name="connsiteY4509" fmla="*/ 2067387 h 4749526"/>
              <a:gd name="connsiteX4510" fmla="*/ 1769876 w 7402822"/>
              <a:gd name="connsiteY4510" fmla="*/ 2070423 h 4749526"/>
              <a:gd name="connsiteX4511" fmla="*/ 1769876 w 7402822"/>
              <a:gd name="connsiteY4511" fmla="*/ 2079530 h 4749526"/>
              <a:gd name="connsiteX4512" fmla="*/ 1775947 w 7402822"/>
              <a:gd name="connsiteY4512" fmla="*/ 2088638 h 4749526"/>
              <a:gd name="connsiteX4513" fmla="*/ 1782019 w 7402822"/>
              <a:gd name="connsiteY4513" fmla="*/ 2094709 h 4749526"/>
              <a:gd name="connsiteX4514" fmla="*/ 1785055 w 7402822"/>
              <a:gd name="connsiteY4514" fmla="*/ 2097745 h 4749526"/>
              <a:gd name="connsiteX4515" fmla="*/ 1785055 w 7402822"/>
              <a:gd name="connsiteY4515" fmla="*/ 2103817 h 4749526"/>
              <a:gd name="connsiteX4516" fmla="*/ 1791126 w 7402822"/>
              <a:gd name="connsiteY4516" fmla="*/ 2109888 h 4749526"/>
              <a:gd name="connsiteX4517" fmla="*/ 1800233 w 7402822"/>
              <a:gd name="connsiteY4517" fmla="*/ 2118995 h 4749526"/>
              <a:gd name="connsiteX4518" fmla="*/ 1803270 w 7402822"/>
              <a:gd name="connsiteY4518" fmla="*/ 2125067 h 4749526"/>
              <a:gd name="connsiteX4519" fmla="*/ 1812377 w 7402822"/>
              <a:gd name="connsiteY4519" fmla="*/ 2134174 h 4749526"/>
              <a:gd name="connsiteX4520" fmla="*/ 1818449 w 7402822"/>
              <a:gd name="connsiteY4520" fmla="*/ 2137211 h 4749526"/>
              <a:gd name="connsiteX4521" fmla="*/ 1824521 w 7402822"/>
              <a:gd name="connsiteY4521" fmla="*/ 2146318 h 4749526"/>
              <a:gd name="connsiteX4522" fmla="*/ 1824521 w 7402822"/>
              <a:gd name="connsiteY4522" fmla="*/ 2131139 h 4749526"/>
              <a:gd name="connsiteX4523" fmla="*/ 1824521 w 7402822"/>
              <a:gd name="connsiteY4523" fmla="*/ 2128104 h 4749526"/>
              <a:gd name="connsiteX4524" fmla="*/ 1827556 w 7402822"/>
              <a:gd name="connsiteY4524" fmla="*/ 2122032 h 4749526"/>
              <a:gd name="connsiteX4525" fmla="*/ 1833628 w 7402822"/>
              <a:gd name="connsiteY4525" fmla="*/ 2128104 h 4749526"/>
              <a:gd name="connsiteX4526" fmla="*/ 1839700 w 7402822"/>
              <a:gd name="connsiteY4526" fmla="*/ 2140246 h 4749526"/>
              <a:gd name="connsiteX4527" fmla="*/ 1842735 w 7402822"/>
              <a:gd name="connsiteY4527" fmla="*/ 2128104 h 4749526"/>
              <a:gd name="connsiteX4528" fmla="*/ 1839700 w 7402822"/>
              <a:gd name="connsiteY4528" fmla="*/ 2122032 h 4749526"/>
              <a:gd name="connsiteX4529" fmla="*/ 1836664 w 7402822"/>
              <a:gd name="connsiteY4529" fmla="*/ 2115960 h 4749526"/>
              <a:gd name="connsiteX4530" fmla="*/ 1848807 w 7402822"/>
              <a:gd name="connsiteY4530" fmla="*/ 2103817 h 4749526"/>
              <a:gd name="connsiteX4531" fmla="*/ 1839700 w 7402822"/>
              <a:gd name="connsiteY4531" fmla="*/ 2085602 h 4749526"/>
              <a:gd name="connsiteX4532" fmla="*/ 1836664 w 7402822"/>
              <a:gd name="connsiteY4532" fmla="*/ 2061315 h 4749526"/>
              <a:gd name="connsiteX4533" fmla="*/ 1827556 w 7402822"/>
              <a:gd name="connsiteY4533" fmla="*/ 2037029 h 4749526"/>
              <a:gd name="connsiteX4534" fmla="*/ 1824521 w 7402822"/>
              <a:gd name="connsiteY4534" fmla="*/ 2030957 h 4749526"/>
              <a:gd name="connsiteX4535" fmla="*/ 1821484 w 7402822"/>
              <a:gd name="connsiteY4535" fmla="*/ 2018815 h 4749526"/>
              <a:gd name="connsiteX4536" fmla="*/ 1833628 w 7402822"/>
              <a:gd name="connsiteY4536" fmla="*/ 2012743 h 4749526"/>
              <a:gd name="connsiteX4537" fmla="*/ 1845771 w 7402822"/>
              <a:gd name="connsiteY4537" fmla="*/ 2006671 h 4749526"/>
              <a:gd name="connsiteX4538" fmla="*/ 1857914 w 7402822"/>
              <a:gd name="connsiteY4538" fmla="*/ 2000599 h 4749526"/>
              <a:gd name="connsiteX4539" fmla="*/ 1870057 w 7402822"/>
              <a:gd name="connsiteY4539" fmla="*/ 1988456 h 4749526"/>
              <a:gd name="connsiteX4540" fmla="*/ 1879165 w 7402822"/>
              <a:gd name="connsiteY4540" fmla="*/ 1979348 h 4749526"/>
              <a:gd name="connsiteX4541" fmla="*/ 1885236 w 7402822"/>
              <a:gd name="connsiteY4541" fmla="*/ 1970241 h 4749526"/>
              <a:gd name="connsiteX4542" fmla="*/ 1885236 w 7402822"/>
              <a:gd name="connsiteY4542" fmla="*/ 1964170 h 4749526"/>
              <a:gd name="connsiteX4543" fmla="*/ 1888273 w 7402822"/>
              <a:gd name="connsiteY4543" fmla="*/ 1961134 h 4749526"/>
              <a:gd name="connsiteX4544" fmla="*/ 1888273 w 7402822"/>
              <a:gd name="connsiteY4544" fmla="*/ 1952026 h 4749526"/>
              <a:gd name="connsiteX4545" fmla="*/ 1888273 w 7402822"/>
              <a:gd name="connsiteY4545" fmla="*/ 1939883 h 4749526"/>
              <a:gd name="connsiteX4546" fmla="*/ 1888273 w 7402822"/>
              <a:gd name="connsiteY4546" fmla="*/ 1930775 h 4749526"/>
              <a:gd name="connsiteX4547" fmla="*/ 1885236 w 7402822"/>
              <a:gd name="connsiteY4547" fmla="*/ 1915596 h 4749526"/>
              <a:gd name="connsiteX4548" fmla="*/ 1876129 w 7402822"/>
              <a:gd name="connsiteY4548" fmla="*/ 1897382 h 4749526"/>
              <a:gd name="connsiteX4549" fmla="*/ 1867022 w 7402822"/>
              <a:gd name="connsiteY4549" fmla="*/ 1888275 h 4749526"/>
              <a:gd name="connsiteX4550" fmla="*/ 1857914 w 7402822"/>
              <a:gd name="connsiteY4550" fmla="*/ 1882203 h 4749526"/>
              <a:gd name="connsiteX4551" fmla="*/ 1848807 w 7402822"/>
              <a:gd name="connsiteY4551" fmla="*/ 1876131 h 4749526"/>
              <a:gd name="connsiteX4552" fmla="*/ 1845771 w 7402822"/>
              <a:gd name="connsiteY4552" fmla="*/ 1870059 h 4749526"/>
              <a:gd name="connsiteX4553" fmla="*/ 1845771 w 7402822"/>
              <a:gd name="connsiteY4553" fmla="*/ 1860952 h 4749526"/>
              <a:gd name="connsiteX4554" fmla="*/ 1848807 w 7402822"/>
              <a:gd name="connsiteY4554" fmla="*/ 1857916 h 4749526"/>
              <a:gd name="connsiteX4555" fmla="*/ 1851843 w 7402822"/>
              <a:gd name="connsiteY4555" fmla="*/ 1851845 h 4749526"/>
              <a:gd name="connsiteX4556" fmla="*/ 1860950 w 7402822"/>
              <a:gd name="connsiteY4556" fmla="*/ 1830594 h 4749526"/>
              <a:gd name="connsiteX4557" fmla="*/ 1867022 w 7402822"/>
              <a:gd name="connsiteY4557" fmla="*/ 1827558 h 4749526"/>
              <a:gd name="connsiteX4558" fmla="*/ 1870057 w 7402822"/>
              <a:gd name="connsiteY4558" fmla="*/ 1824523 h 4749526"/>
              <a:gd name="connsiteX4559" fmla="*/ 1873094 w 7402822"/>
              <a:gd name="connsiteY4559" fmla="*/ 1815415 h 4749526"/>
              <a:gd name="connsiteX4560" fmla="*/ 1863986 w 7402822"/>
              <a:gd name="connsiteY4560" fmla="*/ 1809344 h 4749526"/>
              <a:gd name="connsiteX4561" fmla="*/ 1857914 w 7402822"/>
              <a:gd name="connsiteY4561" fmla="*/ 1782021 h 4749526"/>
              <a:gd name="connsiteX4562" fmla="*/ 1851843 w 7402822"/>
              <a:gd name="connsiteY4562" fmla="*/ 1782021 h 4749526"/>
              <a:gd name="connsiteX4563" fmla="*/ 1854878 w 7402822"/>
              <a:gd name="connsiteY4563" fmla="*/ 1775949 h 4749526"/>
              <a:gd name="connsiteX4564" fmla="*/ 1860950 w 7402822"/>
              <a:gd name="connsiteY4564" fmla="*/ 1769877 h 4749526"/>
              <a:gd name="connsiteX4565" fmla="*/ 1860950 w 7402822"/>
              <a:gd name="connsiteY4565" fmla="*/ 1757735 h 4749526"/>
              <a:gd name="connsiteX4566" fmla="*/ 1860950 w 7402822"/>
              <a:gd name="connsiteY4566" fmla="*/ 1745591 h 4749526"/>
              <a:gd name="connsiteX4567" fmla="*/ 1857914 w 7402822"/>
              <a:gd name="connsiteY4567" fmla="*/ 1742556 h 4749526"/>
              <a:gd name="connsiteX4568" fmla="*/ 1851843 w 7402822"/>
              <a:gd name="connsiteY4568" fmla="*/ 1721305 h 4749526"/>
              <a:gd name="connsiteX4569" fmla="*/ 1860950 w 7402822"/>
              <a:gd name="connsiteY4569" fmla="*/ 1709162 h 4749526"/>
              <a:gd name="connsiteX4570" fmla="*/ 1867022 w 7402822"/>
              <a:gd name="connsiteY4570" fmla="*/ 1706125 h 4749526"/>
              <a:gd name="connsiteX4571" fmla="*/ 1873094 w 7402822"/>
              <a:gd name="connsiteY4571" fmla="*/ 1706125 h 4749526"/>
              <a:gd name="connsiteX4572" fmla="*/ 1885236 w 7402822"/>
              <a:gd name="connsiteY4572" fmla="*/ 1709162 h 4749526"/>
              <a:gd name="connsiteX4573" fmla="*/ 1894344 w 7402822"/>
              <a:gd name="connsiteY4573" fmla="*/ 1712197 h 4749526"/>
              <a:gd name="connsiteX4574" fmla="*/ 1900415 w 7402822"/>
              <a:gd name="connsiteY4574" fmla="*/ 1715233 h 4749526"/>
              <a:gd name="connsiteX4575" fmla="*/ 1900415 w 7402822"/>
              <a:gd name="connsiteY4575" fmla="*/ 1724341 h 4749526"/>
              <a:gd name="connsiteX4576" fmla="*/ 1918631 w 7402822"/>
              <a:gd name="connsiteY4576" fmla="*/ 1718269 h 4749526"/>
              <a:gd name="connsiteX4577" fmla="*/ 1936845 w 7402822"/>
              <a:gd name="connsiteY4577" fmla="*/ 1715233 h 4749526"/>
              <a:gd name="connsiteX4578" fmla="*/ 1945953 w 7402822"/>
              <a:gd name="connsiteY4578" fmla="*/ 1709162 h 4749526"/>
              <a:gd name="connsiteX4579" fmla="*/ 1952024 w 7402822"/>
              <a:gd name="connsiteY4579" fmla="*/ 1715233 h 4749526"/>
              <a:gd name="connsiteX4580" fmla="*/ 1967204 w 7402822"/>
              <a:gd name="connsiteY4580" fmla="*/ 1724341 h 4749526"/>
              <a:gd name="connsiteX4581" fmla="*/ 1967204 w 7402822"/>
              <a:gd name="connsiteY4581" fmla="*/ 1733448 h 4749526"/>
              <a:gd name="connsiteX4582" fmla="*/ 1976311 w 7402822"/>
              <a:gd name="connsiteY4582" fmla="*/ 1736484 h 4749526"/>
              <a:gd name="connsiteX4583" fmla="*/ 1979346 w 7402822"/>
              <a:gd name="connsiteY4583" fmla="*/ 1742556 h 4749526"/>
              <a:gd name="connsiteX4584" fmla="*/ 1982383 w 7402822"/>
              <a:gd name="connsiteY4584" fmla="*/ 1742556 h 4749526"/>
              <a:gd name="connsiteX4585" fmla="*/ 1988454 w 7402822"/>
              <a:gd name="connsiteY4585" fmla="*/ 1748627 h 4749526"/>
              <a:gd name="connsiteX4586" fmla="*/ 1982383 w 7402822"/>
              <a:gd name="connsiteY4586" fmla="*/ 1754699 h 4749526"/>
              <a:gd name="connsiteX4587" fmla="*/ 1994525 w 7402822"/>
              <a:gd name="connsiteY4587" fmla="*/ 1766842 h 4749526"/>
              <a:gd name="connsiteX4588" fmla="*/ 2006669 w 7402822"/>
              <a:gd name="connsiteY4588" fmla="*/ 1769877 h 4749526"/>
              <a:gd name="connsiteX4589" fmla="*/ 2021848 w 7402822"/>
              <a:gd name="connsiteY4589" fmla="*/ 1775949 h 4749526"/>
              <a:gd name="connsiteX4590" fmla="*/ 2027920 w 7402822"/>
              <a:gd name="connsiteY4590" fmla="*/ 1775949 h 4749526"/>
              <a:gd name="connsiteX4591" fmla="*/ 2033991 w 7402822"/>
              <a:gd name="connsiteY4591" fmla="*/ 1782021 h 4749526"/>
              <a:gd name="connsiteX4592" fmla="*/ 2027920 w 7402822"/>
              <a:gd name="connsiteY4592" fmla="*/ 1800235 h 4749526"/>
              <a:gd name="connsiteX4593" fmla="*/ 2024883 w 7402822"/>
              <a:gd name="connsiteY4593" fmla="*/ 1818451 h 4749526"/>
              <a:gd name="connsiteX4594" fmla="*/ 2027920 w 7402822"/>
              <a:gd name="connsiteY4594" fmla="*/ 1836665 h 4749526"/>
              <a:gd name="connsiteX4595" fmla="*/ 2030955 w 7402822"/>
              <a:gd name="connsiteY4595" fmla="*/ 1854880 h 4749526"/>
              <a:gd name="connsiteX4596" fmla="*/ 2030955 w 7402822"/>
              <a:gd name="connsiteY4596" fmla="*/ 1860952 h 4749526"/>
              <a:gd name="connsiteX4597" fmla="*/ 2037027 w 7402822"/>
              <a:gd name="connsiteY4597" fmla="*/ 1860952 h 4749526"/>
              <a:gd name="connsiteX4598" fmla="*/ 2046134 w 7402822"/>
              <a:gd name="connsiteY4598" fmla="*/ 1860952 h 4749526"/>
              <a:gd name="connsiteX4599" fmla="*/ 2055242 w 7402822"/>
              <a:gd name="connsiteY4599" fmla="*/ 1863988 h 4749526"/>
              <a:gd name="connsiteX4600" fmla="*/ 2061313 w 7402822"/>
              <a:gd name="connsiteY4600" fmla="*/ 1876131 h 4749526"/>
              <a:gd name="connsiteX4601" fmla="*/ 2070421 w 7402822"/>
              <a:gd name="connsiteY4601" fmla="*/ 1879167 h 4749526"/>
              <a:gd name="connsiteX4602" fmla="*/ 2073457 w 7402822"/>
              <a:gd name="connsiteY4602" fmla="*/ 1885238 h 4749526"/>
              <a:gd name="connsiteX4603" fmla="*/ 2082564 w 7402822"/>
              <a:gd name="connsiteY4603" fmla="*/ 1879167 h 4749526"/>
              <a:gd name="connsiteX4604" fmla="*/ 2088636 w 7402822"/>
              <a:gd name="connsiteY4604" fmla="*/ 1876131 h 4749526"/>
              <a:gd name="connsiteX4605" fmla="*/ 2091672 w 7402822"/>
              <a:gd name="connsiteY4605" fmla="*/ 1867024 h 4749526"/>
              <a:gd name="connsiteX4606" fmla="*/ 2097743 w 7402822"/>
              <a:gd name="connsiteY4606" fmla="*/ 1863988 h 4749526"/>
              <a:gd name="connsiteX4607" fmla="*/ 2103814 w 7402822"/>
              <a:gd name="connsiteY4607" fmla="*/ 1870059 h 4749526"/>
              <a:gd name="connsiteX4608" fmla="*/ 2106851 w 7402822"/>
              <a:gd name="connsiteY4608" fmla="*/ 1863988 h 4749526"/>
              <a:gd name="connsiteX4609" fmla="*/ 2109886 w 7402822"/>
              <a:gd name="connsiteY4609" fmla="*/ 1857916 h 4749526"/>
              <a:gd name="connsiteX4610" fmla="*/ 2112923 w 7402822"/>
              <a:gd name="connsiteY4610" fmla="*/ 1842737 h 4749526"/>
              <a:gd name="connsiteX4611" fmla="*/ 2115958 w 7402822"/>
              <a:gd name="connsiteY4611" fmla="*/ 1824523 h 4749526"/>
              <a:gd name="connsiteX4612" fmla="*/ 2122030 w 7402822"/>
              <a:gd name="connsiteY4612" fmla="*/ 1815415 h 4749526"/>
              <a:gd name="connsiteX4613" fmla="*/ 2128102 w 7402822"/>
              <a:gd name="connsiteY4613" fmla="*/ 1800235 h 4749526"/>
              <a:gd name="connsiteX4614" fmla="*/ 2131137 w 7402822"/>
              <a:gd name="connsiteY4614" fmla="*/ 1803272 h 4749526"/>
              <a:gd name="connsiteX4615" fmla="*/ 2128102 w 7402822"/>
              <a:gd name="connsiteY4615" fmla="*/ 1815415 h 4749526"/>
              <a:gd name="connsiteX4616" fmla="*/ 2137209 w 7402822"/>
              <a:gd name="connsiteY4616" fmla="*/ 1815415 h 4749526"/>
              <a:gd name="connsiteX4617" fmla="*/ 2143280 w 7402822"/>
              <a:gd name="connsiteY4617" fmla="*/ 1815415 h 4749526"/>
              <a:gd name="connsiteX4618" fmla="*/ 2143280 w 7402822"/>
              <a:gd name="connsiteY4618" fmla="*/ 1824523 h 4749526"/>
              <a:gd name="connsiteX4619" fmla="*/ 2146316 w 7402822"/>
              <a:gd name="connsiteY4619" fmla="*/ 1833630 h 4749526"/>
              <a:gd name="connsiteX4620" fmla="*/ 2158459 w 7402822"/>
              <a:gd name="connsiteY4620" fmla="*/ 1851845 h 4749526"/>
              <a:gd name="connsiteX4621" fmla="*/ 2164531 w 7402822"/>
              <a:gd name="connsiteY4621" fmla="*/ 1857916 h 4749526"/>
              <a:gd name="connsiteX4622" fmla="*/ 2164531 w 7402822"/>
              <a:gd name="connsiteY4622" fmla="*/ 1867024 h 4749526"/>
              <a:gd name="connsiteX4623" fmla="*/ 2167567 w 7402822"/>
              <a:gd name="connsiteY4623" fmla="*/ 1870059 h 4749526"/>
              <a:gd name="connsiteX4624" fmla="*/ 2173638 w 7402822"/>
              <a:gd name="connsiteY4624" fmla="*/ 1876131 h 4749526"/>
              <a:gd name="connsiteX4625" fmla="*/ 2173638 w 7402822"/>
              <a:gd name="connsiteY4625" fmla="*/ 1882203 h 4749526"/>
              <a:gd name="connsiteX4626" fmla="*/ 2179710 w 7402822"/>
              <a:gd name="connsiteY4626" fmla="*/ 1891310 h 4749526"/>
              <a:gd name="connsiteX4627" fmla="*/ 2185782 w 7402822"/>
              <a:gd name="connsiteY4627" fmla="*/ 1903454 h 4749526"/>
              <a:gd name="connsiteX4628" fmla="*/ 2188817 w 7402822"/>
              <a:gd name="connsiteY4628" fmla="*/ 1906489 h 4749526"/>
              <a:gd name="connsiteX4629" fmla="*/ 2188817 w 7402822"/>
              <a:gd name="connsiteY4629" fmla="*/ 1912561 h 4749526"/>
              <a:gd name="connsiteX4630" fmla="*/ 2191853 w 7402822"/>
              <a:gd name="connsiteY4630" fmla="*/ 1921668 h 4749526"/>
              <a:gd name="connsiteX4631" fmla="*/ 2185782 w 7402822"/>
              <a:gd name="connsiteY4631" fmla="*/ 1924704 h 4749526"/>
              <a:gd name="connsiteX4632" fmla="*/ 2191853 w 7402822"/>
              <a:gd name="connsiteY4632" fmla="*/ 1927740 h 4749526"/>
              <a:gd name="connsiteX4633" fmla="*/ 2197924 w 7402822"/>
              <a:gd name="connsiteY4633" fmla="*/ 1933812 h 4749526"/>
              <a:gd name="connsiteX4634" fmla="*/ 2191853 w 7402822"/>
              <a:gd name="connsiteY4634" fmla="*/ 1942919 h 4749526"/>
              <a:gd name="connsiteX4635" fmla="*/ 2191853 w 7402822"/>
              <a:gd name="connsiteY4635" fmla="*/ 1955062 h 4749526"/>
              <a:gd name="connsiteX4636" fmla="*/ 2191853 w 7402822"/>
              <a:gd name="connsiteY4636" fmla="*/ 1958098 h 4749526"/>
              <a:gd name="connsiteX4637" fmla="*/ 2191853 w 7402822"/>
              <a:gd name="connsiteY4637" fmla="*/ 1961134 h 4749526"/>
              <a:gd name="connsiteX4638" fmla="*/ 2200961 w 7402822"/>
              <a:gd name="connsiteY4638" fmla="*/ 1964170 h 4749526"/>
              <a:gd name="connsiteX4639" fmla="*/ 2203996 w 7402822"/>
              <a:gd name="connsiteY4639" fmla="*/ 1976313 h 4749526"/>
              <a:gd name="connsiteX4640" fmla="*/ 2213103 w 7402822"/>
              <a:gd name="connsiteY4640" fmla="*/ 1976313 h 4749526"/>
              <a:gd name="connsiteX4641" fmla="*/ 2216140 w 7402822"/>
              <a:gd name="connsiteY4641" fmla="*/ 1985420 h 4749526"/>
              <a:gd name="connsiteX4642" fmla="*/ 2219175 w 7402822"/>
              <a:gd name="connsiteY4642" fmla="*/ 1985420 h 4749526"/>
              <a:gd name="connsiteX4643" fmla="*/ 2222212 w 7402822"/>
              <a:gd name="connsiteY4643" fmla="*/ 1988456 h 4749526"/>
              <a:gd name="connsiteX4644" fmla="*/ 2225247 w 7402822"/>
              <a:gd name="connsiteY4644" fmla="*/ 1994527 h 4749526"/>
              <a:gd name="connsiteX4645" fmla="*/ 2231319 w 7402822"/>
              <a:gd name="connsiteY4645" fmla="*/ 1997564 h 4749526"/>
              <a:gd name="connsiteX4646" fmla="*/ 2234354 w 7402822"/>
              <a:gd name="connsiteY4646" fmla="*/ 2000599 h 4749526"/>
              <a:gd name="connsiteX4647" fmla="*/ 2240426 w 7402822"/>
              <a:gd name="connsiteY4647" fmla="*/ 2000599 h 4749526"/>
              <a:gd name="connsiteX4648" fmla="*/ 2249533 w 7402822"/>
              <a:gd name="connsiteY4648" fmla="*/ 2003636 h 4749526"/>
              <a:gd name="connsiteX4649" fmla="*/ 2252570 w 7402822"/>
              <a:gd name="connsiteY4649" fmla="*/ 2012743 h 4749526"/>
              <a:gd name="connsiteX4650" fmla="*/ 2255605 w 7402822"/>
              <a:gd name="connsiteY4650" fmla="*/ 2015778 h 4749526"/>
              <a:gd name="connsiteX4651" fmla="*/ 2270784 w 7402822"/>
              <a:gd name="connsiteY4651" fmla="*/ 2018815 h 4749526"/>
              <a:gd name="connsiteX4652" fmla="*/ 2279892 w 7402822"/>
              <a:gd name="connsiteY4652" fmla="*/ 2021850 h 4749526"/>
              <a:gd name="connsiteX4653" fmla="*/ 2282927 w 7402822"/>
              <a:gd name="connsiteY4653" fmla="*/ 2024885 h 4749526"/>
              <a:gd name="connsiteX4654" fmla="*/ 2282927 w 7402822"/>
              <a:gd name="connsiteY4654" fmla="*/ 2037029 h 4749526"/>
              <a:gd name="connsiteX4655" fmla="*/ 2285963 w 7402822"/>
              <a:gd name="connsiteY4655" fmla="*/ 2046136 h 4749526"/>
              <a:gd name="connsiteX4656" fmla="*/ 2288999 w 7402822"/>
              <a:gd name="connsiteY4656" fmla="*/ 2052208 h 4749526"/>
              <a:gd name="connsiteX4657" fmla="*/ 2295071 w 7402822"/>
              <a:gd name="connsiteY4657" fmla="*/ 2052208 h 4749526"/>
              <a:gd name="connsiteX4658" fmla="*/ 2307214 w 7402822"/>
              <a:gd name="connsiteY4658" fmla="*/ 2058280 h 4749526"/>
              <a:gd name="connsiteX4659" fmla="*/ 2313285 w 7402822"/>
              <a:gd name="connsiteY4659" fmla="*/ 2061315 h 4749526"/>
              <a:gd name="connsiteX4660" fmla="*/ 2313285 w 7402822"/>
              <a:gd name="connsiteY4660" fmla="*/ 2073459 h 4749526"/>
              <a:gd name="connsiteX4661" fmla="*/ 2316322 w 7402822"/>
              <a:gd name="connsiteY4661" fmla="*/ 2091674 h 4749526"/>
              <a:gd name="connsiteX4662" fmla="*/ 2316322 w 7402822"/>
              <a:gd name="connsiteY4662" fmla="*/ 2109888 h 4749526"/>
              <a:gd name="connsiteX4663" fmla="*/ 2307214 w 7402822"/>
              <a:gd name="connsiteY4663" fmla="*/ 2115960 h 4749526"/>
              <a:gd name="connsiteX4664" fmla="*/ 2295071 w 7402822"/>
              <a:gd name="connsiteY4664" fmla="*/ 2128104 h 4749526"/>
              <a:gd name="connsiteX4665" fmla="*/ 2288999 w 7402822"/>
              <a:gd name="connsiteY4665" fmla="*/ 2131139 h 4749526"/>
              <a:gd name="connsiteX4666" fmla="*/ 2285963 w 7402822"/>
              <a:gd name="connsiteY4666" fmla="*/ 2128104 h 4749526"/>
              <a:gd name="connsiteX4667" fmla="*/ 2270784 w 7402822"/>
              <a:gd name="connsiteY4667" fmla="*/ 2131139 h 4749526"/>
              <a:gd name="connsiteX4668" fmla="*/ 2261677 w 7402822"/>
              <a:gd name="connsiteY4668" fmla="*/ 2137211 h 4749526"/>
              <a:gd name="connsiteX4669" fmla="*/ 2255605 w 7402822"/>
              <a:gd name="connsiteY4669" fmla="*/ 2140246 h 4749526"/>
              <a:gd name="connsiteX4670" fmla="*/ 2252570 w 7402822"/>
              <a:gd name="connsiteY4670" fmla="*/ 2146318 h 4749526"/>
              <a:gd name="connsiteX4671" fmla="*/ 2240426 w 7402822"/>
              <a:gd name="connsiteY4671" fmla="*/ 2155426 h 4749526"/>
              <a:gd name="connsiteX4672" fmla="*/ 2231319 w 7402822"/>
              <a:gd name="connsiteY4672" fmla="*/ 2167570 h 4749526"/>
              <a:gd name="connsiteX4673" fmla="*/ 2203996 w 7402822"/>
              <a:gd name="connsiteY4673" fmla="*/ 2170605 h 4749526"/>
              <a:gd name="connsiteX4674" fmla="*/ 2191853 w 7402822"/>
              <a:gd name="connsiteY4674" fmla="*/ 2170605 h 4749526"/>
              <a:gd name="connsiteX4675" fmla="*/ 2179710 w 7402822"/>
              <a:gd name="connsiteY4675" fmla="*/ 2170605 h 4749526"/>
              <a:gd name="connsiteX4676" fmla="*/ 2152388 w 7402822"/>
              <a:gd name="connsiteY4676" fmla="*/ 2167570 h 4749526"/>
              <a:gd name="connsiteX4677" fmla="*/ 2140244 w 7402822"/>
              <a:gd name="connsiteY4677" fmla="*/ 2167570 h 4749526"/>
              <a:gd name="connsiteX4678" fmla="*/ 2137209 w 7402822"/>
              <a:gd name="connsiteY4678" fmla="*/ 2167570 h 4749526"/>
              <a:gd name="connsiteX4679" fmla="*/ 2131137 w 7402822"/>
              <a:gd name="connsiteY4679" fmla="*/ 2167570 h 4749526"/>
              <a:gd name="connsiteX4680" fmla="*/ 2118993 w 7402822"/>
              <a:gd name="connsiteY4680" fmla="*/ 2167570 h 4749526"/>
              <a:gd name="connsiteX4681" fmla="*/ 2106851 w 7402822"/>
              <a:gd name="connsiteY4681" fmla="*/ 2170605 h 4749526"/>
              <a:gd name="connsiteX4682" fmla="*/ 2094707 w 7402822"/>
              <a:gd name="connsiteY4682" fmla="*/ 2173641 h 4749526"/>
              <a:gd name="connsiteX4683" fmla="*/ 2088636 w 7402822"/>
              <a:gd name="connsiteY4683" fmla="*/ 2173641 h 4749526"/>
              <a:gd name="connsiteX4684" fmla="*/ 2085600 w 7402822"/>
              <a:gd name="connsiteY4684" fmla="*/ 2179713 h 4749526"/>
              <a:gd name="connsiteX4685" fmla="*/ 2079528 w 7402822"/>
              <a:gd name="connsiteY4685" fmla="*/ 2182749 h 4749526"/>
              <a:gd name="connsiteX4686" fmla="*/ 2079528 w 7402822"/>
              <a:gd name="connsiteY4686" fmla="*/ 2191856 h 4749526"/>
              <a:gd name="connsiteX4687" fmla="*/ 2073457 w 7402822"/>
              <a:gd name="connsiteY4687" fmla="*/ 2197928 h 4749526"/>
              <a:gd name="connsiteX4688" fmla="*/ 2067385 w 7402822"/>
              <a:gd name="connsiteY4688" fmla="*/ 2200964 h 4749526"/>
              <a:gd name="connsiteX4689" fmla="*/ 2055242 w 7402822"/>
              <a:gd name="connsiteY4689" fmla="*/ 2203999 h 4749526"/>
              <a:gd name="connsiteX4690" fmla="*/ 2052206 w 7402822"/>
              <a:gd name="connsiteY4690" fmla="*/ 2207035 h 4749526"/>
              <a:gd name="connsiteX4691" fmla="*/ 2043099 w 7402822"/>
              <a:gd name="connsiteY4691" fmla="*/ 2216143 h 4749526"/>
              <a:gd name="connsiteX4692" fmla="*/ 2037027 w 7402822"/>
              <a:gd name="connsiteY4692" fmla="*/ 2222215 h 4749526"/>
              <a:gd name="connsiteX4693" fmla="*/ 2033991 w 7402822"/>
              <a:gd name="connsiteY4693" fmla="*/ 2231322 h 4749526"/>
              <a:gd name="connsiteX4694" fmla="*/ 2027920 w 7402822"/>
              <a:gd name="connsiteY4694" fmla="*/ 2234357 h 4749526"/>
              <a:gd name="connsiteX4695" fmla="*/ 2024883 w 7402822"/>
              <a:gd name="connsiteY4695" fmla="*/ 2243465 h 4749526"/>
              <a:gd name="connsiteX4696" fmla="*/ 2021848 w 7402822"/>
              <a:gd name="connsiteY4696" fmla="*/ 2249536 h 4749526"/>
              <a:gd name="connsiteX4697" fmla="*/ 2009704 w 7402822"/>
              <a:gd name="connsiteY4697" fmla="*/ 2261680 h 4749526"/>
              <a:gd name="connsiteX4698" fmla="*/ 1994525 w 7402822"/>
              <a:gd name="connsiteY4698" fmla="*/ 2276859 h 4749526"/>
              <a:gd name="connsiteX4699" fmla="*/ 2006669 w 7402822"/>
              <a:gd name="connsiteY4699" fmla="*/ 2270787 h 4749526"/>
              <a:gd name="connsiteX4700" fmla="*/ 2015776 w 7402822"/>
              <a:gd name="connsiteY4700" fmla="*/ 2264715 h 4749526"/>
              <a:gd name="connsiteX4701" fmla="*/ 2024883 w 7402822"/>
              <a:gd name="connsiteY4701" fmla="*/ 2252573 h 4749526"/>
              <a:gd name="connsiteX4702" fmla="*/ 2033991 w 7402822"/>
              <a:gd name="connsiteY4702" fmla="*/ 2240429 h 4749526"/>
              <a:gd name="connsiteX4703" fmla="*/ 2052206 w 7402822"/>
              <a:gd name="connsiteY4703" fmla="*/ 2225250 h 4749526"/>
              <a:gd name="connsiteX4704" fmla="*/ 2067385 w 7402822"/>
              <a:gd name="connsiteY4704" fmla="*/ 2216143 h 4749526"/>
              <a:gd name="connsiteX4705" fmla="*/ 2079528 w 7402822"/>
              <a:gd name="connsiteY4705" fmla="*/ 2210071 h 4749526"/>
              <a:gd name="connsiteX4706" fmla="*/ 2128102 w 7402822"/>
              <a:gd name="connsiteY4706" fmla="*/ 2203999 h 4749526"/>
              <a:gd name="connsiteX4707" fmla="*/ 2140244 w 7402822"/>
              <a:gd name="connsiteY4707" fmla="*/ 2225250 h 4749526"/>
              <a:gd name="connsiteX4708" fmla="*/ 2137209 w 7402822"/>
              <a:gd name="connsiteY4708" fmla="*/ 2228285 h 4749526"/>
              <a:gd name="connsiteX4709" fmla="*/ 2128102 w 7402822"/>
              <a:gd name="connsiteY4709" fmla="*/ 2234357 h 4749526"/>
              <a:gd name="connsiteX4710" fmla="*/ 2118993 w 7402822"/>
              <a:gd name="connsiteY4710" fmla="*/ 2240429 h 4749526"/>
              <a:gd name="connsiteX4711" fmla="*/ 2106851 w 7402822"/>
              <a:gd name="connsiteY4711" fmla="*/ 2234357 h 4749526"/>
              <a:gd name="connsiteX4712" fmla="*/ 2106851 w 7402822"/>
              <a:gd name="connsiteY4712" fmla="*/ 2243465 h 4749526"/>
              <a:gd name="connsiteX4713" fmla="*/ 2109886 w 7402822"/>
              <a:gd name="connsiteY4713" fmla="*/ 2243465 h 4749526"/>
              <a:gd name="connsiteX4714" fmla="*/ 2112923 w 7402822"/>
              <a:gd name="connsiteY4714" fmla="*/ 2252573 h 4749526"/>
              <a:gd name="connsiteX4715" fmla="*/ 2118993 w 7402822"/>
              <a:gd name="connsiteY4715" fmla="*/ 2246501 h 4749526"/>
              <a:gd name="connsiteX4716" fmla="*/ 2128102 w 7402822"/>
              <a:gd name="connsiteY4716" fmla="*/ 2246501 h 4749526"/>
              <a:gd name="connsiteX4717" fmla="*/ 2128102 w 7402822"/>
              <a:gd name="connsiteY4717" fmla="*/ 2255608 h 4749526"/>
              <a:gd name="connsiteX4718" fmla="*/ 2125065 w 7402822"/>
              <a:gd name="connsiteY4718" fmla="*/ 2267752 h 4749526"/>
              <a:gd name="connsiteX4719" fmla="*/ 2128102 w 7402822"/>
              <a:gd name="connsiteY4719" fmla="*/ 2270787 h 4749526"/>
              <a:gd name="connsiteX4720" fmla="*/ 2128102 w 7402822"/>
              <a:gd name="connsiteY4720" fmla="*/ 2273823 h 4749526"/>
              <a:gd name="connsiteX4721" fmla="*/ 2131137 w 7402822"/>
              <a:gd name="connsiteY4721" fmla="*/ 2285966 h 4749526"/>
              <a:gd name="connsiteX4722" fmla="*/ 2137209 w 7402822"/>
              <a:gd name="connsiteY4722" fmla="*/ 2292038 h 4749526"/>
              <a:gd name="connsiteX4723" fmla="*/ 2143280 w 7402822"/>
              <a:gd name="connsiteY4723" fmla="*/ 2295074 h 4749526"/>
              <a:gd name="connsiteX4724" fmla="*/ 2149352 w 7402822"/>
              <a:gd name="connsiteY4724" fmla="*/ 2298109 h 4749526"/>
              <a:gd name="connsiteX4725" fmla="*/ 2146316 w 7402822"/>
              <a:gd name="connsiteY4725" fmla="*/ 2301145 h 4749526"/>
              <a:gd name="connsiteX4726" fmla="*/ 2164531 w 7402822"/>
              <a:gd name="connsiteY4726" fmla="*/ 2307217 h 4749526"/>
              <a:gd name="connsiteX4727" fmla="*/ 2173638 w 7402822"/>
              <a:gd name="connsiteY4727" fmla="*/ 2310253 h 4749526"/>
              <a:gd name="connsiteX4728" fmla="*/ 2185782 w 7402822"/>
              <a:gd name="connsiteY4728" fmla="*/ 2307217 h 4749526"/>
              <a:gd name="connsiteX4729" fmla="*/ 2203996 w 7402822"/>
              <a:gd name="connsiteY4729" fmla="*/ 2316325 h 4749526"/>
              <a:gd name="connsiteX4730" fmla="*/ 2207033 w 7402822"/>
              <a:gd name="connsiteY4730" fmla="*/ 2322396 h 4749526"/>
              <a:gd name="connsiteX4731" fmla="*/ 2200961 w 7402822"/>
              <a:gd name="connsiteY4731" fmla="*/ 2325432 h 4749526"/>
              <a:gd name="connsiteX4732" fmla="*/ 2194889 w 7402822"/>
              <a:gd name="connsiteY4732" fmla="*/ 2325432 h 4749526"/>
              <a:gd name="connsiteX4733" fmla="*/ 2191853 w 7402822"/>
              <a:gd name="connsiteY4733" fmla="*/ 2328467 h 4749526"/>
              <a:gd name="connsiteX4734" fmla="*/ 2185782 w 7402822"/>
              <a:gd name="connsiteY4734" fmla="*/ 2331504 h 4749526"/>
              <a:gd name="connsiteX4735" fmla="*/ 2173638 w 7402822"/>
              <a:gd name="connsiteY4735" fmla="*/ 2334539 h 4749526"/>
              <a:gd name="connsiteX4736" fmla="*/ 2161495 w 7402822"/>
              <a:gd name="connsiteY4736" fmla="*/ 2340611 h 4749526"/>
              <a:gd name="connsiteX4737" fmla="*/ 2158459 w 7402822"/>
              <a:gd name="connsiteY4737" fmla="*/ 2340611 h 4749526"/>
              <a:gd name="connsiteX4738" fmla="*/ 2155423 w 7402822"/>
              <a:gd name="connsiteY4738" fmla="*/ 2343646 h 4749526"/>
              <a:gd name="connsiteX4739" fmla="*/ 2143280 w 7402822"/>
              <a:gd name="connsiteY4739" fmla="*/ 2343646 h 4749526"/>
              <a:gd name="connsiteX4740" fmla="*/ 2140244 w 7402822"/>
              <a:gd name="connsiteY4740" fmla="*/ 2343646 h 4749526"/>
              <a:gd name="connsiteX4741" fmla="*/ 2137209 w 7402822"/>
              <a:gd name="connsiteY4741" fmla="*/ 2349718 h 4749526"/>
              <a:gd name="connsiteX4742" fmla="*/ 2128102 w 7402822"/>
              <a:gd name="connsiteY4742" fmla="*/ 2361862 h 4749526"/>
              <a:gd name="connsiteX4743" fmla="*/ 2125065 w 7402822"/>
              <a:gd name="connsiteY4743" fmla="*/ 2367933 h 4749526"/>
              <a:gd name="connsiteX4744" fmla="*/ 2118993 w 7402822"/>
              <a:gd name="connsiteY4744" fmla="*/ 2367933 h 4749526"/>
              <a:gd name="connsiteX4745" fmla="*/ 2115958 w 7402822"/>
              <a:gd name="connsiteY4745" fmla="*/ 2374005 h 4749526"/>
              <a:gd name="connsiteX4746" fmla="*/ 2109886 w 7402822"/>
              <a:gd name="connsiteY4746" fmla="*/ 2370969 h 4749526"/>
              <a:gd name="connsiteX4747" fmla="*/ 2106851 w 7402822"/>
              <a:gd name="connsiteY4747" fmla="*/ 2364897 h 4749526"/>
              <a:gd name="connsiteX4748" fmla="*/ 2103814 w 7402822"/>
              <a:gd name="connsiteY4748" fmla="*/ 2367933 h 4749526"/>
              <a:gd name="connsiteX4749" fmla="*/ 2100779 w 7402822"/>
              <a:gd name="connsiteY4749" fmla="*/ 2361862 h 4749526"/>
              <a:gd name="connsiteX4750" fmla="*/ 2100779 w 7402822"/>
              <a:gd name="connsiteY4750" fmla="*/ 2346683 h 4749526"/>
              <a:gd name="connsiteX4751" fmla="*/ 2112923 w 7402822"/>
              <a:gd name="connsiteY4751" fmla="*/ 2337575 h 4749526"/>
              <a:gd name="connsiteX4752" fmla="*/ 2134172 w 7402822"/>
              <a:gd name="connsiteY4752" fmla="*/ 2322396 h 4749526"/>
              <a:gd name="connsiteX4753" fmla="*/ 2146316 w 7402822"/>
              <a:gd name="connsiteY4753" fmla="*/ 2322396 h 4749526"/>
              <a:gd name="connsiteX4754" fmla="*/ 2158459 w 7402822"/>
              <a:gd name="connsiteY4754" fmla="*/ 2319360 h 4749526"/>
              <a:gd name="connsiteX4755" fmla="*/ 2152388 w 7402822"/>
              <a:gd name="connsiteY4755" fmla="*/ 2319360 h 4749526"/>
              <a:gd name="connsiteX4756" fmla="*/ 2146316 w 7402822"/>
              <a:gd name="connsiteY4756" fmla="*/ 2319360 h 4749526"/>
              <a:gd name="connsiteX4757" fmla="*/ 2134172 w 7402822"/>
              <a:gd name="connsiteY4757" fmla="*/ 2319360 h 4749526"/>
              <a:gd name="connsiteX4758" fmla="*/ 2125065 w 7402822"/>
              <a:gd name="connsiteY4758" fmla="*/ 2319360 h 4749526"/>
              <a:gd name="connsiteX4759" fmla="*/ 2131137 w 7402822"/>
              <a:gd name="connsiteY4759" fmla="*/ 2313288 h 4749526"/>
              <a:gd name="connsiteX4760" fmla="*/ 2140244 w 7402822"/>
              <a:gd name="connsiteY4760" fmla="*/ 2304181 h 4749526"/>
              <a:gd name="connsiteX4761" fmla="*/ 2134172 w 7402822"/>
              <a:gd name="connsiteY4761" fmla="*/ 2304181 h 4749526"/>
              <a:gd name="connsiteX4762" fmla="*/ 2128102 w 7402822"/>
              <a:gd name="connsiteY4762" fmla="*/ 2313288 h 4749526"/>
              <a:gd name="connsiteX4763" fmla="*/ 2106851 w 7402822"/>
              <a:gd name="connsiteY4763" fmla="*/ 2322396 h 4749526"/>
              <a:gd name="connsiteX4764" fmla="*/ 2103814 w 7402822"/>
              <a:gd name="connsiteY4764" fmla="*/ 2322396 h 4749526"/>
              <a:gd name="connsiteX4765" fmla="*/ 2094707 w 7402822"/>
              <a:gd name="connsiteY4765" fmla="*/ 2328467 h 4749526"/>
              <a:gd name="connsiteX4766" fmla="*/ 2085600 w 7402822"/>
              <a:gd name="connsiteY4766" fmla="*/ 2328467 h 4749526"/>
              <a:gd name="connsiteX4767" fmla="*/ 2082564 w 7402822"/>
              <a:gd name="connsiteY4767" fmla="*/ 2325432 h 4749526"/>
              <a:gd name="connsiteX4768" fmla="*/ 2079528 w 7402822"/>
              <a:gd name="connsiteY4768" fmla="*/ 2325432 h 4749526"/>
              <a:gd name="connsiteX4769" fmla="*/ 2085600 w 7402822"/>
              <a:gd name="connsiteY4769" fmla="*/ 2334539 h 4749526"/>
              <a:gd name="connsiteX4770" fmla="*/ 2079528 w 7402822"/>
              <a:gd name="connsiteY4770" fmla="*/ 2340611 h 4749526"/>
              <a:gd name="connsiteX4771" fmla="*/ 2067385 w 7402822"/>
              <a:gd name="connsiteY4771" fmla="*/ 2343646 h 4749526"/>
              <a:gd name="connsiteX4772" fmla="*/ 2061313 w 7402822"/>
              <a:gd name="connsiteY4772" fmla="*/ 2349718 h 4749526"/>
              <a:gd name="connsiteX4773" fmla="*/ 2058278 w 7402822"/>
              <a:gd name="connsiteY4773" fmla="*/ 2343646 h 4749526"/>
              <a:gd name="connsiteX4774" fmla="*/ 2043099 w 7402822"/>
              <a:gd name="connsiteY4774" fmla="*/ 2355790 h 4749526"/>
              <a:gd name="connsiteX4775" fmla="*/ 2037027 w 7402822"/>
              <a:gd name="connsiteY4775" fmla="*/ 2361862 h 4749526"/>
              <a:gd name="connsiteX4776" fmla="*/ 2027920 w 7402822"/>
              <a:gd name="connsiteY4776" fmla="*/ 2364897 h 4749526"/>
              <a:gd name="connsiteX4777" fmla="*/ 2024883 w 7402822"/>
              <a:gd name="connsiteY4777" fmla="*/ 2367933 h 4749526"/>
              <a:gd name="connsiteX4778" fmla="*/ 2021848 w 7402822"/>
              <a:gd name="connsiteY4778" fmla="*/ 2364897 h 4749526"/>
              <a:gd name="connsiteX4779" fmla="*/ 2015776 w 7402822"/>
              <a:gd name="connsiteY4779" fmla="*/ 2377041 h 4749526"/>
              <a:gd name="connsiteX4780" fmla="*/ 2006669 w 7402822"/>
              <a:gd name="connsiteY4780" fmla="*/ 2383112 h 4749526"/>
              <a:gd name="connsiteX4781" fmla="*/ 2006669 w 7402822"/>
              <a:gd name="connsiteY4781" fmla="*/ 2386148 h 4749526"/>
              <a:gd name="connsiteX4782" fmla="*/ 2003634 w 7402822"/>
              <a:gd name="connsiteY4782" fmla="*/ 2392220 h 4749526"/>
              <a:gd name="connsiteX4783" fmla="*/ 2009704 w 7402822"/>
              <a:gd name="connsiteY4783" fmla="*/ 2398291 h 4749526"/>
              <a:gd name="connsiteX4784" fmla="*/ 2003634 w 7402822"/>
              <a:gd name="connsiteY4784" fmla="*/ 2401327 h 4749526"/>
              <a:gd name="connsiteX4785" fmla="*/ 2000597 w 7402822"/>
              <a:gd name="connsiteY4785" fmla="*/ 2407398 h 4749526"/>
              <a:gd name="connsiteX4786" fmla="*/ 2006669 w 7402822"/>
              <a:gd name="connsiteY4786" fmla="*/ 2414988 h 4749526"/>
              <a:gd name="connsiteX4787" fmla="*/ 2018813 w 7402822"/>
              <a:gd name="connsiteY4787" fmla="*/ 2421060 h 4749526"/>
              <a:gd name="connsiteX4788" fmla="*/ 2018813 w 7402822"/>
              <a:gd name="connsiteY4788" fmla="*/ 2411953 h 4749526"/>
              <a:gd name="connsiteX4789" fmla="*/ 2021848 w 7402822"/>
              <a:gd name="connsiteY4789" fmla="*/ 2411953 h 4749526"/>
              <a:gd name="connsiteX4790" fmla="*/ 2021848 w 7402822"/>
              <a:gd name="connsiteY4790" fmla="*/ 2421060 h 4749526"/>
              <a:gd name="connsiteX4791" fmla="*/ 2018813 w 7402822"/>
              <a:gd name="connsiteY4791" fmla="*/ 2424096 h 4749526"/>
              <a:gd name="connsiteX4792" fmla="*/ 2012741 w 7402822"/>
              <a:gd name="connsiteY4792" fmla="*/ 2424096 h 4749526"/>
              <a:gd name="connsiteX4793" fmla="*/ 2006669 w 7402822"/>
              <a:gd name="connsiteY4793" fmla="*/ 2424096 h 4749526"/>
              <a:gd name="connsiteX4794" fmla="*/ 2006669 w 7402822"/>
              <a:gd name="connsiteY4794" fmla="*/ 2421060 h 4749526"/>
              <a:gd name="connsiteX4795" fmla="*/ 2003634 w 7402822"/>
              <a:gd name="connsiteY4795" fmla="*/ 2424096 h 4749526"/>
              <a:gd name="connsiteX4796" fmla="*/ 2000597 w 7402822"/>
              <a:gd name="connsiteY4796" fmla="*/ 2427132 h 4749526"/>
              <a:gd name="connsiteX4797" fmla="*/ 1994525 w 7402822"/>
              <a:gd name="connsiteY4797" fmla="*/ 2421060 h 4749526"/>
              <a:gd name="connsiteX4798" fmla="*/ 1991490 w 7402822"/>
              <a:gd name="connsiteY4798" fmla="*/ 2427132 h 4749526"/>
              <a:gd name="connsiteX4799" fmla="*/ 1988454 w 7402822"/>
              <a:gd name="connsiteY4799" fmla="*/ 2430167 h 4749526"/>
              <a:gd name="connsiteX4800" fmla="*/ 1973275 w 7402822"/>
              <a:gd name="connsiteY4800" fmla="*/ 2430167 h 4749526"/>
              <a:gd name="connsiteX4801" fmla="*/ 1964168 w 7402822"/>
              <a:gd name="connsiteY4801" fmla="*/ 2433204 h 4749526"/>
              <a:gd name="connsiteX4802" fmla="*/ 1952024 w 7402822"/>
              <a:gd name="connsiteY4802" fmla="*/ 2439276 h 4749526"/>
              <a:gd name="connsiteX4803" fmla="*/ 1945953 w 7402822"/>
              <a:gd name="connsiteY4803" fmla="*/ 2439276 h 4749526"/>
              <a:gd name="connsiteX4804" fmla="*/ 1943524 w 7402822"/>
              <a:gd name="connsiteY4804" fmla="*/ 2444132 h 4749526"/>
              <a:gd name="connsiteX4805" fmla="*/ 1948989 w 7402822"/>
              <a:gd name="connsiteY4805" fmla="*/ 2442311 h 4749526"/>
              <a:gd name="connsiteX4806" fmla="*/ 1955060 w 7402822"/>
              <a:gd name="connsiteY4806" fmla="*/ 2442311 h 4749526"/>
              <a:gd name="connsiteX4807" fmla="*/ 1964168 w 7402822"/>
              <a:gd name="connsiteY4807" fmla="*/ 2442311 h 4749526"/>
              <a:gd name="connsiteX4808" fmla="*/ 1976311 w 7402822"/>
              <a:gd name="connsiteY4808" fmla="*/ 2436239 h 4749526"/>
              <a:gd name="connsiteX4809" fmla="*/ 1982383 w 7402822"/>
              <a:gd name="connsiteY4809" fmla="*/ 2439276 h 4749526"/>
              <a:gd name="connsiteX4810" fmla="*/ 1967204 w 7402822"/>
              <a:gd name="connsiteY4810" fmla="*/ 2445346 h 4749526"/>
              <a:gd name="connsiteX4811" fmla="*/ 1961132 w 7402822"/>
              <a:gd name="connsiteY4811" fmla="*/ 2448383 h 4749526"/>
              <a:gd name="connsiteX4812" fmla="*/ 1948989 w 7402822"/>
              <a:gd name="connsiteY4812" fmla="*/ 2451418 h 4749526"/>
              <a:gd name="connsiteX4813" fmla="*/ 1939881 w 7402822"/>
              <a:gd name="connsiteY4813" fmla="*/ 2451418 h 4749526"/>
              <a:gd name="connsiteX4814" fmla="*/ 1939881 w 7402822"/>
              <a:gd name="connsiteY4814" fmla="*/ 2448383 h 4749526"/>
              <a:gd name="connsiteX4815" fmla="*/ 1933810 w 7402822"/>
              <a:gd name="connsiteY4815" fmla="*/ 2454455 h 4749526"/>
              <a:gd name="connsiteX4816" fmla="*/ 1939881 w 7402822"/>
              <a:gd name="connsiteY4816" fmla="*/ 2460525 h 4749526"/>
              <a:gd name="connsiteX4817" fmla="*/ 1936845 w 7402822"/>
              <a:gd name="connsiteY4817" fmla="*/ 2475705 h 4749526"/>
              <a:gd name="connsiteX4818" fmla="*/ 1927738 w 7402822"/>
              <a:gd name="connsiteY4818" fmla="*/ 2484812 h 4749526"/>
              <a:gd name="connsiteX4819" fmla="*/ 1921666 w 7402822"/>
              <a:gd name="connsiteY4819" fmla="*/ 2496955 h 4749526"/>
              <a:gd name="connsiteX4820" fmla="*/ 1921666 w 7402822"/>
              <a:gd name="connsiteY4820" fmla="*/ 2490884 h 4749526"/>
              <a:gd name="connsiteX4821" fmla="*/ 1912559 w 7402822"/>
              <a:gd name="connsiteY4821" fmla="*/ 2484812 h 4749526"/>
              <a:gd name="connsiteX4822" fmla="*/ 1909524 w 7402822"/>
              <a:gd name="connsiteY4822" fmla="*/ 2487848 h 4749526"/>
              <a:gd name="connsiteX4823" fmla="*/ 1912559 w 7402822"/>
              <a:gd name="connsiteY4823" fmla="*/ 2493920 h 4749526"/>
              <a:gd name="connsiteX4824" fmla="*/ 1918631 w 7402822"/>
              <a:gd name="connsiteY4824" fmla="*/ 2509099 h 4749526"/>
              <a:gd name="connsiteX4825" fmla="*/ 1912559 w 7402822"/>
              <a:gd name="connsiteY4825" fmla="*/ 2521242 h 4749526"/>
              <a:gd name="connsiteX4826" fmla="*/ 1906487 w 7402822"/>
              <a:gd name="connsiteY4826" fmla="*/ 2533385 h 4749526"/>
              <a:gd name="connsiteX4827" fmla="*/ 1900415 w 7402822"/>
              <a:gd name="connsiteY4827" fmla="*/ 2542493 h 4749526"/>
              <a:gd name="connsiteX4828" fmla="*/ 1897380 w 7402822"/>
              <a:gd name="connsiteY4828" fmla="*/ 2539456 h 4749526"/>
              <a:gd name="connsiteX4829" fmla="*/ 1900415 w 7402822"/>
              <a:gd name="connsiteY4829" fmla="*/ 2533385 h 4749526"/>
              <a:gd name="connsiteX4830" fmla="*/ 1903452 w 7402822"/>
              <a:gd name="connsiteY4830" fmla="*/ 2524278 h 4749526"/>
              <a:gd name="connsiteX4831" fmla="*/ 1903452 w 7402822"/>
              <a:gd name="connsiteY4831" fmla="*/ 2518206 h 4749526"/>
              <a:gd name="connsiteX4832" fmla="*/ 1897380 w 7402822"/>
              <a:gd name="connsiteY4832" fmla="*/ 2512135 h 4749526"/>
              <a:gd name="connsiteX4833" fmla="*/ 1894344 w 7402822"/>
              <a:gd name="connsiteY4833" fmla="*/ 2509099 h 4749526"/>
              <a:gd name="connsiteX4834" fmla="*/ 1894344 w 7402822"/>
              <a:gd name="connsiteY4834" fmla="*/ 2506063 h 4749526"/>
              <a:gd name="connsiteX4835" fmla="*/ 1891308 w 7402822"/>
              <a:gd name="connsiteY4835" fmla="*/ 2493920 h 4749526"/>
              <a:gd name="connsiteX4836" fmla="*/ 1894344 w 7402822"/>
              <a:gd name="connsiteY4836" fmla="*/ 2484812 h 4749526"/>
              <a:gd name="connsiteX4837" fmla="*/ 1897380 w 7402822"/>
              <a:gd name="connsiteY4837" fmla="*/ 2484812 h 4749526"/>
              <a:gd name="connsiteX4838" fmla="*/ 1897380 w 7402822"/>
              <a:gd name="connsiteY4838" fmla="*/ 2478741 h 4749526"/>
              <a:gd name="connsiteX4839" fmla="*/ 1891308 w 7402822"/>
              <a:gd name="connsiteY4839" fmla="*/ 2484812 h 4749526"/>
              <a:gd name="connsiteX4840" fmla="*/ 1888273 w 7402822"/>
              <a:gd name="connsiteY4840" fmla="*/ 2490884 h 4749526"/>
              <a:gd name="connsiteX4841" fmla="*/ 1888273 w 7402822"/>
              <a:gd name="connsiteY4841" fmla="*/ 2503027 h 4749526"/>
              <a:gd name="connsiteX4842" fmla="*/ 1885236 w 7402822"/>
              <a:gd name="connsiteY4842" fmla="*/ 2506063 h 4749526"/>
              <a:gd name="connsiteX4843" fmla="*/ 1891308 w 7402822"/>
              <a:gd name="connsiteY4843" fmla="*/ 2518206 h 4749526"/>
              <a:gd name="connsiteX4844" fmla="*/ 1891308 w 7402822"/>
              <a:gd name="connsiteY4844" fmla="*/ 2524278 h 4749526"/>
              <a:gd name="connsiteX4845" fmla="*/ 1888273 w 7402822"/>
              <a:gd name="connsiteY4845" fmla="*/ 2530349 h 4749526"/>
              <a:gd name="connsiteX4846" fmla="*/ 1891308 w 7402822"/>
              <a:gd name="connsiteY4846" fmla="*/ 2542493 h 4749526"/>
              <a:gd name="connsiteX4847" fmla="*/ 1891308 w 7402822"/>
              <a:gd name="connsiteY4847" fmla="*/ 2548565 h 4749526"/>
              <a:gd name="connsiteX4848" fmla="*/ 1897380 w 7402822"/>
              <a:gd name="connsiteY4848" fmla="*/ 2548565 h 4749526"/>
              <a:gd name="connsiteX4849" fmla="*/ 1900415 w 7402822"/>
              <a:gd name="connsiteY4849" fmla="*/ 2560707 h 4749526"/>
              <a:gd name="connsiteX4850" fmla="*/ 1906487 w 7402822"/>
              <a:gd name="connsiteY4850" fmla="*/ 2575886 h 4749526"/>
              <a:gd name="connsiteX4851" fmla="*/ 1900415 w 7402822"/>
              <a:gd name="connsiteY4851" fmla="*/ 2572851 h 4749526"/>
              <a:gd name="connsiteX4852" fmla="*/ 1894344 w 7402822"/>
              <a:gd name="connsiteY4852" fmla="*/ 2569815 h 4749526"/>
              <a:gd name="connsiteX4853" fmla="*/ 1882201 w 7402822"/>
              <a:gd name="connsiteY4853" fmla="*/ 2572851 h 4749526"/>
              <a:gd name="connsiteX4854" fmla="*/ 1894344 w 7402822"/>
              <a:gd name="connsiteY4854" fmla="*/ 2575886 h 4749526"/>
              <a:gd name="connsiteX4855" fmla="*/ 1900415 w 7402822"/>
              <a:gd name="connsiteY4855" fmla="*/ 2572851 h 4749526"/>
              <a:gd name="connsiteX4856" fmla="*/ 1903452 w 7402822"/>
              <a:gd name="connsiteY4856" fmla="*/ 2575886 h 4749526"/>
              <a:gd name="connsiteX4857" fmla="*/ 1900415 w 7402822"/>
              <a:gd name="connsiteY4857" fmla="*/ 2584994 h 4749526"/>
              <a:gd name="connsiteX4858" fmla="*/ 1894344 w 7402822"/>
              <a:gd name="connsiteY4858" fmla="*/ 2588030 h 4749526"/>
              <a:gd name="connsiteX4859" fmla="*/ 1891308 w 7402822"/>
              <a:gd name="connsiteY4859" fmla="*/ 2597137 h 4749526"/>
              <a:gd name="connsiteX4860" fmla="*/ 1885236 w 7402822"/>
              <a:gd name="connsiteY4860" fmla="*/ 2603209 h 4749526"/>
              <a:gd name="connsiteX4861" fmla="*/ 1870057 w 7402822"/>
              <a:gd name="connsiteY4861" fmla="*/ 2609280 h 4749526"/>
              <a:gd name="connsiteX4862" fmla="*/ 1857914 w 7402822"/>
              <a:gd name="connsiteY4862" fmla="*/ 2615352 h 4749526"/>
              <a:gd name="connsiteX4863" fmla="*/ 1851843 w 7402822"/>
              <a:gd name="connsiteY4863" fmla="*/ 2624459 h 4749526"/>
              <a:gd name="connsiteX4864" fmla="*/ 1845771 w 7402822"/>
              <a:gd name="connsiteY4864" fmla="*/ 2624459 h 4749526"/>
              <a:gd name="connsiteX4865" fmla="*/ 1836664 w 7402822"/>
              <a:gd name="connsiteY4865" fmla="*/ 2630531 h 4749526"/>
              <a:gd name="connsiteX4866" fmla="*/ 1833628 w 7402822"/>
              <a:gd name="connsiteY4866" fmla="*/ 2636603 h 4749526"/>
              <a:gd name="connsiteX4867" fmla="*/ 1827556 w 7402822"/>
              <a:gd name="connsiteY4867" fmla="*/ 2642675 h 4749526"/>
              <a:gd name="connsiteX4868" fmla="*/ 1821484 w 7402822"/>
              <a:gd name="connsiteY4868" fmla="*/ 2648746 h 4749526"/>
              <a:gd name="connsiteX4869" fmla="*/ 1815413 w 7402822"/>
              <a:gd name="connsiteY4869" fmla="*/ 2654817 h 4749526"/>
              <a:gd name="connsiteX4870" fmla="*/ 1800233 w 7402822"/>
              <a:gd name="connsiteY4870" fmla="*/ 2660889 h 4749526"/>
              <a:gd name="connsiteX4871" fmla="*/ 1794163 w 7402822"/>
              <a:gd name="connsiteY4871" fmla="*/ 2673033 h 4749526"/>
              <a:gd name="connsiteX4872" fmla="*/ 1791126 w 7402822"/>
              <a:gd name="connsiteY4872" fmla="*/ 2679104 h 4749526"/>
              <a:gd name="connsiteX4873" fmla="*/ 1788091 w 7402822"/>
              <a:gd name="connsiteY4873" fmla="*/ 2688212 h 4749526"/>
              <a:gd name="connsiteX4874" fmla="*/ 1788091 w 7402822"/>
              <a:gd name="connsiteY4874" fmla="*/ 2691247 h 4749526"/>
              <a:gd name="connsiteX4875" fmla="*/ 1785055 w 7402822"/>
              <a:gd name="connsiteY4875" fmla="*/ 2697319 h 4749526"/>
              <a:gd name="connsiteX4876" fmla="*/ 1788091 w 7402822"/>
              <a:gd name="connsiteY4876" fmla="*/ 2712498 h 4749526"/>
              <a:gd name="connsiteX4877" fmla="*/ 1788091 w 7402822"/>
              <a:gd name="connsiteY4877" fmla="*/ 2724641 h 4749526"/>
              <a:gd name="connsiteX4878" fmla="*/ 1794163 w 7402822"/>
              <a:gd name="connsiteY4878" fmla="*/ 2739820 h 4749526"/>
              <a:gd name="connsiteX4879" fmla="*/ 1797198 w 7402822"/>
              <a:gd name="connsiteY4879" fmla="*/ 2745892 h 4749526"/>
              <a:gd name="connsiteX4880" fmla="*/ 1797198 w 7402822"/>
              <a:gd name="connsiteY4880" fmla="*/ 2751964 h 4749526"/>
              <a:gd name="connsiteX4881" fmla="*/ 1809342 w 7402822"/>
              <a:gd name="connsiteY4881" fmla="*/ 2776250 h 4749526"/>
              <a:gd name="connsiteX4882" fmla="*/ 1815413 w 7402822"/>
              <a:gd name="connsiteY4882" fmla="*/ 2800536 h 4749526"/>
              <a:gd name="connsiteX4883" fmla="*/ 1812377 w 7402822"/>
              <a:gd name="connsiteY4883" fmla="*/ 2815715 h 4749526"/>
              <a:gd name="connsiteX4884" fmla="*/ 1809342 w 7402822"/>
              <a:gd name="connsiteY4884" fmla="*/ 2821787 h 4749526"/>
              <a:gd name="connsiteX4885" fmla="*/ 1809342 w 7402822"/>
              <a:gd name="connsiteY4885" fmla="*/ 2827859 h 4749526"/>
              <a:gd name="connsiteX4886" fmla="*/ 1803270 w 7402822"/>
              <a:gd name="connsiteY4886" fmla="*/ 2830895 h 4749526"/>
              <a:gd name="connsiteX4887" fmla="*/ 1797198 w 7402822"/>
              <a:gd name="connsiteY4887" fmla="*/ 2830895 h 4749526"/>
              <a:gd name="connsiteX4888" fmla="*/ 1791126 w 7402822"/>
              <a:gd name="connsiteY4888" fmla="*/ 2830895 h 4749526"/>
              <a:gd name="connsiteX4889" fmla="*/ 1788091 w 7402822"/>
              <a:gd name="connsiteY4889" fmla="*/ 2821787 h 4749526"/>
              <a:gd name="connsiteX4890" fmla="*/ 1785055 w 7402822"/>
              <a:gd name="connsiteY4890" fmla="*/ 2815715 h 4749526"/>
              <a:gd name="connsiteX4891" fmla="*/ 1782019 w 7402822"/>
              <a:gd name="connsiteY4891" fmla="*/ 2812680 h 4749526"/>
              <a:gd name="connsiteX4892" fmla="*/ 1778984 w 7402822"/>
              <a:gd name="connsiteY4892" fmla="*/ 2812680 h 4749526"/>
              <a:gd name="connsiteX4893" fmla="*/ 1778984 w 7402822"/>
              <a:gd name="connsiteY4893" fmla="*/ 2806608 h 4749526"/>
              <a:gd name="connsiteX4894" fmla="*/ 1778984 w 7402822"/>
              <a:gd name="connsiteY4894" fmla="*/ 2794465 h 4749526"/>
              <a:gd name="connsiteX4895" fmla="*/ 1775947 w 7402822"/>
              <a:gd name="connsiteY4895" fmla="*/ 2800536 h 4749526"/>
              <a:gd name="connsiteX4896" fmla="*/ 1772912 w 7402822"/>
              <a:gd name="connsiteY4896" fmla="*/ 2797501 h 4749526"/>
              <a:gd name="connsiteX4897" fmla="*/ 1772912 w 7402822"/>
              <a:gd name="connsiteY4897" fmla="*/ 2794465 h 4749526"/>
              <a:gd name="connsiteX4898" fmla="*/ 1772912 w 7402822"/>
              <a:gd name="connsiteY4898" fmla="*/ 2791429 h 4749526"/>
              <a:gd name="connsiteX4899" fmla="*/ 1769876 w 7402822"/>
              <a:gd name="connsiteY4899" fmla="*/ 2791429 h 4749526"/>
              <a:gd name="connsiteX4900" fmla="*/ 1766840 w 7402822"/>
              <a:gd name="connsiteY4900" fmla="*/ 2791429 h 4749526"/>
              <a:gd name="connsiteX4901" fmla="*/ 1760768 w 7402822"/>
              <a:gd name="connsiteY4901" fmla="*/ 2776250 h 4749526"/>
              <a:gd name="connsiteX4902" fmla="*/ 1757733 w 7402822"/>
              <a:gd name="connsiteY4902" fmla="*/ 2767143 h 4749526"/>
              <a:gd name="connsiteX4903" fmla="*/ 1757733 w 7402822"/>
              <a:gd name="connsiteY4903" fmla="*/ 2764106 h 4749526"/>
              <a:gd name="connsiteX4904" fmla="*/ 1757733 w 7402822"/>
              <a:gd name="connsiteY4904" fmla="*/ 2761071 h 4749526"/>
              <a:gd name="connsiteX4905" fmla="*/ 1760768 w 7402822"/>
              <a:gd name="connsiteY4905" fmla="*/ 2748927 h 4749526"/>
              <a:gd name="connsiteX4906" fmla="*/ 1760768 w 7402822"/>
              <a:gd name="connsiteY4906" fmla="*/ 2742856 h 4749526"/>
              <a:gd name="connsiteX4907" fmla="*/ 1754697 w 7402822"/>
              <a:gd name="connsiteY4907" fmla="*/ 2739820 h 4749526"/>
              <a:gd name="connsiteX4908" fmla="*/ 1751661 w 7402822"/>
              <a:gd name="connsiteY4908" fmla="*/ 2736785 h 4749526"/>
              <a:gd name="connsiteX4909" fmla="*/ 1748625 w 7402822"/>
              <a:gd name="connsiteY4909" fmla="*/ 2733749 h 4749526"/>
              <a:gd name="connsiteX4910" fmla="*/ 1739518 w 7402822"/>
              <a:gd name="connsiteY4910" fmla="*/ 2721605 h 4749526"/>
              <a:gd name="connsiteX4911" fmla="*/ 1724339 w 7402822"/>
              <a:gd name="connsiteY4911" fmla="*/ 2718570 h 4749526"/>
              <a:gd name="connsiteX4912" fmla="*/ 1715232 w 7402822"/>
              <a:gd name="connsiteY4912" fmla="*/ 2724641 h 4749526"/>
              <a:gd name="connsiteX4913" fmla="*/ 1712195 w 7402822"/>
              <a:gd name="connsiteY4913" fmla="*/ 2727677 h 4749526"/>
              <a:gd name="connsiteX4914" fmla="*/ 1706123 w 7402822"/>
              <a:gd name="connsiteY4914" fmla="*/ 2727677 h 4749526"/>
              <a:gd name="connsiteX4915" fmla="*/ 1703088 w 7402822"/>
              <a:gd name="connsiteY4915" fmla="*/ 2724641 h 4749526"/>
              <a:gd name="connsiteX4916" fmla="*/ 1703088 w 7402822"/>
              <a:gd name="connsiteY4916" fmla="*/ 2721605 h 4749526"/>
              <a:gd name="connsiteX4917" fmla="*/ 1697016 w 7402822"/>
              <a:gd name="connsiteY4917" fmla="*/ 2715534 h 4749526"/>
              <a:gd name="connsiteX4918" fmla="*/ 1687909 w 7402822"/>
              <a:gd name="connsiteY4918" fmla="*/ 2712498 h 4749526"/>
              <a:gd name="connsiteX4919" fmla="*/ 1681838 w 7402822"/>
              <a:gd name="connsiteY4919" fmla="*/ 2706426 h 4749526"/>
              <a:gd name="connsiteX4920" fmla="*/ 1672730 w 7402822"/>
              <a:gd name="connsiteY4920" fmla="*/ 2709462 h 4749526"/>
              <a:gd name="connsiteX4921" fmla="*/ 1660587 w 7402822"/>
              <a:gd name="connsiteY4921" fmla="*/ 2712498 h 4749526"/>
              <a:gd name="connsiteX4922" fmla="*/ 1654515 w 7402822"/>
              <a:gd name="connsiteY4922" fmla="*/ 2712498 h 4749526"/>
              <a:gd name="connsiteX4923" fmla="*/ 1651479 w 7402822"/>
              <a:gd name="connsiteY4923" fmla="*/ 2709462 h 4749526"/>
              <a:gd name="connsiteX4924" fmla="*/ 1651479 w 7402822"/>
              <a:gd name="connsiteY4924" fmla="*/ 2703391 h 4749526"/>
              <a:gd name="connsiteX4925" fmla="*/ 1651479 w 7402822"/>
              <a:gd name="connsiteY4925" fmla="*/ 2700355 h 4749526"/>
              <a:gd name="connsiteX4926" fmla="*/ 1642372 w 7402822"/>
              <a:gd name="connsiteY4926" fmla="*/ 2709462 h 4749526"/>
              <a:gd name="connsiteX4927" fmla="*/ 1639336 w 7402822"/>
              <a:gd name="connsiteY4927" fmla="*/ 2712498 h 4749526"/>
              <a:gd name="connsiteX4928" fmla="*/ 1633264 w 7402822"/>
              <a:gd name="connsiteY4928" fmla="*/ 2709462 h 4749526"/>
              <a:gd name="connsiteX4929" fmla="*/ 1624157 w 7402822"/>
              <a:gd name="connsiteY4929" fmla="*/ 2712498 h 4749526"/>
              <a:gd name="connsiteX4930" fmla="*/ 1621121 w 7402822"/>
              <a:gd name="connsiteY4930" fmla="*/ 2718570 h 4749526"/>
              <a:gd name="connsiteX4931" fmla="*/ 1615050 w 7402822"/>
              <a:gd name="connsiteY4931" fmla="*/ 2727677 h 4749526"/>
              <a:gd name="connsiteX4932" fmla="*/ 1630229 w 7402822"/>
              <a:gd name="connsiteY4932" fmla="*/ 2739820 h 4749526"/>
              <a:gd name="connsiteX4933" fmla="*/ 1621121 w 7402822"/>
              <a:gd name="connsiteY4933" fmla="*/ 2739820 h 4749526"/>
              <a:gd name="connsiteX4934" fmla="*/ 1615050 w 7402822"/>
              <a:gd name="connsiteY4934" fmla="*/ 2733749 h 4749526"/>
              <a:gd name="connsiteX4935" fmla="*/ 1605943 w 7402822"/>
              <a:gd name="connsiteY4935" fmla="*/ 2730713 h 4749526"/>
              <a:gd name="connsiteX4936" fmla="*/ 1605943 w 7402822"/>
              <a:gd name="connsiteY4936" fmla="*/ 2739820 h 4749526"/>
              <a:gd name="connsiteX4937" fmla="*/ 1599871 w 7402822"/>
              <a:gd name="connsiteY4937" fmla="*/ 2736785 h 4749526"/>
              <a:gd name="connsiteX4938" fmla="*/ 1593799 w 7402822"/>
              <a:gd name="connsiteY4938" fmla="*/ 2739820 h 4749526"/>
              <a:gd name="connsiteX4939" fmla="*/ 1581656 w 7402822"/>
              <a:gd name="connsiteY4939" fmla="*/ 2736785 h 4749526"/>
              <a:gd name="connsiteX4940" fmla="*/ 1578620 w 7402822"/>
              <a:gd name="connsiteY4940" fmla="*/ 2730713 h 4749526"/>
              <a:gd name="connsiteX4941" fmla="*/ 1572549 w 7402822"/>
              <a:gd name="connsiteY4941" fmla="*/ 2724641 h 4749526"/>
              <a:gd name="connsiteX4942" fmla="*/ 1566477 w 7402822"/>
              <a:gd name="connsiteY4942" fmla="*/ 2724641 h 4749526"/>
              <a:gd name="connsiteX4943" fmla="*/ 1566477 w 7402822"/>
              <a:gd name="connsiteY4943" fmla="*/ 2727677 h 4749526"/>
              <a:gd name="connsiteX4944" fmla="*/ 1545226 w 7402822"/>
              <a:gd name="connsiteY4944" fmla="*/ 2724641 h 4749526"/>
              <a:gd name="connsiteX4945" fmla="*/ 1533083 w 7402822"/>
              <a:gd name="connsiteY4945" fmla="*/ 2724641 h 4749526"/>
              <a:gd name="connsiteX4946" fmla="*/ 1520940 w 7402822"/>
              <a:gd name="connsiteY4946" fmla="*/ 2727677 h 4749526"/>
              <a:gd name="connsiteX4947" fmla="*/ 1508796 w 7402822"/>
              <a:gd name="connsiteY4947" fmla="*/ 2736785 h 4749526"/>
              <a:gd name="connsiteX4948" fmla="*/ 1502725 w 7402822"/>
              <a:gd name="connsiteY4948" fmla="*/ 2739820 h 4749526"/>
              <a:gd name="connsiteX4949" fmla="*/ 1499689 w 7402822"/>
              <a:gd name="connsiteY4949" fmla="*/ 2745892 h 4749526"/>
              <a:gd name="connsiteX4950" fmla="*/ 1487546 w 7402822"/>
              <a:gd name="connsiteY4950" fmla="*/ 2751964 h 4749526"/>
              <a:gd name="connsiteX4951" fmla="*/ 1481475 w 7402822"/>
              <a:gd name="connsiteY4951" fmla="*/ 2751964 h 4749526"/>
              <a:gd name="connsiteX4952" fmla="*/ 1472366 w 7402822"/>
              <a:gd name="connsiteY4952" fmla="*/ 2751964 h 4749526"/>
              <a:gd name="connsiteX4953" fmla="*/ 1469331 w 7402822"/>
              <a:gd name="connsiteY4953" fmla="*/ 2754999 h 4749526"/>
              <a:gd name="connsiteX4954" fmla="*/ 1469331 w 7402822"/>
              <a:gd name="connsiteY4954" fmla="*/ 2761071 h 4749526"/>
              <a:gd name="connsiteX4955" fmla="*/ 1463260 w 7402822"/>
              <a:gd name="connsiteY4955" fmla="*/ 2764106 h 4749526"/>
              <a:gd name="connsiteX4956" fmla="*/ 1463260 w 7402822"/>
              <a:gd name="connsiteY4956" fmla="*/ 2767143 h 4749526"/>
              <a:gd name="connsiteX4957" fmla="*/ 1457188 w 7402822"/>
              <a:gd name="connsiteY4957" fmla="*/ 2770178 h 4749526"/>
              <a:gd name="connsiteX4958" fmla="*/ 1457188 w 7402822"/>
              <a:gd name="connsiteY4958" fmla="*/ 2779285 h 4749526"/>
              <a:gd name="connsiteX4959" fmla="*/ 1454152 w 7402822"/>
              <a:gd name="connsiteY4959" fmla="*/ 2782322 h 4749526"/>
              <a:gd name="connsiteX4960" fmla="*/ 1454152 w 7402822"/>
              <a:gd name="connsiteY4960" fmla="*/ 2785357 h 4749526"/>
              <a:gd name="connsiteX4961" fmla="*/ 1454152 w 7402822"/>
              <a:gd name="connsiteY4961" fmla="*/ 2794465 h 4749526"/>
              <a:gd name="connsiteX4962" fmla="*/ 1455396 w 7402822"/>
              <a:gd name="connsiteY4962" fmla="*/ 2799441 h 4749526"/>
              <a:gd name="connsiteX4963" fmla="*/ 1461742 w 7402822"/>
              <a:gd name="connsiteY4963" fmla="*/ 2809644 h 4749526"/>
              <a:gd name="connsiteX4964" fmla="*/ 1459466 w 7402822"/>
              <a:gd name="connsiteY4964" fmla="*/ 2816475 h 4749526"/>
              <a:gd name="connsiteX4965" fmla="*/ 1459236 w 7402822"/>
              <a:gd name="connsiteY4965" fmla="*/ 2816628 h 4749526"/>
              <a:gd name="connsiteX4966" fmla="*/ 1454151 w 7402822"/>
              <a:gd name="connsiteY4966" fmla="*/ 2836966 h 4749526"/>
              <a:gd name="connsiteX4967" fmla="*/ 1451115 w 7402822"/>
              <a:gd name="connsiteY4967" fmla="*/ 2849109 h 4749526"/>
              <a:gd name="connsiteX4968" fmla="*/ 1448079 w 7402822"/>
              <a:gd name="connsiteY4968" fmla="*/ 2855181 h 4749526"/>
              <a:gd name="connsiteX4969" fmla="*/ 1448079 w 7402822"/>
              <a:gd name="connsiteY4969" fmla="*/ 2861253 h 4749526"/>
              <a:gd name="connsiteX4970" fmla="*/ 1448079 w 7402822"/>
              <a:gd name="connsiteY4970" fmla="*/ 2876432 h 4749526"/>
              <a:gd name="connsiteX4971" fmla="*/ 1448079 w 7402822"/>
              <a:gd name="connsiteY4971" fmla="*/ 2882504 h 4749526"/>
              <a:gd name="connsiteX4972" fmla="*/ 1445044 w 7402822"/>
              <a:gd name="connsiteY4972" fmla="*/ 2888574 h 4749526"/>
              <a:gd name="connsiteX4973" fmla="*/ 1448079 w 7402822"/>
              <a:gd name="connsiteY4973" fmla="*/ 2897683 h 4749526"/>
              <a:gd name="connsiteX4974" fmla="*/ 1451115 w 7402822"/>
              <a:gd name="connsiteY4974" fmla="*/ 2909825 h 4749526"/>
              <a:gd name="connsiteX4975" fmla="*/ 1454151 w 7402822"/>
              <a:gd name="connsiteY4975" fmla="*/ 2918933 h 4749526"/>
              <a:gd name="connsiteX4976" fmla="*/ 1460223 w 7402822"/>
              <a:gd name="connsiteY4976" fmla="*/ 2931076 h 4749526"/>
              <a:gd name="connsiteX4977" fmla="*/ 1469330 w 7402822"/>
              <a:gd name="connsiteY4977" fmla="*/ 2940184 h 4749526"/>
              <a:gd name="connsiteX4978" fmla="*/ 1478437 w 7402822"/>
              <a:gd name="connsiteY4978" fmla="*/ 2952327 h 4749526"/>
              <a:gd name="connsiteX4979" fmla="*/ 1478437 w 7402822"/>
              <a:gd name="connsiteY4979" fmla="*/ 2958398 h 4749526"/>
              <a:gd name="connsiteX4980" fmla="*/ 1481474 w 7402822"/>
              <a:gd name="connsiteY4980" fmla="*/ 2961435 h 4749526"/>
              <a:gd name="connsiteX4981" fmla="*/ 1490581 w 7402822"/>
              <a:gd name="connsiteY4981" fmla="*/ 2973577 h 4749526"/>
              <a:gd name="connsiteX4982" fmla="*/ 1502724 w 7402822"/>
              <a:gd name="connsiteY4982" fmla="*/ 2973577 h 4749526"/>
              <a:gd name="connsiteX4983" fmla="*/ 1511831 w 7402822"/>
              <a:gd name="connsiteY4983" fmla="*/ 2979649 h 4749526"/>
              <a:gd name="connsiteX4984" fmla="*/ 1514867 w 7402822"/>
              <a:gd name="connsiteY4984" fmla="*/ 2985721 h 4749526"/>
              <a:gd name="connsiteX4985" fmla="*/ 1523975 w 7402822"/>
              <a:gd name="connsiteY4985" fmla="*/ 2985721 h 4749526"/>
              <a:gd name="connsiteX4986" fmla="*/ 1533082 w 7402822"/>
              <a:gd name="connsiteY4986" fmla="*/ 2979649 h 4749526"/>
              <a:gd name="connsiteX4987" fmla="*/ 1542189 w 7402822"/>
              <a:gd name="connsiteY4987" fmla="*/ 2979649 h 4749526"/>
              <a:gd name="connsiteX4988" fmla="*/ 1551297 w 7402822"/>
              <a:gd name="connsiteY4988" fmla="*/ 2976614 h 4749526"/>
              <a:gd name="connsiteX4989" fmla="*/ 1560405 w 7402822"/>
              <a:gd name="connsiteY4989" fmla="*/ 2973577 h 4749526"/>
              <a:gd name="connsiteX4990" fmla="*/ 1569512 w 7402822"/>
              <a:gd name="connsiteY4990" fmla="*/ 2973577 h 4749526"/>
              <a:gd name="connsiteX4991" fmla="*/ 1569512 w 7402822"/>
              <a:gd name="connsiteY4991" fmla="*/ 2979649 h 4749526"/>
              <a:gd name="connsiteX4992" fmla="*/ 1581655 w 7402822"/>
              <a:gd name="connsiteY4992" fmla="*/ 2976614 h 4749526"/>
              <a:gd name="connsiteX4993" fmla="*/ 1584691 w 7402822"/>
              <a:gd name="connsiteY4993" fmla="*/ 2973577 h 4749526"/>
              <a:gd name="connsiteX4994" fmla="*/ 1587727 w 7402822"/>
              <a:gd name="connsiteY4994" fmla="*/ 2967506 h 4749526"/>
              <a:gd name="connsiteX4995" fmla="*/ 1593798 w 7402822"/>
              <a:gd name="connsiteY4995" fmla="*/ 2958398 h 4749526"/>
              <a:gd name="connsiteX4996" fmla="*/ 1596834 w 7402822"/>
              <a:gd name="connsiteY4996" fmla="*/ 2949291 h 4749526"/>
              <a:gd name="connsiteX4997" fmla="*/ 1599870 w 7402822"/>
              <a:gd name="connsiteY4997" fmla="*/ 2949291 h 4749526"/>
              <a:gd name="connsiteX4998" fmla="*/ 1599870 w 7402822"/>
              <a:gd name="connsiteY4998" fmla="*/ 2943219 h 4749526"/>
              <a:gd name="connsiteX4999" fmla="*/ 1599870 w 7402822"/>
              <a:gd name="connsiteY4999" fmla="*/ 2940184 h 4749526"/>
              <a:gd name="connsiteX5000" fmla="*/ 1599870 w 7402822"/>
              <a:gd name="connsiteY5000" fmla="*/ 2931076 h 4749526"/>
              <a:gd name="connsiteX5001" fmla="*/ 1602905 w 7402822"/>
              <a:gd name="connsiteY5001" fmla="*/ 2921969 h 4749526"/>
              <a:gd name="connsiteX5002" fmla="*/ 1615049 w 7402822"/>
              <a:gd name="connsiteY5002" fmla="*/ 2918933 h 4749526"/>
              <a:gd name="connsiteX5003" fmla="*/ 1627192 w 7402822"/>
              <a:gd name="connsiteY5003" fmla="*/ 2915897 h 4749526"/>
              <a:gd name="connsiteX5004" fmla="*/ 1645407 w 7402822"/>
              <a:gd name="connsiteY5004" fmla="*/ 2912862 h 4749526"/>
              <a:gd name="connsiteX5005" fmla="*/ 1651479 w 7402822"/>
              <a:gd name="connsiteY5005" fmla="*/ 2909825 h 4749526"/>
              <a:gd name="connsiteX5006" fmla="*/ 1657550 w 7402822"/>
              <a:gd name="connsiteY5006" fmla="*/ 2912862 h 4749526"/>
              <a:gd name="connsiteX5007" fmla="*/ 1666657 w 7402822"/>
              <a:gd name="connsiteY5007" fmla="*/ 2915897 h 4749526"/>
              <a:gd name="connsiteX5008" fmla="*/ 1669693 w 7402822"/>
              <a:gd name="connsiteY5008" fmla="*/ 2909825 h 4749526"/>
              <a:gd name="connsiteX5009" fmla="*/ 1675765 w 7402822"/>
              <a:gd name="connsiteY5009" fmla="*/ 2915897 h 4749526"/>
              <a:gd name="connsiteX5010" fmla="*/ 1672730 w 7402822"/>
              <a:gd name="connsiteY5010" fmla="*/ 2928041 h 4749526"/>
              <a:gd name="connsiteX5011" fmla="*/ 1666657 w 7402822"/>
              <a:gd name="connsiteY5011" fmla="*/ 2934112 h 4749526"/>
              <a:gd name="connsiteX5012" fmla="*/ 1663622 w 7402822"/>
              <a:gd name="connsiteY5012" fmla="*/ 2940184 h 4749526"/>
              <a:gd name="connsiteX5013" fmla="*/ 1660586 w 7402822"/>
              <a:gd name="connsiteY5013" fmla="*/ 2949291 h 4749526"/>
              <a:gd name="connsiteX5014" fmla="*/ 1660586 w 7402822"/>
              <a:gd name="connsiteY5014" fmla="*/ 2952327 h 4749526"/>
              <a:gd name="connsiteX5015" fmla="*/ 1660586 w 7402822"/>
              <a:gd name="connsiteY5015" fmla="*/ 2958398 h 4749526"/>
              <a:gd name="connsiteX5016" fmla="*/ 1657550 w 7402822"/>
              <a:gd name="connsiteY5016" fmla="*/ 2970542 h 4749526"/>
              <a:gd name="connsiteX5017" fmla="*/ 1654514 w 7402822"/>
              <a:gd name="connsiteY5017" fmla="*/ 2979649 h 4749526"/>
              <a:gd name="connsiteX5018" fmla="*/ 1648443 w 7402822"/>
              <a:gd name="connsiteY5018" fmla="*/ 2976614 h 4749526"/>
              <a:gd name="connsiteX5019" fmla="*/ 1645407 w 7402822"/>
              <a:gd name="connsiteY5019" fmla="*/ 2973577 h 4749526"/>
              <a:gd name="connsiteX5020" fmla="*/ 1645407 w 7402822"/>
              <a:gd name="connsiteY5020" fmla="*/ 2974325 h 4749526"/>
              <a:gd name="connsiteX5021" fmla="*/ 1646167 w 7402822"/>
              <a:gd name="connsiteY5021" fmla="*/ 2980408 h 4749526"/>
              <a:gd name="connsiteX5022" fmla="*/ 1646167 w 7402822"/>
              <a:gd name="connsiteY5022" fmla="*/ 2980409 h 4749526"/>
              <a:gd name="connsiteX5023" fmla="*/ 1648444 w 7402822"/>
              <a:gd name="connsiteY5023" fmla="*/ 2982685 h 4749526"/>
              <a:gd name="connsiteX5024" fmla="*/ 1648444 w 7402822"/>
              <a:gd name="connsiteY5024" fmla="*/ 2985721 h 4749526"/>
              <a:gd name="connsiteX5025" fmla="*/ 1645408 w 7402822"/>
              <a:gd name="connsiteY5025" fmla="*/ 2994828 h 4749526"/>
              <a:gd name="connsiteX5026" fmla="*/ 1645408 w 7402822"/>
              <a:gd name="connsiteY5026" fmla="*/ 3000900 h 4749526"/>
              <a:gd name="connsiteX5027" fmla="*/ 1645408 w 7402822"/>
              <a:gd name="connsiteY5027" fmla="*/ 3010007 h 4749526"/>
              <a:gd name="connsiteX5028" fmla="*/ 1642372 w 7402822"/>
              <a:gd name="connsiteY5028" fmla="*/ 3019114 h 4749526"/>
              <a:gd name="connsiteX5029" fmla="*/ 1639336 w 7402822"/>
              <a:gd name="connsiteY5029" fmla="*/ 3025186 h 4749526"/>
              <a:gd name="connsiteX5030" fmla="*/ 1633264 w 7402822"/>
              <a:gd name="connsiteY5030" fmla="*/ 3028222 h 4749526"/>
              <a:gd name="connsiteX5031" fmla="*/ 1633264 w 7402822"/>
              <a:gd name="connsiteY5031" fmla="*/ 3031258 h 4749526"/>
              <a:gd name="connsiteX5032" fmla="*/ 1630229 w 7402822"/>
              <a:gd name="connsiteY5032" fmla="*/ 3034294 h 4749526"/>
              <a:gd name="connsiteX5033" fmla="*/ 1639336 w 7402822"/>
              <a:gd name="connsiteY5033" fmla="*/ 3037330 h 4749526"/>
              <a:gd name="connsiteX5034" fmla="*/ 1645408 w 7402822"/>
              <a:gd name="connsiteY5034" fmla="*/ 3037330 h 4749526"/>
              <a:gd name="connsiteX5035" fmla="*/ 1654515 w 7402822"/>
              <a:gd name="connsiteY5035" fmla="*/ 3034294 h 4749526"/>
              <a:gd name="connsiteX5036" fmla="*/ 1660587 w 7402822"/>
              <a:gd name="connsiteY5036" fmla="*/ 3037330 h 4749526"/>
              <a:gd name="connsiteX5037" fmla="*/ 1666658 w 7402822"/>
              <a:gd name="connsiteY5037" fmla="*/ 3037330 h 4749526"/>
              <a:gd name="connsiteX5038" fmla="*/ 1678802 w 7402822"/>
              <a:gd name="connsiteY5038" fmla="*/ 3037330 h 4749526"/>
              <a:gd name="connsiteX5039" fmla="*/ 1690945 w 7402822"/>
              <a:gd name="connsiteY5039" fmla="*/ 3034294 h 4749526"/>
              <a:gd name="connsiteX5040" fmla="*/ 1715232 w 7402822"/>
              <a:gd name="connsiteY5040" fmla="*/ 3034294 h 4749526"/>
              <a:gd name="connsiteX5041" fmla="*/ 1727374 w 7402822"/>
              <a:gd name="connsiteY5041" fmla="*/ 3037330 h 4749526"/>
              <a:gd name="connsiteX5042" fmla="*/ 1733446 w 7402822"/>
              <a:gd name="connsiteY5042" fmla="*/ 3043401 h 4749526"/>
              <a:gd name="connsiteX5043" fmla="*/ 1730410 w 7402822"/>
              <a:gd name="connsiteY5043" fmla="*/ 3043401 h 4749526"/>
              <a:gd name="connsiteX5044" fmla="*/ 1733446 w 7402822"/>
              <a:gd name="connsiteY5044" fmla="*/ 3046437 h 4749526"/>
              <a:gd name="connsiteX5045" fmla="*/ 1736482 w 7402822"/>
              <a:gd name="connsiteY5045" fmla="*/ 3049473 h 4749526"/>
              <a:gd name="connsiteX5046" fmla="*/ 1739518 w 7402822"/>
              <a:gd name="connsiteY5046" fmla="*/ 3046437 h 4749526"/>
              <a:gd name="connsiteX5047" fmla="*/ 1742554 w 7402822"/>
              <a:gd name="connsiteY5047" fmla="*/ 3046437 h 4749526"/>
              <a:gd name="connsiteX5048" fmla="*/ 1751661 w 7402822"/>
              <a:gd name="connsiteY5048" fmla="*/ 3052509 h 4749526"/>
              <a:gd name="connsiteX5049" fmla="*/ 1745589 w 7402822"/>
              <a:gd name="connsiteY5049" fmla="*/ 3055545 h 4749526"/>
              <a:gd name="connsiteX5050" fmla="*/ 1748625 w 7402822"/>
              <a:gd name="connsiteY5050" fmla="*/ 3061616 h 4749526"/>
              <a:gd name="connsiteX5051" fmla="*/ 1748625 w 7402822"/>
              <a:gd name="connsiteY5051" fmla="*/ 3070724 h 4749526"/>
              <a:gd name="connsiteX5052" fmla="*/ 1745589 w 7402822"/>
              <a:gd name="connsiteY5052" fmla="*/ 3076795 h 4749526"/>
              <a:gd name="connsiteX5053" fmla="*/ 1742554 w 7402822"/>
              <a:gd name="connsiteY5053" fmla="*/ 3082866 h 4749526"/>
              <a:gd name="connsiteX5054" fmla="*/ 1742554 w 7402822"/>
              <a:gd name="connsiteY5054" fmla="*/ 3085903 h 4749526"/>
              <a:gd name="connsiteX5055" fmla="*/ 1742554 w 7402822"/>
              <a:gd name="connsiteY5055" fmla="*/ 3095010 h 4749526"/>
              <a:gd name="connsiteX5056" fmla="*/ 1742554 w 7402822"/>
              <a:gd name="connsiteY5056" fmla="*/ 3104117 h 4749526"/>
              <a:gd name="connsiteX5057" fmla="*/ 1739518 w 7402822"/>
              <a:gd name="connsiteY5057" fmla="*/ 3116261 h 4749526"/>
              <a:gd name="connsiteX5058" fmla="*/ 1739518 w 7402822"/>
              <a:gd name="connsiteY5058" fmla="*/ 3122333 h 4749526"/>
              <a:gd name="connsiteX5059" fmla="*/ 1739518 w 7402822"/>
              <a:gd name="connsiteY5059" fmla="*/ 3125368 h 4749526"/>
              <a:gd name="connsiteX5060" fmla="*/ 1736482 w 7402822"/>
              <a:gd name="connsiteY5060" fmla="*/ 3128404 h 4749526"/>
              <a:gd name="connsiteX5061" fmla="*/ 1739518 w 7402822"/>
              <a:gd name="connsiteY5061" fmla="*/ 3140547 h 4749526"/>
              <a:gd name="connsiteX5062" fmla="*/ 1739518 w 7402822"/>
              <a:gd name="connsiteY5062" fmla="*/ 3143583 h 4749526"/>
              <a:gd name="connsiteX5063" fmla="*/ 1742554 w 7402822"/>
              <a:gd name="connsiteY5063" fmla="*/ 3146619 h 4749526"/>
              <a:gd name="connsiteX5064" fmla="*/ 1748625 w 7402822"/>
              <a:gd name="connsiteY5064" fmla="*/ 3155726 h 4749526"/>
              <a:gd name="connsiteX5065" fmla="*/ 1760768 w 7402822"/>
              <a:gd name="connsiteY5065" fmla="*/ 3167869 h 4749526"/>
              <a:gd name="connsiteX5066" fmla="*/ 1763804 w 7402822"/>
              <a:gd name="connsiteY5066" fmla="*/ 3167869 h 4749526"/>
              <a:gd name="connsiteX5067" fmla="*/ 1766840 w 7402822"/>
              <a:gd name="connsiteY5067" fmla="*/ 3173941 h 4749526"/>
              <a:gd name="connsiteX5068" fmla="*/ 1772912 w 7402822"/>
              <a:gd name="connsiteY5068" fmla="*/ 3180013 h 4749526"/>
              <a:gd name="connsiteX5069" fmla="*/ 1785055 w 7402822"/>
              <a:gd name="connsiteY5069" fmla="*/ 3183048 h 4749526"/>
              <a:gd name="connsiteX5070" fmla="*/ 1800233 w 7402822"/>
              <a:gd name="connsiteY5070" fmla="*/ 3180013 h 4749526"/>
              <a:gd name="connsiteX5071" fmla="*/ 1815413 w 7402822"/>
              <a:gd name="connsiteY5071" fmla="*/ 3173941 h 4749526"/>
              <a:gd name="connsiteX5072" fmla="*/ 1818449 w 7402822"/>
              <a:gd name="connsiteY5072" fmla="*/ 3170905 h 4749526"/>
              <a:gd name="connsiteX5073" fmla="*/ 1833628 w 7402822"/>
              <a:gd name="connsiteY5073" fmla="*/ 3167869 h 4749526"/>
              <a:gd name="connsiteX5074" fmla="*/ 1845771 w 7402822"/>
              <a:gd name="connsiteY5074" fmla="*/ 3170905 h 4749526"/>
              <a:gd name="connsiteX5075" fmla="*/ 1854878 w 7402822"/>
              <a:gd name="connsiteY5075" fmla="*/ 3173941 h 4749526"/>
              <a:gd name="connsiteX5076" fmla="*/ 1860950 w 7402822"/>
              <a:gd name="connsiteY5076" fmla="*/ 3180013 h 4749526"/>
              <a:gd name="connsiteX5077" fmla="*/ 1870057 w 7402822"/>
              <a:gd name="connsiteY5077" fmla="*/ 3186085 h 4749526"/>
              <a:gd name="connsiteX5078" fmla="*/ 1879165 w 7402822"/>
              <a:gd name="connsiteY5078" fmla="*/ 3198227 h 4749526"/>
              <a:gd name="connsiteX5079" fmla="*/ 1885236 w 7402822"/>
              <a:gd name="connsiteY5079" fmla="*/ 3186085 h 4749526"/>
              <a:gd name="connsiteX5080" fmla="*/ 1891308 w 7402822"/>
              <a:gd name="connsiteY5080" fmla="*/ 3180013 h 4749526"/>
              <a:gd name="connsiteX5081" fmla="*/ 1891308 w 7402822"/>
              <a:gd name="connsiteY5081" fmla="*/ 3176977 h 4749526"/>
              <a:gd name="connsiteX5082" fmla="*/ 1900415 w 7402822"/>
              <a:gd name="connsiteY5082" fmla="*/ 3170905 h 4749526"/>
              <a:gd name="connsiteX5083" fmla="*/ 1906487 w 7402822"/>
              <a:gd name="connsiteY5083" fmla="*/ 3167869 h 4749526"/>
              <a:gd name="connsiteX5084" fmla="*/ 1906487 w 7402822"/>
              <a:gd name="connsiteY5084" fmla="*/ 3152690 h 4749526"/>
              <a:gd name="connsiteX5085" fmla="*/ 1909524 w 7402822"/>
              <a:gd name="connsiteY5085" fmla="*/ 3143583 h 4749526"/>
              <a:gd name="connsiteX5086" fmla="*/ 1921666 w 7402822"/>
              <a:gd name="connsiteY5086" fmla="*/ 3134475 h 4749526"/>
              <a:gd name="connsiteX5087" fmla="*/ 1930773 w 7402822"/>
              <a:gd name="connsiteY5087" fmla="*/ 3137512 h 4749526"/>
              <a:gd name="connsiteX5088" fmla="*/ 1936845 w 7402822"/>
              <a:gd name="connsiteY5088" fmla="*/ 3131440 h 4749526"/>
              <a:gd name="connsiteX5089" fmla="*/ 1945953 w 7402822"/>
              <a:gd name="connsiteY5089" fmla="*/ 3131440 h 4749526"/>
              <a:gd name="connsiteX5090" fmla="*/ 1952024 w 7402822"/>
              <a:gd name="connsiteY5090" fmla="*/ 3131440 h 4749526"/>
              <a:gd name="connsiteX5091" fmla="*/ 1961132 w 7402822"/>
              <a:gd name="connsiteY5091" fmla="*/ 3128404 h 4749526"/>
              <a:gd name="connsiteX5092" fmla="*/ 1967204 w 7402822"/>
              <a:gd name="connsiteY5092" fmla="*/ 3122333 h 4749526"/>
              <a:gd name="connsiteX5093" fmla="*/ 1976311 w 7402822"/>
              <a:gd name="connsiteY5093" fmla="*/ 3119296 h 4749526"/>
              <a:gd name="connsiteX5094" fmla="*/ 1988454 w 7402822"/>
              <a:gd name="connsiteY5094" fmla="*/ 3110189 h 4749526"/>
              <a:gd name="connsiteX5095" fmla="*/ 1994525 w 7402822"/>
              <a:gd name="connsiteY5095" fmla="*/ 3110189 h 4749526"/>
              <a:gd name="connsiteX5096" fmla="*/ 1997562 w 7402822"/>
              <a:gd name="connsiteY5096" fmla="*/ 3116261 h 4749526"/>
              <a:gd name="connsiteX5097" fmla="*/ 1994525 w 7402822"/>
              <a:gd name="connsiteY5097" fmla="*/ 3119296 h 4749526"/>
              <a:gd name="connsiteX5098" fmla="*/ 1982383 w 7402822"/>
              <a:gd name="connsiteY5098" fmla="*/ 3125368 h 4749526"/>
              <a:gd name="connsiteX5099" fmla="*/ 1982383 w 7402822"/>
              <a:gd name="connsiteY5099" fmla="*/ 3134475 h 4749526"/>
              <a:gd name="connsiteX5100" fmla="*/ 1988454 w 7402822"/>
              <a:gd name="connsiteY5100" fmla="*/ 3143583 h 4749526"/>
              <a:gd name="connsiteX5101" fmla="*/ 1985418 w 7402822"/>
              <a:gd name="connsiteY5101" fmla="*/ 3152690 h 4749526"/>
              <a:gd name="connsiteX5102" fmla="*/ 1979346 w 7402822"/>
              <a:gd name="connsiteY5102" fmla="*/ 3161798 h 4749526"/>
              <a:gd name="connsiteX5103" fmla="*/ 1979346 w 7402822"/>
              <a:gd name="connsiteY5103" fmla="*/ 3167869 h 4749526"/>
              <a:gd name="connsiteX5104" fmla="*/ 1982383 w 7402822"/>
              <a:gd name="connsiteY5104" fmla="*/ 3170905 h 4749526"/>
              <a:gd name="connsiteX5105" fmla="*/ 1985418 w 7402822"/>
              <a:gd name="connsiteY5105" fmla="*/ 3173941 h 4749526"/>
              <a:gd name="connsiteX5106" fmla="*/ 1985418 w 7402822"/>
              <a:gd name="connsiteY5106" fmla="*/ 3176977 h 4749526"/>
              <a:gd name="connsiteX5107" fmla="*/ 1994525 w 7402822"/>
              <a:gd name="connsiteY5107" fmla="*/ 3176977 h 4749526"/>
              <a:gd name="connsiteX5108" fmla="*/ 2000597 w 7402822"/>
              <a:gd name="connsiteY5108" fmla="*/ 3167869 h 4749526"/>
              <a:gd name="connsiteX5109" fmla="*/ 1991490 w 7402822"/>
              <a:gd name="connsiteY5109" fmla="*/ 3146619 h 4749526"/>
              <a:gd name="connsiteX5110" fmla="*/ 1994525 w 7402822"/>
              <a:gd name="connsiteY5110" fmla="*/ 3137512 h 4749526"/>
              <a:gd name="connsiteX5111" fmla="*/ 2003634 w 7402822"/>
              <a:gd name="connsiteY5111" fmla="*/ 3134475 h 4749526"/>
              <a:gd name="connsiteX5112" fmla="*/ 2015776 w 7402822"/>
              <a:gd name="connsiteY5112" fmla="*/ 3128404 h 4749526"/>
              <a:gd name="connsiteX5113" fmla="*/ 2021848 w 7402822"/>
              <a:gd name="connsiteY5113" fmla="*/ 3128404 h 4749526"/>
              <a:gd name="connsiteX5114" fmla="*/ 2024883 w 7402822"/>
              <a:gd name="connsiteY5114" fmla="*/ 3128404 h 4749526"/>
              <a:gd name="connsiteX5115" fmla="*/ 2024883 w 7402822"/>
              <a:gd name="connsiteY5115" fmla="*/ 3125368 h 4749526"/>
              <a:gd name="connsiteX5116" fmla="*/ 2021848 w 7402822"/>
              <a:gd name="connsiteY5116" fmla="*/ 3125368 h 4749526"/>
              <a:gd name="connsiteX5117" fmla="*/ 2015776 w 7402822"/>
              <a:gd name="connsiteY5117" fmla="*/ 3122333 h 4749526"/>
              <a:gd name="connsiteX5118" fmla="*/ 2021848 w 7402822"/>
              <a:gd name="connsiteY5118" fmla="*/ 3113224 h 4749526"/>
              <a:gd name="connsiteX5119" fmla="*/ 2027920 w 7402822"/>
              <a:gd name="connsiteY5119" fmla="*/ 3119296 h 4749526"/>
              <a:gd name="connsiteX5120" fmla="*/ 2030955 w 7402822"/>
              <a:gd name="connsiteY5120" fmla="*/ 3128404 h 4749526"/>
              <a:gd name="connsiteX5121" fmla="*/ 2037027 w 7402822"/>
              <a:gd name="connsiteY5121" fmla="*/ 3128404 h 4749526"/>
              <a:gd name="connsiteX5122" fmla="*/ 2049170 w 7402822"/>
              <a:gd name="connsiteY5122" fmla="*/ 3131440 h 4749526"/>
              <a:gd name="connsiteX5123" fmla="*/ 2055242 w 7402822"/>
              <a:gd name="connsiteY5123" fmla="*/ 3140547 h 4749526"/>
              <a:gd name="connsiteX5124" fmla="*/ 2061313 w 7402822"/>
              <a:gd name="connsiteY5124" fmla="*/ 3149654 h 4749526"/>
              <a:gd name="connsiteX5125" fmla="*/ 2070421 w 7402822"/>
              <a:gd name="connsiteY5125" fmla="*/ 3149654 h 4749526"/>
              <a:gd name="connsiteX5126" fmla="*/ 2085600 w 7402822"/>
              <a:gd name="connsiteY5126" fmla="*/ 3146619 h 4749526"/>
              <a:gd name="connsiteX5127" fmla="*/ 2091672 w 7402822"/>
              <a:gd name="connsiteY5127" fmla="*/ 3146619 h 4749526"/>
              <a:gd name="connsiteX5128" fmla="*/ 2097743 w 7402822"/>
              <a:gd name="connsiteY5128" fmla="*/ 3146619 h 4749526"/>
              <a:gd name="connsiteX5129" fmla="*/ 2103814 w 7402822"/>
              <a:gd name="connsiteY5129" fmla="*/ 3149654 h 4749526"/>
              <a:gd name="connsiteX5130" fmla="*/ 2106851 w 7402822"/>
              <a:gd name="connsiteY5130" fmla="*/ 3152690 h 4749526"/>
              <a:gd name="connsiteX5131" fmla="*/ 2118993 w 7402822"/>
              <a:gd name="connsiteY5131" fmla="*/ 3155726 h 4749526"/>
              <a:gd name="connsiteX5132" fmla="*/ 2131137 w 7402822"/>
              <a:gd name="connsiteY5132" fmla="*/ 3155726 h 4749526"/>
              <a:gd name="connsiteX5133" fmla="*/ 2143280 w 7402822"/>
              <a:gd name="connsiteY5133" fmla="*/ 3149654 h 4749526"/>
              <a:gd name="connsiteX5134" fmla="*/ 2152388 w 7402822"/>
              <a:gd name="connsiteY5134" fmla="*/ 3149654 h 4749526"/>
              <a:gd name="connsiteX5135" fmla="*/ 2140244 w 7402822"/>
              <a:gd name="connsiteY5135" fmla="*/ 3146619 h 4749526"/>
              <a:gd name="connsiteX5136" fmla="*/ 2161495 w 7402822"/>
              <a:gd name="connsiteY5136" fmla="*/ 3143583 h 4749526"/>
              <a:gd name="connsiteX5137" fmla="*/ 2173638 w 7402822"/>
              <a:gd name="connsiteY5137" fmla="*/ 3143583 h 4749526"/>
              <a:gd name="connsiteX5138" fmla="*/ 2182746 w 7402822"/>
              <a:gd name="connsiteY5138" fmla="*/ 3146619 h 4749526"/>
              <a:gd name="connsiteX5139" fmla="*/ 2179710 w 7402822"/>
              <a:gd name="connsiteY5139" fmla="*/ 3146619 h 4749526"/>
              <a:gd name="connsiteX5140" fmla="*/ 2176674 w 7402822"/>
              <a:gd name="connsiteY5140" fmla="*/ 3146619 h 4749526"/>
              <a:gd name="connsiteX5141" fmla="*/ 2170602 w 7402822"/>
              <a:gd name="connsiteY5141" fmla="*/ 3146619 h 4749526"/>
              <a:gd name="connsiteX5142" fmla="*/ 2170602 w 7402822"/>
              <a:gd name="connsiteY5142" fmla="*/ 3149654 h 4749526"/>
              <a:gd name="connsiteX5143" fmla="*/ 2176674 w 7402822"/>
              <a:gd name="connsiteY5143" fmla="*/ 3158762 h 4749526"/>
              <a:gd name="connsiteX5144" fmla="*/ 2176674 w 7402822"/>
              <a:gd name="connsiteY5144" fmla="*/ 3161798 h 4749526"/>
              <a:gd name="connsiteX5145" fmla="*/ 2179710 w 7402822"/>
              <a:gd name="connsiteY5145" fmla="*/ 3164834 h 4749526"/>
              <a:gd name="connsiteX5146" fmla="*/ 2182746 w 7402822"/>
              <a:gd name="connsiteY5146" fmla="*/ 3167869 h 4749526"/>
              <a:gd name="connsiteX5147" fmla="*/ 2185782 w 7402822"/>
              <a:gd name="connsiteY5147" fmla="*/ 3161798 h 4749526"/>
              <a:gd name="connsiteX5148" fmla="*/ 2188817 w 7402822"/>
              <a:gd name="connsiteY5148" fmla="*/ 3161798 h 4749526"/>
              <a:gd name="connsiteX5149" fmla="*/ 2191853 w 7402822"/>
              <a:gd name="connsiteY5149" fmla="*/ 3164834 h 4749526"/>
              <a:gd name="connsiteX5150" fmla="*/ 2191853 w 7402822"/>
              <a:gd name="connsiteY5150" fmla="*/ 3167869 h 4749526"/>
              <a:gd name="connsiteX5151" fmla="*/ 2194889 w 7402822"/>
              <a:gd name="connsiteY5151" fmla="*/ 3164834 h 4749526"/>
              <a:gd name="connsiteX5152" fmla="*/ 2197924 w 7402822"/>
              <a:gd name="connsiteY5152" fmla="*/ 3164834 h 4749526"/>
              <a:gd name="connsiteX5153" fmla="*/ 2203996 w 7402822"/>
              <a:gd name="connsiteY5153" fmla="*/ 3167869 h 4749526"/>
              <a:gd name="connsiteX5154" fmla="*/ 2213103 w 7402822"/>
              <a:gd name="connsiteY5154" fmla="*/ 3173941 h 4749526"/>
              <a:gd name="connsiteX5155" fmla="*/ 2207033 w 7402822"/>
              <a:gd name="connsiteY5155" fmla="*/ 3176977 h 4749526"/>
              <a:gd name="connsiteX5156" fmla="*/ 2203996 w 7402822"/>
              <a:gd name="connsiteY5156" fmla="*/ 3183048 h 4749526"/>
              <a:gd name="connsiteX5157" fmla="*/ 2197924 w 7402822"/>
              <a:gd name="connsiteY5157" fmla="*/ 3186085 h 4749526"/>
              <a:gd name="connsiteX5158" fmla="*/ 2194889 w 7402822"/>
              <a:gd name="connsiteY5158" fmla="*/ 3189120 h 4749526"/>
              <a:gd name="connsiteX5159" fmla="*/ 2200961 w 7402822"/>
              <a:gd name="connsiteY5159" fmla="*/ 3192156 h 4749526"/>
              <a:gd name="connsiteX5160" fmla="*/ 2203996 w 7402822"/>
              <a:gd name="connsiteY5160" fmla="*/ 3192156 h 4749526"/>
              <a:gd name="connsiteX5161" fmla="*/ 2210068 w 7402822"/>
              <a:gd name="connsiteY5161" fmla="*/ 3189120 h 4749526"/>
              <a:gd name="connsiteX5162" fmla="*/ 2216140 w 7402822"/>
              <a:gd name="connsiteY5162" fmla="*/ 3189120 h 4749526"/>
              <a:gd name="connsiteX5163" fmla="*/ 2222212 w 7402822"/>
              <a:gd name="connsiteY5163" fmla="*/ 3189120 h 4749526"/>
              <a:gd name="connsiteX5164" fmla="*/ 2228282 w 7402822"/>
              <a:gd name="connsiteY5164" fmla="*/ 3189120 h 4749526"/>
              <a:gd name="connsiteX5165" fmla="*/ 2249533 w 7402822"/>
              <a:gd name="connsiteY5165" fmla="*/ 3201264 h 4749526"/>
              <a:gd name="connsiteX5166" fmla="*/ 2258641 w 7402822"/>
              <a:gd name="connsiteY5166" fmla="*/ 3210371 h 4749526"/>
              <a:gd name="connsiteX5167" fmla="*/ 2258641 w 7402822"/>
              <a:gd name="connsiteY5167" fmla="*/ 3219478 h 4749526"/>
              <a:gd name="connsiteX5168" fmla="*/ 2261677 w 7402822"/>
              <a:gd name="connsiteY5168" fmla="*/ 3222514 h 4749526"/>
              <a:gd name="connsiteX5169" fmla="*/ 2264712 w 7402822"/>
              <a:gd name="connsiteY5169" fmla="*/ 3225550 h 4749526"/>
              <a:gd name="connsiteX5170" fmla="*/ 2267748 w 7402822"/>
              <a:gd name="connsiteY5170" fmla="*/ 3225550 h 4749526"/>
              <a:gd name="connsiteX5171" fmla="*/ 2270784 w 7402822"/>
              <a:gd name="connsiteY5171" fmla="*/ 3228585 h 4749526"/>
              <a:gd name="connsiteX5172" fmla="*/ 2276856 w 7402822"/>
              <a:gd name="connsiteY5172" fmla="*/ 3231622 h 4749526"/>
              <a:gd name="connsiteX5173" fmla="*/ 2279892 w 7402822"/>
              <a:gd name="connsiteY5173" fmla="*/ 3234657 h 4749526"/>
              <a:gd name="connsiteX5174" fmla="*/ 2288999 w 7402822"/>
              <a:gd name="connsiteY5174" fmla="*/ 3243764 h 4749526"/>
              <a:gd name="connsiteX5175" fmla="*/ 2292035 w 7402822"/>
              <a:gd name="connsiteY5175" fmla="*/ 3240729 h 4749526"/>
              <a:gd name="connsiteX5176" fmla="*/ 2295071 w 7402822"/>
              <a:gd name="connsiteY5176" fmla="*/ 3240729 h 4749526"/>
              <a:gd name="connsiteX5177" fmla="*/ 2304178 w 7402822"/>
              <a:gd name="connsiteY5177" fmla="*/ 3243764 h 4749526"/>
              <a:gd name="connsiteX5178" fmla="*/ 2313285 w 7402822"/>
              <a:gd name="connsiteY5178" fmla="*/ 3243764 h 4749526"/>
              <a:gd name="connsiteX5179" fmla="*/ 2319357 w 7402822"/>
              <a:gd name="connsiteY5179" fmla="*/ 3240729 h 4749526"/>
              <a:gd name="connsiteX5180" fmla="*/ 2328464 w 7402822"/>
              <a:gd name="connsiteY5180" fmla="*/ 3243764 h 4749526"/>
              <a:gd name="connsiteX5181" fmla="*/ 2331501 w 7402822"/>
              <a:gd name="connsiteY5181" fmla="*/ 3240729 h 4749526"/>
              <a:gd name="connsiteX5182" fmla="*/ 2334536 w 7402822"/>
              <a:gd name="connsiteY5182" fmla="*/ 3240729 h 4749526"/>
              <a:gd name="connsiteX5183" fmla="*/ 2352751 w 7402822"/>
              <a:gd name="connsiteY5183" fmla="*/ 3246801 h 4749526"/>
              <a:gd name="connsiteX5184" fmla="*/ 2374002 w 7402822"/>
              <a:gd name="connsiteY5184" fmla="*/ 3252872 h 4749526"/>
              <a:gd name="connsiteX5185" fmla="*/ 2392216 w 7402822"/>
              <a:gd name="connsiteY5185" fmla="*/ 3268051 h 4749526"/>
              <a:gd name="connsiteX5186" fmla="*/ 2395252 w 7402822"/>
              <a:gd name="connsiteY5186" fmla="*/ 3268051 h 4749526"/>
              <a:gd name="connsiteX5187" fmla="*/ 2398288 w 7402822"/>
              <a:gd name="connsiteY5187" fmla="*/ 3274123 h 4749526"/>
              <a:gd name="connsiteX5188" fmla="*/ 2401323 w 7402822"/>
              <a:gd name="connsiteY5188" fmla="*/ 3283228 h 4749526"/>
              <a:gd name="connsiteX5189" fmla="*/ 2404359 w 7402822"/>
              <a:gd name="connsiteY5189" fmla="*/ 3277158 h 4749526"/>
              <a:gd name="connsiteX5190" fmla="*/ 2407394 w 7402822"/>
              <a:gd name="connsiteY5190" fmla="*/ 3280193 h 4749526"/>
              <a:gd name="connsiteX5191" fmla="*/ 2413466 w 7402822"/>
              <a:gd name="connsiteY5191" fmla="*/ 3289301 h 4749526"/>
              <a:gd name="connsiteX5192" fmla="*/ 2416502 w 7402822"/>
              <a:gd name="connsiteY5192" fmla="*/ 3310552 h 4749526"/>
              <a:gd name="connsiteX5193" fmla="*/ 2419538 w 7402822"/>
              <a:gd name="connsiteY5193" fmla="*/ 3319659 h 4749526"/>
              <a:gd name="connsiteX5194" fmla="*/ 2422573 w 7402822"/>
              <a:gd name="connsiteY5194" fmla="*/ 3322694 h 4749526"/>
              <a:gd name="connsiteX5195" fmla="*/ 2422573 w 7402822"/>
              <a:gd name="connsiteY5195" fmla="*/ 3325731 h 4749526"/>
              <a:gd name="connsiteX5196" fmla="*/ 2425610 w 7402822"/>
              <a:gd name="connsiteY5196" fmla="*/ 3328766 h 4749526"/>
              <a:gd name="connsiteX5197" fmla="*/ 2428645 w 7402822"/>
              <a:gd name="connsiteY5197" fmla="*/ 3328766 h 4749526"/>
              <a:gd name="connsiteX5198" fmla="*/ 2434717 w 7402822"/>
              <a:gd name="connsiteY5198" fmla="*/ 3328766 h 4749526"/>
              <a:gd name="connsiteX5199" fmla="*/ 2437752 w 7402822"/>
              <a:gd name="connsiteY5199" fmla="*/ 3337873 h 4749526"/>
              <a:gd name="connsiteX5200" fmla="*/ 2434717 w 7402822"/>
              <a:gd name="connsiteY5200" fmla="*/ 3340910 h 4749526"/>
              <a:gd name="connsiteX5201" fmla="*/ 2437752 w 7402822"/>
              <a:gd name="connsiteY5201" fmla="*/ 3340910 h 4749526"/>
              <a:gd name="connsiteX5202" fmla="*/ 2434717 w 7402822"/>
              <a:gd name="connsiteY5202" fmla="*/ 3343945 h 4749526"/>
              <a:gd name="connsiteX5203" fmla="*/ 2422573 w 7402822"/>
              <a:gd name="connsiteY5203" fmla="*/ 3356089 h 4749526"/>
              <a:gd name="connsiteX5204" fmla="*/ 2413466 w 7402822"/>
              <a:gd name="connsiteY5204" fmla="*/ 3362160 h 4749526"/>
              <a:gd name="connsiteX5205" fmla="*/ 2404359 w 7402822"/>
              <a:gd name="connsiteY5205" fmla="*/ 3371268 h 4749526"/>
              <a:gd name="connsiteX5206" fmla="*/ 2398287 w 7402822"/>
              <a:gd name="connsiteY5206" fmla="*/ 3383411 h 4749526"/>
              <a:gd name="connsiteX5207" fmla="*/ 2398287 w 7402822"/>
              <a:gd name="connsiteY5207" fmla="*/ 3386447 h 4749526"/>
              <a:gd name="connsiteX5208" fmla="*/ 2392215 w 7402822"/>
              <a:gd name="connsiteY5208" fmla="*/ 3389483 h 4749526"/>
              <a:gd name="connsiteX5209" fmla="*/ 2389180 w 7402822"/>
              <a:gd name="connsiteY5209" fmla="*/ 3395554 h 4749526"/>
              <a:gd name="connsiteX5210" fmla="*/ 2380072 w 7402822"/>
              <a:gd name="connsiteY5210" fmla="*/ 3395554 h 4749526"/>
              <a:gd name="connsiteX5211" fmla="*/ 2380072 w 7402822"/>
              <a:gd name="connsiteY5211" fmla="*/ 3398590 h 4749526"/>
              <a:gd name="connsiteX5212" fmla="*/ 2389180 w 7402822"/>
              <a:gd name="connsiteY5212" fmla="*/ 3398590 h 4749526"/>
              <a:gd name="connsiteX5213" fmla="*/ 2395251 w 7402822"/>
              <a:gd name="connsiteY5213" fmla="*/ 3395554 h 4749526"/>
              <a:gd name="connsiteX5214" fmla="*/ 2413466 w 7402822"/>
              <a:gd name="connsiteY5214" fmla="*/ 3386447 h 4749526"/>
              <a:gd name="connsiteX5215" fmla="*/ 2419538 w 7402822"/>
              <a:gd name="connsiteY5215" fmla="*/ 3398590 h 4749526"/>
              <a:gd name="connsiteX5216" fmla="*/ 2422573 w 7402822"/>
              <a:gd name="connsiteY5216" fmla="*/ 3404662 h 4749526"/>
              <a:gd name="connsiteX5217" fmla="*/ 2431682 w 7402822"/>
              <a:gd name="connsiteY5217" fmla="*/ 3401626 h 4749526"/>
              <a:gd name="connsiteX5218" fmla="*/ 2428645 w 7402822"/>
              <a:gd name="connsiteY5218" fmla="*/ 3401626 h 4749526"/>
              <a:gd name="connsiteX5219" fmla="*/ 2422573 w 7402822"/>
              <a:gd name="connsiteY5219" fmla="*/ 3401626 h 4749526"/>
              <a:gd name="connsiteX5220" fmla="*/ 2419538 w 7402822"/>
              <a:gd name="connsiteY5220" fmla="*/ 3398590 h 4749526"/>
              <a:gd name="connsiteX5221" fmla="*/ 2419538 w 7402822"/>
              <a:gd name="connsiteY5221" fmla="*/ 3392518 h 4749526"/>
              <a:gd name="connsiteX5222" fmla="*/ 2422573 w 7402822"/>
              <a:gd name="connsiteY5222" fmla="*/ 3389483 h 4749526"/>
              <a:gd name="connsiteX5223" fmla="*/ 2419538 w 7402822"/>
              <a:gd name="connsiteY5223" fmla="*/ 3386447 h 4749526"/>
              <a:gd name="connsiteX5224" fmla="*/ 2419538 w 7402822"/>
              <a:gd name="connsiteY5224" fmla="*/ 3383411 h 4749526"/>
              <a:gd name="connsiteX5225" fmla="*/ 2419538 w 7402822"/>
              <a:gd name="connsiteY5225" fmla="*/ 3377339 h 4749526"/>
              <a:gd name="connsiteX5226" fmla="*/ 2422573 w 7402822"/>
              <a:gd name="connsiteY5226" fmla="*/ 3368232 h 4749526"/>
              <a:gd name="connsiteX5227" fmla="*/ 2437752 w 7402822"/>
              <a:gd name="connsiteY5227" fmla="*/ 3368232 h 4749526"/>
              <a:gd name="connsiteX5228" fmla="*/ 2440789 w 7402822"/>
              <a:gd name="connsiteY5228" fmla="*/ 3365196 h 4749526"/>
              <a:gd name="connsiteX5229" fmla="*/ 2446861 w 7402822"/>
              <a:gd name="connsiteY5229" fmla="*/ 3362160 h 4749526"/>
              <a:gd name="connsiteX5230" fmla="*/ 2446861 w 7402822"/>
              <a:gd name="connsiteY5230" fmla="*/ 3368232 h 4749526"/>
              <a:gd name="connsiteX5231" fmla="*/ 2459003 w 7402822"/>
              <a:gd name="connsiteY5231" fmla="*/ 3368232 h 4749526"/>
              <a:gd name="connsiteX5232" fmla="*/ 2462039 w 7402822"/>
              <a:gd name="connsiteY5232" fmla="*/ 3371268 h 4749526"/>
              <a:gd name="connsiteX5233" fmla="*/ 2465075 w 7402822"/>
              <a:gd name="connsiteY5233" fmla="*/ 3374303 h 4749526"/>
              <a:gd name="connsiteX5234" fmla="*/ 2462039 w 7402822"/>
              <a:gd name="connsiteY5234" fmla="*/ 3383411 h 4749526"/>
              <a:gd name="connsiteX5235" fmla="*/ 2459003 w 7402822"/>
              <a:gd name="connsiteY5235" fmla="*/ 3389483 h 4749526"/>
              <a:gd name="connsiteX5236" fmla="*/ 2459003 w 7402822"/>
              <a:gd name="connsiteY5236" fmla="*/ 3392518 h 4749526"/>
              <a:gd name="connsiteX5237" fmla="*/ 2455968 w 7402822"/>
              <a:gd name="connsiteY5237" fmla="*/ 3392518 h 4749526"/>
              <a:gd name="connsiteX5238" fmla="*/ 2449896 w 7402822"/>
              <a:gd name="connsiteY5238" fmla="*/ 3392518 h 4749526"/>
              <a:gd name="connsiteX5239" fmla="*/ 2440789 w 7402822"/>
              <a:gd name="connsiteY5239" fmla="*/ 3401626 h 4749526"/>
              <a:gd name="connsiteX5240" fmla="*/ 2446861 w 7402822"/>
              <a:gd name="connsiteY5240" fmla="*/ 3401626 h 4749526"/>
              <a:gd name="connsiteX5241" fmla="*/ 2459003 w 7402822"/>
              <a:gd name="connsiteY5241" fmla="*/ 3395554 h 4749526"/>
              <a:gd name="connsiteX5242" fmla="*/ 2462039 w 7402822"/>
              <a:gd name="connsiteY5242" fmla="*/ 3395554 h 4749526"/>
              <a:gd name="connsiteX5243" fmla="*/ 2465075 w 7402822"/>
              <a:gd name="connsiteY5243" fmla="*/ 3395554 h 4749526"/>
              <a:gd name="connsiteX5244" fmla="*/ 2465075 w 7402822"/>
              <a:gd name="connsiteY5244" fmla="*/ 3392518 h 4749526"/>
              <a:gd name="connsiteX5245" fmla="*/ 2468111 w 7402822"/>
              <a:gd name="connsiteY5245" fmla="*/ 3389483 h 4749526"/>
              <a:gd name="connsiteX5246" fmla="*/ 2471147 w 7402822"/>
              <a:gd name="connsiteY5246" fmla="*/ 3383411 h 4749526"/>
              <a:gd name="connsiteX5247" fmla="*/ 2471147 w 7402822"/>
              <a:gd name="connsiteY5247" fmla="*/ 3380375 h 4749526"/>
              <a:gd name="connsiteX5248" fmla="*/ 2480254 w 7402822"/>
              <a:gd name="connsiteY5248" fmla="*/ 3377339 h 4749526"/>
              <a:gd name="connsiteX5249" fmla="*/ 2483290 w 7402822"/>
              <a:gd name="connsiteY5249" fmla="*/ 3380375 h 4749526"/>
              <a:gd name="connsiteX5250" fmla="*/ 2492397 w 7402822"/>
              <a:gd name="connsiteY5250" fmla="*/ 3380375 h 4749526"/>
              <a:gd name="connsiteX5251" fmla="*/ 2504541 w 7402822"/>
              <a:gd name="connsiteY5251" fmla="*/ 3383411 h 4749526"/>
              <a:gd name="connsiteX5252" fmla="*/ 2516683 w 7402822"/>
              <a:gd name="connsiteY5252" fmla="*/ 3386447 h 4749526"/>
              <a:gd name="connsiteX5253" fmla="*/ 2528827 w 7402822"/>
              <a:gd name="connsiteY5253" fmla="*/ 3392518 h 4749526"/>
              <a:gd name="connsiteX5254" fmla="*/ 2531862 w 7402822"/>
              <a:gd name="connsiteY5254" fmla="*/ 3395554 h 4749526"/>
              <a:gd name="connsiteX5255" fmla="*/ 2534899 w 7402822"/>
              <a:gd name="connsiteY5255" fmla="*/ 3395554 h 4749526"/>
              <a:gd name="connsiteX5256" fmla="*/ 2537934 w 7402822"/>
              <a:gd name="connsiteY5256" fmla="*/ 3395554 h 4749526"/>
              <a:gd name="connsiteX5257" fmla="*/ 2544006 w 7402822"/>
              <a:gd name="connsiteY5257" fmla="*/ 3401626 h 4749526"/>
              <a:gd name="connsiteX5258" fmla="*/ 2547041 w 7402822"/>
              <a:gd name="connsiteY5258" fmla="*/ 3401626 h 4749526"/>
              <a:gd name="connsiteX5259" fmla="*/ 2547041 w 7402822"/>
              <a:gd name="connsiteY5259" fmla="*/ 3407697 h 4749526"/>
              <a:gd name="connsiteX5260" fmla="*/ 2550078 w 7402822"/>
              <a:gd name="connsiteY5260" fmla="*/ 3410733 h 4749526"/>
              <a:gd name="connsiteX5261" fmla="*/ 2547041 w 7402822"/>
              <a:gd name="connsiteY5261" fmla="*/ 3416805 h 4749526"/>
              <a:gd name="connsiteX5262" fmla="*/ 2544006 w 7402822"/>
              <a:gd name="connsiteY5262" fmla="*/ 3422876 h 4749526"/>
              <a:gd name="connsiteX5263" fmla="*/ 2540971 w 7402822"/>
              <a:gd name="connsiteY5263" fmla="*/ 3431983 h 4749526"/>
              <a:gd name="connsiteX5264" fmla="*/ 2547041 w 7402822"/>
              <a:gd name="connsiteY5264" fmla="*/ 3425913 h 4749526"/>
              <a:gd name="connsiteX5265" fmla="*/ 2550078 w 7402822"/>
              <a:gd name="connsiteY5265" fmla="*/ 3416805 h 4749526"/>
              <a:gd name="connsiteX5266" fmla="*/ 2559185 w 7402822"/>
              <a:gd name="connsiteY5266" fmla="*/ 3416805 h 4749526"/>
              <a:gd name="connsiteX5267" fmla="*/ 2562221 w 7402822"/>
              <a:gd name="connsiteY5267" fmla="*/ 3416805 h 4749526"/>
              <a:gd name="connsiteX5268" fmla="*/ 2571329 w 7402822"/>
              <a:gd name="connsiteY5268" fmla="*/ 3413769 h 4749526"/>
              <a:gd name="connsiteX5269" fmla="*/ 2583471 w 7402822"/>
              <a:gd name="connsiteY5269" fmla="*/ 3416805 h 4749526"/>
              <a:gd name="connsiteX5270" fmla="*/ 2601686 w 7402822"/>
              <a:gd name="connsiteY5270" fmla="*/ 3422876 h 4749526"/>
              <a:gd name="connsiteX5271" fmla="*/ 2619901 w 7402822"/>
              <a:gd name="connsiteY5271" fmla="*/ 3422876 h 4749526"/>
              <a:gd name="connsiteX5272" fmla="*/ 2625973 w 7402822"/>
              <a:gd name="connsiteY5272" fmla="*/ 3422876 h 4749526"/>
              <a:gd name="connsiteX5273" fmla="*/ 2638116 w 7402822"/>
              <a:gd name="connsiteY5273" fmla="*/ 3422876 h 4749526"/>
              <a:gd name="connsiteX5274" fmla="*/ 2659367 w 7402822"/>
              <a:gd name="connsiteY5274" fmla="*/ 3435020 h 4749526"/>
              <a:gd name="connsiteX5275" fmla="*/ 2671510 w 7402822"/>
              <a:gd name="connsiteY5275" fmla="*/ 3441092 h 4749526"/>
              <a:gd name="connsiteX5276" fmla="*/ 2680618 w 7402822"/>
              <a:gd name="connsiteY5276" fmla="*/ 3450199 h 4749526"/>
              <a:gd name="connsiteX5277" fmla="*/ 2723119 w 7402822"/>
              <a:gd name="connsiteY5277" fmla="*/ 3468413 h 4749526"/>
              <a:gd name="connsiteX5278" fmla="*/ 2732226 w 7402822"/>
              <a:gd name="connsiteY5278" fmla="*/ 3468413 h 4749526"/>
              <a:gd name="connsiteX5279" fmla="*/ 2744370 w 7402822"/>
              <a:gd name="connsiteY5279" fmla="*/ 3492700 h 4749526"/>
              <a:gd name="connsiteX5280" fmla="*/ 2747405 w 7402822"/>
              <a:gd name="connsiteY5280" fmla="*/ 3504843 h 4749526"/>
              <a:gd name="connsiteX5281" fmla="*/ 2747405 w 7402822"/>
              <a:gd name="connsiteY5281" fmla="*/ 3513951 h 4749526"/>
              <a:gd name="connsiteX5282" fmla="*/ 2747405 w 7402822"/>
              <a:gd name="connsiteY5282" fmla="*/ 3526094 h 4749526"/>
              <a:gd name="connsiteX5283" fmla="*/ 2747405 w 7402822"/>
              <a:gd name="connsiteY5283" fmla="*/ 3532165 h 4749526"/>
              <a:gd name="connsiteX5284" fmla="*/ 2744370 w 7402822"/>
              <a:gd name="connsiteY5284" fmla="*/ 3538237 h 4749526"/>
              <a:gd name="connsiteX5285" fmla="*/ 2744370 w 7402822"/>
              <a:gd name="connsiteY5285" fmla="*/ 3541273 h 4749526"/>
              <a:gd name="connsiteX5286" fmla="*/ 2741333 w 7402822"/>
              <a:gd name="connsiteY5286" fmla="*/ 3547344 h 4749526"/>
              <a:gd name="connsiteX5287" fmla="*/ 2735262 w 7402822"/>
              <a:gd name="connsiteY5287" fmla="*/ 3556453 h 4749526"/>
              <a:gd name="connsiteX5288" fmla="*/ 2726154 w 7402822"/>
              <a:gd name="connsiteY5288" fmla="*/ 3565560 h 4749526"/>
              <a:gd name="connsiteX5289" fmla="*/ 2720083 w 7402822"/>
              <a:gd name="connsiteY5289" fmla="*/ 3574667 h 4749526"/>
              <a:gd name="connsiteX5290" fmla="*/ 2714011 w 7402822"/>
              <a:gd name="connsiteY5290" fmla="*/ 3580739 h 4749526"/>
              <a:gd name="connsiteX5291" fmla="*/ 2710975 w 7402822"/>
              <a:gd name="connsiteY5291" fmla="*/ 3583774 h 4749526"/>
              <a:gd name="connsiteX5292" fmla="*/ 2701868 w 7402822"/>
              <a:gd name="connsiteY5292" fmla="*/ 3589846 h 4749526"/>
              <a:gd name="connsiteX5293" fmla="*/ 2698832 w 7402822"/>
              <a:gd name="connsiteY5293" fmla="*/ 3592882 h 4749526"/>
              <a:gd name="connsiteX5294" fmla="*/ 2698832 w 7402822"/>
              <a:gd name="connsiteY5294" fmla="*/ 3595918 h 4749526"/>
              <a:gd name="connsiteX5295" fmla="*/ 2695796 w 7402822"/>
              <a:gd name="connsiteY5295" fmla="*/ 3601989 h 4749526"/>
              <a:gd name="connsiteX5296" fmla="*/ 2689725 w 7402822"/>
              <a:gd name="connsiteY5296" fmla="*/ 3614133 h 4749526"/>
              <a:gd name="connsiteX5297" fmla="*/ 2674546 w 7402822"/>
              <a:gd name="connsiteY5297" fmla="*/ 3632347 h 4749526"/>
              <a:gd name="connsiteX5298" fmla="*/ 2671510 w 7402822"/>
              <a:gd name="connsiteY5298" fmla="*/ 3635383 h 4749526"/>
              <a:gd name="connsiteX5299" fmla="*/ 2665439 w 7402822"/>
              <a:gd name="connsiteY5299" fmla="*/ 3635383 h 4749526"/>
              <a:gd name="connsiteX5300" fmla="*/ 2662402 w 7402822"/>
              <a:gd name="connsiteY5300" fmla="*/ 3641454 h 4749526"/>
              <a:gd name="connsiteX5301" fmla="*/ 2662402 w 7402822"/>
              <a:gd name="connsiteY5301" fmla="*/ 3644491 h 4749526"/>
              <a:gd name="connsiteX5302" fmla="*/ 2662402 w 7402822"/>
              <a:gd name="connsiteY5302" fmla="*/ 3653598 h 4749526"/>
              <a:gd name="connsiteX5303" fmla="*/ 2662402 w 7402822"/>
              <a:gd name="connsiteY5303" fmla="*/ 3665742 h 4749526"/>
              <a:gd name="connsiteX5304" fmla="*/ 2662402 w 7402822"/>
              <a:gd name="connsiteY5304" fmla="*/ 3677884 h 4749526"/>
              <a:gd name="connsiteX5305" fmla="*/ 2662402 w 7402822"/>
              <a:gd name="connsiteY5305" fmla="*/ 3690028 h 4749526"/>
              <a:gd name="connsiteX5306" fmla="*/ 2662402 w 7402822"/>
              <a:gd name="connsiteY5306" fmla="*/ 3699135 h 4749526"/>
              <a:gd name="connsiteX5307" fmla="*/ 2662402 w 7402822"/>
              <a:gd name="connsiteY5307" fmla="*/ 3702171 h 4749526"/>
              <a:gd name="connsiteX5308" fmla="*/ 2659367 w 7402822"/>
              <a:gd name="connsiteY5308" fmla="*/ 3717350 h 4749526"/>
              <a:gd name="connsiteX5309" fmla="*/ 2656330 w 7402822"/>
              <a:gd name="connsiteY5309" fmla="*/ 3729493 h 4749526"/>
              <a:gd name="connsiteX5310" fmla="*/ 2656330 w 7402822"/>
              <a:gd name="connsiteY5310" fmla="*/ 3732529 h 4749526"/>
              <a:gd name="connsiteX5311" fmla="*/ 2653295 w 7402822"/>
              <a:gd name="connsiteY5311" fmla="*/ 3741636 h 4749526"/>
              <a:gd name="connsiteX5312" fmla="*/ 2647223 w 7402822"/>
              <a:gd name="connsiteY5312" fmla="*/ 3759852 h 4749526"/>
              <a:gd name="connsiteX5313" fmla="*/ 2647223 w 7402822"/>
              <a:gd name="connsiteY5313" fmla="*/ 3771994 h 4749526"/>
              <a:gd name="connsiteX5314" fmla="*/ 2644188 w 7402822"/>
              <a:gd name="connsiteY5314" fmla="*/ 3775031 h 4749526"/>
              <a:gd name="connsiteX5315" fmla="*/ 2641151 w 7402822"/>
              <a:gd name="connsiteY5315" fmla="*/ 3778066 h 4749526"/>
              <a:gd name="connsiteX5316" fmla="*/ 2638116 w 7402822"/>
              <a:gd name="connsiteY5316" fmla="*/ 3784138 h 4749526"/>
              <a:gd name="connsiteX5317" fmla="*/ 2635081 w 7402822"/>
              <a:gd name="connsiteY5317" fmla="*/ 3790210 h 4749526"/>
              <a:gd name="connsiteX5318" fmla="*/ 2629009 w 7402822"/>
              <a:gd name="connsiteY5318" fmla="*/ 3799317 h 4749526"/>
              <a:gd name="connsiteX5319" fmla="*/ 2625973 w 7402822"/>
              <a:gd name="connsiteY5319" fmla="*/ 3802353 h 4749526"/>
              <a:gd name="connsiteX5320" fmla="*/ 2622937 w 7402822"/>
              <a:gd name="connsiteY5320" fmla="*/ 3805389 h 4749526"/>
              <a:gd name="connsiteX5321" fmla="*/ 2619901 w 7402822"/>
              <a:gd name="connsiteY5321" fmla="*/ 3820568 h 4749526"/>
              <a:gd name="connsiteX5322" fmla="*/ 2619901 w 7402822"/>
              <a:gd name="connsiteY5322" fmla="*/ 3829675 h 4749526"/>
              <a:gd name="connsiteX5323" fmla="*/ 2607758 w 7402822"/>
              <a:gd name="connsiteY5323" fmla="*/ 3832711 h 4749526"/>
              <a:gd name="connsiteX5324" fmla="*/ 2598651 w 7402822"/>
              <a:gd name="connsiteY5324" fmla="*/ 3841818 h 4749526"/>
              <a:gd name="connsiteX5325" fmla="*/ 2598651 w 7402822"/>
              <a:gd name="connsiteY5325" fmla="*/ 3844854 h 4749526"/>
              <a:gd name="connsiteX5326" fmla="*/ 2595615 w 7402822"/>
              <a:gd name="connsiteY5326" fmla="*/ 3847890 h 4749526"/>
              <a:gd name="connsiteX5327" fmla="*/ 2568292 w 7402822"/>
              <a:gd name="connsiteY5327" fmla="*/ 3850925 h 4749526"/>
              <a:gd name="connsiteX5328" fmla="*/ 2559185 w 7402822"/>
              <a:gd name="connsiteY5328" fmla="*/ 3847890 h 4749526"/>
              <a:gd name="connsiteX5329" fmla="*/ 2553113 w 7402822"/>
              <a:gd name="connsiteY5329" fmla="*/ 3847890 h 4749526"/>
              <a:gd name="connsiteX5330" fmla="*/ 2547041 w 7402822"/>
              <a:gd name="connsiteY5330" fmla="*/ 3847890 h 4749526"/>
              <a:gd name="connsiteX5331" fmla="*/ 2544006 w 7402822"/>
              <a:gd name="connsiteY5331" fmla="*/ 3850925 h 4749526"/>
              <a:gd name="connsiteX5332" fmla="*/ 2544006 w 7402822"/>
              <a:gd name="connsiteY5332" fmla="*/ 3856997 h 4749526"/>
              <a:gd name="connsiteX5333" fmla="*/ 2531862 w 7402822"/>
              <a:gd name="connsiteY5333" fmla="*/ 3863069 h 4749526"/>
              <a:gd name="connsiteX5334" fmla="*/ 2519720 w 7402822"/>
              <a:gd name="connsiteY5334" fmla="*/ 3866104 h 4749526"/>
              <a:gd name="connsiteX5335" fmla="*/ 2507576 w 7402822"/>
              <a:gd name="connsiteY5335" fmla="*/ 3872176 h 4749526"/>
              <a:gd name="connsiteX5336" fmla="*/ 2495433 w 7402822"/>
              <a:gd name="connsiteY5336" fmla="*/ 3878248 h 4749526"/>
              <a:gd name="connsiteX5337" fmla="*/ 2495433 w 7402822"/>
              <a:gd name="connsiteY5337" fmla="*/ 3881283 h 4749526"/>
              <a:gd name="connsiteX5338" fmla="*/ 2492397 w 7402822"/>
              <a:gd name="connsiteY5338" fmla="*/ 3884320 h 4749526"/>
              <a:gd name="connsiteX5339" fmla="*/ 2489361 w 7402822"/>
              <a:gd name="connsiteY5339" fmla="*/ 3887355 h 4749526"/>
              <a:gd name="connsiteX5340" fmla="*/ 2477218 w 7402822"/>
              <a:gd name="connsiteY5340" fmla="*/ 3896462 h 4749526"/>
              <a:gd name="connsiteX5341" fmla="*/ 2468111 w 7402822"/>
              <a:gd name="connsiteY5341" fmla="*/ 3902534 h 4749526"/>
              <a:gd name="connsiteX5342" fmla="*/ 2465075 w 7402822"/>
              <a:gd name="connsiteY5342" fmla="*/ 3908606 h 4749526"/>
              <a:gd name="connsiteX5343" fmla="*/ 2465075 w 7402822"/>
              <a:gd name="connsiteY5343" fmla="*/ 3914678 h 4749526"/>
              <a:gd name="connsiteX5344" fmla="*/ 2462039 w 7402822"/>
              <a:gd name="connsiteY5344" fmla="*/ 3923785 h 4749526"/>
              <a:gd name="connsiteX5345" fmla="*/ 2462039 w 7402822"/>
              <a:gd name="connsiteY5345" fmla="*/ 3926821 h 4749526"/>
              <a:gd name="connsiteX5346" fmla="*/ 2462039 w 7402822"/>
              <a:gd name="connsiteY5346" fmla="*/ 3942000 h 4749526"/>
              <a:gd name="connsiteX5347" fmla="*/ 2462039 w 7402822"/>
              <a:gd name="connsiteY5347" fmla="*/ 3954143 h 4749526"/>
              <a:gd name="connsiteX5348" fmla="*/ 2462039 w 7402822"/>
              <a:gd name="connsiteY5348" fmla="*/ 3966286 h 4749526"/>
              <a:gd name="connsiteX5349" fmla="*/ 2462039 w 7402822"/>
              <a:gd name="connsiteY5349" fmla="*/ 3972358 h 4749526"/>
              <a:gd name="connsiteX5350" fmla="*/ 2459003 w 7402822"/>
              <a:gd name="connsiteY5350" fmla="*/ 3978430 h 4749526"/>
              <a:gd name="connsiteX5351" fmla="*/ 2440789 w 7402822"/>
              <a:gd name="connsiteY5351" fmla="*/ 3996644 h 4749526"/>
              <a:gd name="connsiteX5352" fmla="*/ 2431682 w 7402822"/>
              <a:gd name="connsiteY5352" fmla="*/ 4008788 h 4749526"/>
              <a:gd name="connsiteX5353" fmla="*/ 2428645 w 7402822"/>
              <a:gd name="connsiteY5353" fmla="*/ 4017895 h 4749526"/>
              <a:gd name="connsiteX5354" fmla="*/ 2413466 w 7402822"/>
              <a:gd name="connsiteY5354" fmla="*/ 4042182 h 4749526"/>
              <a:gd name="connsiteX5355" fmla="*/ 2392215 w 7402822"/>
              <a:gd name="connsiteY5355" fmla="*/ 4060396 h 4749526"/>
              <a:gd name="connsiteX5356" fmla="*/ 2392215 w 7402822"/>
              <a:gd name="connsiteY5356" fmla="*/ 4054325 h 4749526"/>
              <a:gd name="connsiteX5357" fmla="*/ 2395251 w 7402822"/>
              <a:gd name="connsiteY5357" fmla="*/ 4054325 h 4749526"/>
              <a:gd name="connsiteX5358" fmla="*/ 2401323 w 7402822"/>
              <a:gd name="connsiteY5358" fmla="*/ 4051289 h 4749526"/>
              <a:gd name="connsiteX5359" fmla="*/ 2410431 w 7402822"/>
              <a:gd name="connsiteY5359" fmla="*/ 4042182 h 4749526"/>
              <a:gd name="connsiteX5360" fmla="*/ 2413466 w 7402822"/>
              <a:gd name="connsiteY5360" fmla="*/ 4036110 h 4749526"/>
              <a:gd name="connsiteX5361" fmla="*/ 2419538 w 7402822"/>
              <a:gd name="connsiteY5361" fmla="*/ 4027002 h 4749526"/>
              <a:gd name="connsiteX5362" fmla="*/ 2422573 w 7402822"/>
              <a:gd name="connsiteY5362" fmla="*/ 4017895 h 4749526"/>
              <a:gd name="connsiteX5363" fmla="*/ 2419538 w 7402822"/>
              <a:gd name="connsiteY5363" fmla="*/ 4014860 h 4749526"/>
              <a:gd name="connsiteX5364" fmla="*/ 2416502 w 7402822"/>
              <a:gd name="connsiteY5364" fmla="*/ 4017895 h 4749526"/>
              <a:gd name="connsiteX5365" fmla="*/ 2407394 w 7402822"/>
              <a:gd name="connsiteY5365" fmla="*/ 4011823 h 4749526"/>
              <a:gd name="connsiteX5366" fmla="*/ 2401323 w 7402822"/>
              <a:gd name="connsiteY5366" fmla="*/ 4039146 h 4749526"/>
              <a:gd name="connsiteX5367" fmla="*/ 2392215 w 7402822"/>
              <a:gd name="connsiteY5367" fmla="*/ 4042182 h 4749526"/>
              <a:gd name="connsiteX5368" fmla="*/ 2389180 w 7402822"/>
              <a:gd name="connsiteY5368" fmla="*/ 4051289 h 4749526"/>
              <a:gd name="connsiteX5369" fmla="*/ 2389180 w 7402822"/>
              <a:gd name="connsiteY5369" fmla="*/ 4057361 h 4749526"/>
              <a:gd name="connsiteX5370" fmla="*/ 2389180 w 7402822"/>
              <a:gd name="connsiteY5370" fmla="*/ 4063433 h 4749526"/>
              <a:gd name="connsiteX5371" fmla="*/ 2386144 w 7402822"/>
              <a:gd name="connsiteY5371" fmla="*/ 4069504 h 4749526"/>
              <a:gd name="connsiteX5372" fmla="*/ 2380072 w 7402822"/>
              <a:gd name="connsiteY5372" fmla="*/ 4084683 h 4749526"/>
              <a:gd name="connsiteX5373" fmla="*/ 2374001 w 7402822"/>
              <a:gd name="connsiteY5373" fmla="*/ 4090754 h 4749526"/>
              <a:gd name="connsiteX5374" fmla="*/ 2364893 w 7402822"/>
              <a:gd name="connsiteY5374" fmla="*/ 4099862 h 4749526"/>
              <a:gd name="connsiteX5375" fmla="*/ 2364894 w 7402822"/>
              <a:gd name="connsiteY5375" fmla="*/ 4099863 h 4749526"/>
              <a:gd name="connsiteX5376" fmla="*/ 2358822 w 7402822"/>
              <a:gd name="connsiteY5376" fmla="*/ 4112006 h 4749526"/>
              <a:gd name="connsiteX5377" fmla="*/ 2355787 w 7402822"/>
              <a:gd name="connsiteY5377" fmla="*/ 4118078 h 4749526"/>
              <a:gd name="connsiteX5378" fmla="*/ 2349715 w 7402822"/>
              <a:gd name="connsiteY5378" fmla="*/ 4124150 h 4749526"/>
              <a:gd name="connsiteX5379" fmla="*/ 2337572 w 7402822"/>
              <a:gd name="connsiteY5379" fmla="*/ 4130221 h 4749526"/>
              <a:gd name="connsiteX5380" fmla="*/ 2331501 w 7402822"/>
              <a:gd name="connsiteY5380" fmla="*/ 4130221 h 4749526"/>
              <a:gd name="connsiteX5381" fmla="*/ 2328464 w 7402822"/>
              <a:gd name="connsiteY5381" fmla="*/ 4130221 h 4749526"/>
              <a:gd name="connsiteX5382" fmla="*/ 2316322 w 7402822"/>
              <a:gd name="connsiteY5382" fmla="*/ 4127185 h 4749526"/>
              <a:gd name="connsiteX5383" fmla="*/ 2307214 w 7402822"/>
              <a:gd name="connsiteY5383" fmla="*/ 4130221 h 4749526"/>
              <a:gd name="connsiteX5384" fmla="*/ 2295071 w 7402822"/>
              <a:gd name="connsiteY5384" fmla="*/ 4124150 h 4749526"/>
              <a:gd name="connsiteX5385" fmla="*/ 2292035 w 7402822"/>
              <a:gd name="connsiteY5385" fmla="*/ 4121113 h 4749526"/>
              <a:gd name="connsiteX5386" fmla="*/ 2285963 w 7402822"/>
              <a:gd name="connsiteY5386" fmla="*/ 4118078 h 4749526"/>
              <a:gd name="connsiteX5387" fmla="*/ 2279892 w 7402822"/>
              <a:gd name="connsiteY5387" fmla="*/ 4118078 h 4749526"/>
              <a:gd name="connsiteX5388" fmla="*/ 2273820 w 7402822"/>
              <a:gd name="connsiteY5388" fmla="*/ 4118078 h 4749526"/>
              <a:gd name="connsiteX5389" fmla="*/ 2267748 w 7402822"/>
              <a:gd name="connsiteY5389" fmla="*/ 4112006 h 4749526"/>
              <a:gd name="connsiteX5390" fmla="*/ 2261677 w 7402822"/>
              <a:gd name="connsiteY5390" fmla="*/ 4112006 h 4749526"/>
              <a:gd name="connsiteX5391" fmla="*/ 2261677 w 7402822"/>
              <a:gd name="connsiteY5391" fmla="*/ 4115042 h 4749526"/>
              <a:gd name="connsiteX5392" fmla="*/ 2258641 w 7402822"/>
              <a:gd name="connsiteY5392" fmla="*/ 4115042 h 4749526"/>
              <a:gd name="connsiteX5393" fmla="*/ 2261677 w 7402822"/>
              <a:gd name="connsiteY5393" fmla="*/ 4121113 h 4749526"/>
              <a:gd name="connsiteX5394" fmla="*/ 2270784 w 7402822"/>
              <a:gd name="connsiteY5394" fmla="*/ 4127185 h 4749526"/>
              <a:gd name="connsiteX5395" fmla="*/ 2282927 w 7402822"/>
              <a:gd name="connsiteY5395" fmla="*/ 4136293 h 4749526"/>
              <a:gd name="connsiteX5396" fmla="*/ 2285963 w 7402822"/>
              <a:gd name="connsiteY5396" fmla="*/ 4142364 h 4749526"/>
              <a:gd name="connsiteX5397" fmla="*/ 2285963 w 7402822"/>
              <a:gd name="connsiteY5397" fmla="*/ 4148436 h 4749526"/>
              <a:gd name="connsiteX5398" fmla="*/ 2282927 w 7402822"/>
              <a:gd name="connsiteY5398" fmla="*/ 4157543 h 4749526"/>
              <a:gd name="connsiteX5399" fmla="*/ 2292035 w 7402822"/>
              <a:gd name="connsiteY5399" fmla="*/ 4166651 h 4749526"/>
              <a:gd name="connsiteX5400" fmla="*/ 2295071 w 7402822"/>
              <a:gd name="connsiteY5400" fmla="*/ 4169686 h 4749526"/>
              <a:gd name="connsiteX5401" fmla="*/ 2295071 w 7402822"/>
              <a:gd name="connsiteY5401" fmla="*/ 4181830 h 4749526"/>
              <a:gd name="connsiteX5402" fmla="*/ 2285963 w 7402822"/>
              <a:gd name="connsiteY5402" fmla="*/ 4197009 h 4749526"/>
              <a:gd name="connsiteX5403" fmla="*/ 2279892 w 7402822"/>
              <a:gd name="connsiteY5403" fmla="*/ 4209153 h 4749526"/>
              <a:gd name="connsiteX5404" fmla="*/ 2279892 w 7402822"/>
              <a:gd name="connsiteY5404" fmla="*/ 4212188 h 4749526"/>
              <a:gd name="connsiteX5405" fmla="*/ 2273820 w 7402822"/>
              <a:gd name="connsiteY5405" fmla="*/ 4215224 h 4749526"/>
              <a:gd name="connsiteX5406" fmla="*/ 2261677 w 7402822"/>
              <a:gd name="connsiteY5406" fmla="*/ 4221295 h 4749526"/>
              <a:gd name="connsiteX5407" fmla="*/ 2213103 w 7402822"/>
              <a:gd name="connsiteY5407" fmla="*/ 4233439 h 4749526"/>
              <a:gd name="connsiteX5408" fmla="*/ 2188817 w 7402822"/>
              <a:gd name="connsiteY5408" fmla="*/ 4233439 h 4749526"/>
              <a:gd name="connsiteX5409" fmla="*/ 2185782 w 7402822"/>
              <a:gd name="connsiteY5409" fmla="*/ 4233439 h 4749526"/>
              <a:gd name="connsiteX5410" fmla="*/ 2185782 w 7402822"/>
              <a:gd name="connsiteY5410" fmla="*/ 4230403 h 4749526"/>
              <a:gd name="connsiteX5411" fmla="*/ 2179710 w 7402822"/>
              <a:gd name="connsiteY5411" fmla="*/ 4230403 h 4749526"/>
              <a:gd name="connsiteX5412" fmla="*/ 2179710 w 7402822"/>
              <a:gd name="connsiteY5412" fmla="*/ 4233439 h 4749526"/>
              <a:gd name="connsiteX5413" fmla="*/ 2179710 w 7402822"/>
              <a:gd name="connsiteY5413" fmla="*/ 4242546 h 4749526"/>
              <a:gd name="connsiteX5414" fmla="*/ 2182746 w 7402822"/>
              <a:gd name="connsiteY5414" fmla="*/ 4242546 h 4749526"/>
              <a:gd name="connsiteX5415" fmla="*/ 2185782 w 7402822"/>
              <a:gd name="connsiteY5415" fmla="*/ 4245582 h 4749526"/>
              <a:gd name="connsiteX5416" fmla="*/ 2185782 w 7402822"/>
              <a:gd name="connsiteY5416" fmla="*/ 4251654 h 4749526"/>
              <a:gd name="connsiteX5417" fmla="*/ 2182746 w 7402822"/>
              <a:gd name="connsiteY5417" fmla="*/ 4257725 h 4749526"/>
              <a:gd name="connsiteX5418" fmla="*/ 2179710 w 7402822"/>
              <a:gd name="connsiteY5418" fmla="*/ 4257725 h 4749526"/>
              <a:gd name="connsiteX5419" fmla="*/ 2179710 w 7402822"/>
              <a:gd name="connsiteY5419" fmla="*/ 4260761 h 4749526"/>
              <a:gd name="connsiteX5420" fmla="*/ 2179710 w 7402822"/>
              <a:gd name="connsiteY5420" fmla="*/ 4266833 h 4749526"/>
              <a:gd name="connsiteX5421" fmla="*/ 2176674 w 7402822"/>
              <a:gd name="connsiteY5421" fmla="*/ 4269868 h 4749526"/>
              <a:gd name="connsiteX5422" fmla="*/ 2179710 w 7402822"/>
              <a:gd name="connsiteY5422" fmla="*/ 4275940 h 4749526"/>
              <a:gd name="connsiteX5423" fmla="*/ 2182746 w 7402822"/>
              <a:gd name="connsiteY5423" fmla="*/ 4278976 h 4749526"/>
              <a:gd name="connsiteX5424" fmla="*/ 2179710 w 7402822"/>
              <a:gd name="connsiteY5424" fmla="*/ 4285047 h 4749526"/>
              <a:gd name="connsiteX5425" fmla="*/ 2170602 w 7402822"/>
              <a:gd name="connsiteY5425" fmla="*/ 4291119 h 4749526"/>
              <a:gd name="connsiteX5426" fmla="*/ 2161495 w 7402822"/>
              <a:gd name="connsiteY5426" fmla="*/ 4294155 h 4749526"/>
              <a:gd name="connsiteX5427" fmla="*/ 2149352 w 7402822"/>
              <a:gd name="connsiteY5427" fmla="*/ 4294155 h 4749526"/>
              <a:gd name="connsiteX5428" fmla="*/ 2134172 w 7402822"/>
              <a:gd name="connsiteY5428" fmla="*/ 4285047 h 4749526"/>
              <a:gd name="connsiteX5429" fmla="*/ 2131137 w 7402822"/>
              <a:gd name="connsiteY5429" fmla="*/ 4282012 h 4749526"/>
              <a:gd name="connsiteX5430" fmla="*/ 2128102 w 7402822"/>
              <a:gd name="connsiteY5430" fmla="*/ 4282012 h 4749526"/>
              <a:gd name="connsiteX5431" fmla="*/ 2122030 w 7402822"/>
              <a:gd name="connsiteY5431" fmla="*/ 4291119 h 4749526"/>
              <a:gd name="connsiteX5432" fmla="*/ 2125065 w 7402822"/>
              <a:gd name="connsiteY5432" fmla="*/ 4303263 h 4749526"/>
              <a:gd name="connsiteX5433" fmla="*/ 2125065 w 7402822"/>
              <a:gd name="connsiteY5433" fmla="*/ 4312370 h 4749526"/>
              <a:gd name="connsiteX5434" fmla="*/ 2122030 w 7402822"/>
              <a:gd name="connsiteY5434" fmla="*/ 4315405 h 4749526"/>
              <a:gd name="connsiteX5435" fmla="*/ 2134172 w 7402822"/>
              <a:gd name="connsiteY5435" fmla="*/ 4327549 h 4749526"/>
              <a:gd name="connsiteX5436" fmla="*/ 2143280 w 7402822"/>
              <a:gd name="connsiteY5436" fmla="*/ 4327549 h 4749526"/>
              <a:gd name="connsiteX5437" fmla="*/ 2140244 w 7402822"/>
              <a:gd name="connsiteY5437" fmla="*/ 4321477 h 4749526"/>
              <a:gd name="connsiteX5438" fmla="*/ 2152388 w 7402822"/>
              <a:gd name="connsiteY5438" fmla="*/ 4318442 h 4749526"/>
              <a:gd name="connsiteX5439" fmla="*/ 2155423 w 7402822"/>
              <a:gd name="connsiteY5439" fmla="*/ 4330584 h 4749526"/>
              <a:gd name="connsiteX5440" fmla="*/ 2152388 w 7402822"/>
              <a:gd name="connsiteY5440" fmla="*/ 4339692 h 4749526"/>
              <a:gd name="connsiteX5441" fmla="*/ 2143280 w 7402822"/>
              <a:gd name="connsiteY5441" fmla="*/ 4339692 h 4749526"/>
              <a:gd name="connsiteX5442" fmla="*/ 2140244 w 7402822"/>
              <a:gd name="connsiteY5442" fmla="*/ 4336656 h 4749526"/>
              <a:gd name="connsiteX5443" fmla="*/ 2140244 w 7402822"/>
              <a:gd name="connsiteY5443" fmla="*/ 4333621 h 4749526"/>
              <a:gd name="connsiteX5444" fmla="*/ 2131137 w 7402822"/>
              <a:gd name="connsiteY5444" fmla="*/ 4330584 h 4749526"/>
              <a:gd name="connsiteX5445" fmla="*/ 2125065 w 7402822"/>
              <a:gd name="connsiteY5445" fmla="*/ 4336656 h 4749526"/>
              <a:gd name="connsiteX5446" fmla="*/ 2134172 w 7402822"/>
              <a:gd name="connsiteY5446" fmla="*/ 4342728 h 4749526"/>
              <a:gd name="connsiteX5447" fmla="*/ 2125065 w 7402822"/>
              <a:gd name="connsiteY5447" fmla="*/ 4351835 h 4749526"/>
              <a:gd name="connsiteX5448" fmla="*/ 2122030 w 7402822"/>
              <a:gd name="connsiteY5448" fmla="*/ 4354871 h 4749526"/>
              <a:gd name="connsiteX5449" fmla="*/ 2122030 w 7402822"/>
              <a:gd name="connsiteY5449" fmla="*/ 4357907 h 4749526"/>
              <a:gd name="connsiteX5450" fmla="*/ 2118993 w 7402822"/>
              <a:gd name="connsiteY5450" fmla="*/ 4363979 h 4749526"/>
              <a:gd name="connsiteX5451" fmla="*/ 2118993 w 7402822"/>
              <a:gd name="connsiteY5451" fmla="*/ 4373086 h 4749526"/>
              <a:gd name="connsiteX5452" fmla="*/ 2115958 w 7402822"/>
              <a:gd name="connsiteY5452" fmla="*/ 4388265 h 4749526"/>
              <a:gd name="connsiteX5453" fmla="*/ 2103814 w 7402822"/>
              <a:gd name="connsiteY5453" fmla="*/ 4397373 h 4749526"/>
              <a:gd name="connsiteX5454" fmla="*/ 2094707 w 7402822"/>
              <a:gd name="connsiteY5454" fmla="*/ 4403445 h 4749526"/>
              <a:gd name="connsiteX5455" fmla="*/ 2082564 w 7402822"/>
              <a:gd name="connsiteY5455" fmla="*/ 4412552 h 4749526"/>
              <a:gd name="connsiteX5456" fmla="*/ 2073457 w 7402822"/>
              <a:gd name="connsiteY5456" fmla="*/ 4424694 h 4749526"/>
              <a:gd name="connsiteX5457" fmla="*/ 2070421 w 7402822"/>
              <a:gd name="connsiteY5457" fmla="*/ 4436838 h 4749526"/>
              <a:gd name="connsiteX5458" fmla="*/ 2079528 w 7402822"/>
              <a:gd name="connsiteY5458" fmla="*/ 4452017 h 4749526"/>
              <a:gd name="connsiteX5459" fmla="*/ 2085600 w 7402822"/>
              <a:gd name="connsiteY5459" fmla="*/ 4461124 h 4749526"/>
              <a:gd name="connsiteX5460" fmla="*/ 2094707 w 7402822"/>
              <a:gd name="connsiteY5460" fmla="*/ 4461124 h 4749526"/>
              <a:gd name="connsiteX5461" fmla="*/ 2100779 w 7402822"/>
              <a:gd name="connsiteY5461" fmla="*/ 4464160 h 4749526"/>
              <a:gd name="connsiteX5462" fmla="*/ 2103814 w 7402822"/>
              <a:gd name="connsiteY5462" fmla="*/ 4464160 h 4749526"/>
              <a:gd name="connsiteX5463" fmla="*/ 2109886 w 7402822"/>
              <a:gd name="connsiteY5463" fmla="*/ 4470232 h 4749526"/>
              <a:gd name="connsiteX5464" fmla="*/ 2109886 w 7402822"/>
              <a:gd name="connsiteY5464" fmla="*/ 4479339 h 4749526"/>
              <a:gd name="connsiteX5465" fmla="*/ 2106851 w 7402822"/>
              <a:gd name="connsiteY5465" fmla="*/ 4485411 h 4749526"/>
              <a:gd name="connsiteX5466" fmla="*/ 2106851 w 7402822"/>
              <a:gd name="connsiteY5466" fmla="*/ 4491483 h 4749526"/>
              <a:gd name="connsiteX5467" fmla="*/ 2100779 w 7402822"/>
              <a:gd name="connsiteY5467" fmla="*/ 4497555 h 4749526"/>
              <a:gd name="connsiteX5468" fmla="*/ 2091672 w 7402822"/>
              <a:gd name="connsiteY5468" fmla="*/ 4503626 h 4749526"/>
              <a:gd name="connsiteX5469" fmla="*/ 2079528 w 7402822"/>
              <a:gd name="connsiteY5469" fmla="*/ 4515769 h 4749526"/>
              <a:gd name="connsiteX5470" fmla="*/ 2070421 w 7402822"/>
              <a:gd name="connsiteY5470" fmla="*/ 4524876 h 4749526"/>
              <a:gd name="connsiteX5471" fmla="*/ 2070421 w 7402822"/>
              <a:gd name="connsiteY5471" fmla="*/ 4530948 h 4749526"/>
              <a:gd name="connsiteX5472" fmla="*/ 2067385 w 7402822"/>
              <a:gd name="connsiteY5472" fmla="*/ 4546127 h 4749526"/>
              <a:gd name="connsiteX5473" fmla="*/ 2064349 w 7402822"/>
              <a:gd name="connsiteY5473" fmla="*/ 4555234 h 4749526"/>
              <a:gd name="connsiteX5474" fmla="*/ 2058278 w 7402822"/>
              <a:gd name="connsiteY5474" fmla="*/ 4558271 h 4749526"/>
              <a:gd name="connsiteX5475" fmla="*/ 2055242 w 7402822"/>
              <a:gd name="connsiteY5475" fmla="*/ 4558271 h 4749526"/>
              <a:gd name="connsiteX5476" fmla="*/ 2052206 w 7402822"/>
              <a:gd name="connsiteY5476" fmla="*/ 4561306 h 4749526"/>
              <a:gd name="connsiteX5477" fmla="*/ 2049170 w 7402822"/>
              <a:gd name="connsiteY5477" fmla="*/ 4561306 h 4749526"/>
              <a:gd name="connsiteX5478" fmla="*/ 2040063 w 7402822"/>
              <a:gd name="connsiteY5478" fmla="*/ 4570414 h 4749526"/>
              <a:gd name="connsiteX5479" fmla="*/ 2040063 w 7402822"/>
              <a:gd name="connsiteY5479" fmla="*/ 4579521 h 4749526"/>
              <a:gd name="connsiteX5480" fmla="*/ 2040063 w 7402822"/>
              <a:gd name="connsiteY5480" fmla="*/ 4585593 h 4749526"/>
              <a:gd name="connsiteX5481" fmla="*/ 2040063 w 7402822"/>
              <a:gd name="connsiteY5481" fmla="*/ 4588629 h 4749526"/>
              <a:gd name="connsiteX5482" fmla="*/ 2043099 w 7402822"/>
              <a:gd name="connsiteY5482" fmla="*/ 4597736 h 4749526"/>
              <a:gd name="connsiteX5483" fmla="*/ 2043099 w 7402822"/>
              <a:gd name="connsiteY5483" fmla="*/ 4603807 h 4749526"/>
              <a:gd name="connsiteX5484" fmla="*/ 2049170 w 7402822"/>
              <a:gd name="connsiteY5484" fmla="*/ 4618986 h 4749526"/>
              <a:gd name="connsiteX5485" fmla="*/ 2055242 w 7402822"/>
              <a:gd name="connsiteY5485" fmla="*/ 4631130 h 4749526"/>
              <a:gd name="connsiteX5486" fmla="*/ 2046134 w 7402822"/>
              <a:gd name="connsiteY5486" fmla="*/ 4628095 h 4749526"/>
              <a:gd name="connsiteX5487" fmla="*/ 2037027 w 7402822"/>
              <a:gd name="connsiteY5487" fmla="*/ 4625058 h 4749526"/>
              <a:gd name="connsiteX5488" fmla="*/ 2035790 w 7402822"/>
              <a:gd name="connsiteY5488" fmla="*/ 4624646 h 4749526"/>
              <a:gd name="connsiteX5489" fmla="*/ 2037026 w 7402822"/>
              <a:gd name="connsiteY5489" fmla="*/ 4625058 h 4749526"/>
              <a:gd name="connsiteX5490" fmla="*/ 2046133 w 7402822"/>
              <a:gd name="connsiteY5490" fmla="*/ 4628095 h 4749526"/>
              <a:gd name="connsiteX5491" fmla="*/ 2055241 w 7402822"/>
              <a:gd name="connsiteY5491" fmla="*/ 4631130 h 4749526"/>
              <a:gd name="connsiteX5492" fmla="*/ 2040062 w 7402822"/>
              <a:gd name="connsiteY5492" fmla="*/ 4628095 h 4749526"/>
              <a:gd name="connsiteX5493" fmla="*/ 2031670 w 7402822"/>
              <a:gd name="connsiteY5493" fmla="*/ 4630892 h 4749526"/>
              <a:gd name="connsiteX5494" fmla="*/ 2030653 w 7402822"/>
              <a:gd name="connsiteY5494" fmla="*/ 4631432 h 4749526"/>
              <a:gd name="connsiteX5495" fmla="*/ 2024882 w 7402822"/>
              <a:gd name="connsiteY5495" fmla="*/ 4637202 h 4749526"/>
              <a:gd name="connsiteX5496" fmla="*/ 2015775 w 7402822"/>
              <a:gd name="connsiteY5496" fmla="*/ 4640237 h 4749526"/>
              <a:gd name="connsiteX5497" fmla="*/ 2009703 w 7402822"/>
              <a:gd name="connsiteY5497" fmla="*/ 4643274 h 4749526"/>
              <a:gd name="connsiteX5498" fmla="*/ 2003633 w 7402822"/>
              <a:gd name="connsiteY5498" fmla="*/ 4649344 h 4749526"/>
              <a:gd name="connsiteX5499" fmla="*/ 2000596 w 7402822"/>
              <a:gd name="connsiteY5499" fmla="*/ 4667560 h 4749526"/>
              <a:gd name="connsiteX5500" fmla="*/ 2000596 w 7402822"/>
              <a:gd name="connsiteY5500" fmla="*/ 4679703 h 4749526"/>
              <a:gd name="connsiteX5501" fmla="*/ 1979346 w 7402822"/>
              <a:gd name="connsiteY5501" fmla="*/ 4676667 h 4749526"/>
              <a:gd name="connsiteX5502" fmla="*/ 1973274 w 7402822"/>
              <a:gd name="connsiteY5502" fmla="*/ 4673631 h 4749526"/>
              <a:gd name="connsiteX5503" fmla="*/ 1970238 w 7402822"/>
              <a:gd name="connsiteY5503" fmla="*/ 4670595 h 4749526"/>
              <a:gd name="connsiteX5504" fmla="*/ 1958095 w 7402822"/>
              <a:gd name="connsiteY5504" fmla="*/ 4664524 h 4749526"/>
              <a:gd name="connsiteX5505" fmla="*/ 1952023 w 7402822"/>
              <a:gd name="connsiteY5505" fmla="*/ 4652381 h 4749526"/>
              <a:gd name="connsiteX5506" fmla="*/ 1948988 w 7402822"/>
              <a:gd name="connsiteY5506" fmla="*/ 4643274 h 4749526"/>
              <a:gd name="connsiteX5507" fmla="*/ 1948988 w 7402822"/>
              <a:gd name="connsiteY5507" fmla="*/ 4634165 h 4749526"/>
              <a:gd name="connsiteX5508" fmla="*/ 1955059 w 7402822"/>
              <a:gd name="connsiteY5508" fmla="*/ 4628095 h 4749526"/>
              <a:gd name="connsiteX5509" fmla="*/ 1952023 w 7402822"/>
              <a:gd name="connsiteY5509" fmla="*/ 4622023 h 4749526"/>
              <a:gd name="connsiteX5510" fmla="*/ 1948988 w 7402822"/>
              <a:gd name="connsiteY5510" fmla="*/ 4618986 h 4749526"/>
              <a:gd name="connsiteX5511" fmla="*/ 1945952 w 7402822"/>
              <a:gd name="connsiteY5511" fmla="*/ 4612915 h 4749526"/>
              <a:gd name="connsiteX5512" fmla="*/ 1945952 w 7402822"/>
              <a:gd name="connsiteY5512" fmla="*/ 4603807 h 4749526"/>
              <a:gd name="connsiteX5513" fmla="*/ 1945952 w 7402822"/>
              <a:gd name="connsiteY5513" fmla="*/ 4594700 h 4749526"/>
              <a:gd name="connsiteX5514" fmla="*/ 1933809 w 7402822"/>
              <a:gd name="connsiteY5514" fmla="*/ 4585593 h 4749526"/>
              <a:gd name="connsiteX5515" fmla="*/ 1942916 w 7402822"/>
              <a:gd name="connsiteY5515" fmla="*/ 4585593 h 4749526"/>
              <a:gd name="connsiteX5516" fmla="*/ 1936844 w 7402822"/>
              <a:gd name="connsiteY5516" fmla="*/ 4576485 h 4749526"/>
              <a:gd name="connsiteX5517" fmla="*/ 1936844 w 7402822"/>
              <a:gd name="connsiteY5517" fmla="*/ 4573450 h 4749526"/>
              <a:gd name="connsiteX5518" fmla="*/ 1936844 w 7402822"/>
              <a:gd name="connsiteY5518" fmla="*/ 4567378 h 4749526"/>
              <a:gd name="connsiteX5519" fmla="*/ 1930772 w 7402822"/>
              <a:gd name="connsiteY5519" fmla="*/ 4564342 h 4749526"/>
              <a:gd name="connsiteX5520" fmla="*/ 1933809 w 7402822"/>
              <a:gd name="connsiteY5520" fmla="*/ 4558271 h 4749526"/>
              <a:gd name="connsiteX5521" fmla="*/ 1939880 w 7402822"/>
              <a:gd name="connsiteY5521" fmla="*/ 4555234 h 4749526"/>
              <a:gd name="connsiteX5522" fmla="*/ 1936844 w 7402822"/>
              <a:gd name="connsiteY5522" fmla="*/ 4546127 h 4749526"/>
              <a:gd name="connsiteX5523" fmla="*/ 1939880 w 7402822"/>
              <a:gd name="connsiteY5523" fmla="*/ 4543092 h 4749526"/>
              <a:gd name="connsiteX5524" fmla="*/ 1933809 w 7402822"/>
              <a:gd name="connsiteY5524" fmla="*/ 4537020 h 4749526"/>
              <a:gd name="connsiteX5525" fmla="*/ 1930772 w 7402822"/>
              <a:gd name="connsiteY5525" fmla="*/ 4527913 h 4749526"/>
              <a:gd name="connsiteX5526" fmla="*/ 1930772 w 7402822"/>
              <a:gd name="connsiteY5526" fmla="*/ 4518805 h 4749526"/>
              <a:gd name="connsiteX5527" fmla="*/ 1930772 w 7402822"/>
              <a:gd name="connsiteY5527" fmla="*/ 4506662 h 4749526"/>
              <a:gd name="connsiteX5528" fmla="*/ 1930772 w 7402822"/>
              <a:gd name="connsiteY5528" fmla="*/ 4494518 h 4749526"/>
              <a:gd name="connsiteX5529" fmla="*/ 1936844 w 7402822"/>
              <a:gd name="connsiteY5529" fmla="*/ 4491483 h 4749526"/>
              <a:gd name="connsiteX5530" fmla="*/ 1945952 w 7402822"/>
              <a:gd name="connsiteY5530" fmla="*/ 4491483 h 4749526"/>
              <a:gd name="connsiteX5531" fmla="*/ 1948988 w 7402822"/>
              <a:gd name="connsiteY5531" fmla="*/ 4485411 h 4749526"/>
              <a:gd name="connsiteX5532" fmla="*/ 1936844 w 7402822"/>
              <a:gd name="connsiteY5532" fmla="*/ 4485411 h 4749526"/>
              <a:gd name="connsiteX5533" fmla="*/ 1927737 w 7402822"/>
              <a:gd name="connsiteY5533" fmla="*/ 4485411 h 4749526"/>
              <a:gd name="connsiteX5534" fmla="*/ 1924701 w 7402822"/>
              <a:gd name="connsiteY5534" fmla="*/ 4482375 h 4749526"/>
              <a:gd name="connsiteX5535" fmla="*/ 1927737 w 7402822"/>
              <a:gd name="connsiteY5535" fmla="*/ 4476304 h 4749526"/>
              <a:gd name="connsiteX5536" fmla="*/ 1930772 w 7402822"/>
              <a:gd name="connsiteY5536" fmla="*/ 4476304 h 4749526"/>
              <a:gd name="connsiteX5537" fmla="*/ 1936844 w 7402822"/>
              <a:gd name="connsiteY5537" fmla="*/ 4467196 h 4749526"/>
              <a:gd name="connsiteX5538" fmla="*/ 1936844 w 7402822"/>
              <a:gd name="connsiteY5538" fmla="*/ 4470232 h 4749526"/>
              <a:gd name="connsiteX5539" fmla="*/ 1939880 w 7402822"/>
              <a:gd name="connsiteY5539" fmla="*/ 4461124 h 4749526"/>
              <a:gd name="connsiteX5540" fmla="*/ 1930772 w 7402822"/>
              <a:gd name="connsiteY5540" fmla="*/ 4455053 h 4749526"/>
              <a:gd name="connsiteX5541" fmla="*/ 1921665 w 7402822"/>
              <a:gd name="connsiteY5541" fmla="*/ 4455053 h 4749526"/>
              <a:gd name="connsiteX5542" fmla="*/ 1909523 w 7402822"/>
              <a:gd name="connsiteY5542" fmla="*/ 4452017 h 4749526"/>
              <a:gd name="connsiteX5543" fmla="*/ 1909523 w 7402822"/>
              <a:gd name="connsiteY5543" fmla="*/ 4458089 h 4749526"/>
              <a:gd name="connsiteX5544" fmla="*/ 1906486 w 7402822"/>
              <a:gd name="connsiteY5544" fmla="*/ 4458089 h 4749526"/>
              <a:gd name="connsiteX5545" fmla="*/ 1906486 w 7402822"/>
              <a:gd name="connsiteY5545" fmla="*/ 4448982 h 4749526"/>
              <a:gd name="connsiteX5546" fmla="*/ 1912558 w 7402822"/>
              <a:gd name="connsiteY5546" fmla="*/ 4442910 h 4749526"/>
              <a:gd name="connsiteX5547" fmla="*/ 1918630 w 7402822"/>
              <a:gd name="connsiteY5547" fmla="*/ 4439874 h 4749526"/>
              <a:gd name="connsiteX5548" fmla="*/ 1924701 w 7402822"/>
              <a:gd name="connsiteY5548" fmla="*/ 4427731 h 4749526"/>
              <a:gd name="connsiteX5549" fmla="*/ 1930772 w 7402822"/>
              <a:gd name="connsiteY5549" fmla="*/ 4424694 h 4749526"/>
              <a:gd name="connsiteX5550" fmla="*/ 1936844 w 7402822"/>
              <a:gd name="connsiteY5550" fmla="*/ 4427731 h 4749526"/>
              <a:gd name="connsiteX5551" fmla="*/ 1942916 w 7402822"/>
              <a:gd name="connsiteY5551" fmla="*/ 4436838 h 4749526"/>
              <a:gd name="connsiteX5552" fmla="*/ 1945952 w 7402822"/>
              <a:gd name="connsiteY5552" fmla="*/ 4433803 h 4749526"/>
              <a:gd name="connsiteX5553" fmla="*/ 1945952 w 7402822"/>
              <a:gd name="connsiteY5553" fmla="*/ 4427731 h 4749526"/>
              <a:gd name="connsiteX5554" fmla="*/ 1948988 w 7402822"/>
              <a:gd name="connsiteY5554" fmla="*/ 4415587 h 4749526"/>
              <a:gd name="connsiteX5555" fmla="*/ 1955059 w 7402822"/>
              <a:gd name="connsiteY5555" fmla="*/ 4400408 h 4749526"/>
              <a:gd name="connsiteX5556" fmla="*/ 1961131 w 7402822"/>
              <a:gd name="connsiteY5556" fmla="*/ 4397373 h 4749526"/>
              <a:gd name="connsiteX5557" fmla="*/ 1967203 w 7402822"/>
              <a:gd name="connsiteY5557" fmla="*/ 4391301 h 4749526"/>
              <a:gd name="connsiteX5558" fmla="*/ 1964167 w 7402822"/>
              <a:gd name="connsiteY5558" fmla="*/ 4388265 h 4749526"/>
              <a:gd name="connsiteX5559" fmla="*/ 1961131 w 7402822"/>
              <a:gd name="connsiteY5559" fmla="*/ 4394337 h 4749526"/>
              <a:gd name="connsiteX5560" fmla="*/ 1952023 w 7402822"/>
              <a:gd name="connsiteY5560" fmla="*/ 4400408 h 4749526"/>
              <a:gd name="connsiteX5561" fmla="*/ 1948988 w 7402822"/>
              <a:gd name="connsiteY5561" fmla="*/ 4394337 h 4749526"/>
              <a:gd name="connsiteX5562" fmla="*/ 1952023 w 7402822"/>
              <a:gd name="connsiteY5562" fmla="*/ 4388265 h 4749526"/>
              <a:gd name="connsiteX5563" fmla="*/ 1961131 w 7402822"/>
              <a:gd name="connsiteY5563" fmla="*/ 4385229 h 4749526"/>
              <a:gd name="connsiteX5564" fmla="*/ 1955059 w 7402822"/>
              <a:gd name="connsiteY5564" fmla="*/ 4379158 h 4749526"/>
              <a:gd name="connsiteX5565" fmla="*/ 1955059 w 7402822"/>
              <a:gd name="connsiteY5565" fmla="*/ 4376122 h 4749526"/>
              <a:gd name="connsiteX5566" fmla="*/ 1961131 w 7402822"/>
              <a:gd name="connsiteY5566" fmla="*/ 4367014 h 4749526"/>
              <a:gd name="connsiteX5567" fmla="*/ 1961131 w 7402822"/>
              <a:gd name="connsiteY5567" fmla="*/ 4336656 h 4749526"/>
              <a:gd name="connsiteX5568" fmla="*/ 1964167 w 7402822"/>
              <a:gd name="connsiteY5568" fmla="*/ 4324514 h 4749526"/>
              <a:gd name="connsiteX5569" fmla="*/ 1964167 w 7402822"/>
              <a:gd name="connsiteY5569" fmla="*/ 4315405 h 4749526"/>
              <a:gd name="connsiteX5570" fmla="*/ 1967203 w 7402822"/>
              <a:gd name="connsiteY5570" fmla="*/ 4309335 h 4749526"/>
              <a:gd name="connsiteX5571" fmla="*/ 1961131 w 7402822"/>
              <a:gd name="connsiteY5571" fmla="*/ 4303263 h 4749526"/>
              <a:gd name="connsiteX5572" fmla="*/ 1958095 w 7402822"/>
              <a:gd name="connsiteY5572" fmla="*/ 4306298 h 4749526"/>
              <a:gd name="connsiteX5573" fmla="*/ 1958095 w 7402822"/>
              <a:gd name="connsiteY5573" fmla="*/ 4309335 h 4749526"/>
              <a:gd name="connsiteX5574" fmla="*/ 1948988 w 7402822"/>
              <a:gd name="connsiteY5574" fmla="*/ 4309335 h 4749526"/>
              <a:gd name="connsiteX5575" fmla="*/ 1945952 w 7402822"/>
              <a:gd name="connsiteY5575" fmla="*/ 4309335 h 4749526"/>
              <a:gd name="connsiteX5576" fmla="*/ 1945952 w 7402822"/>
              <a:gd name="connsiteY5576" fmla="*/ 4306298 h 4749526"/>
              <a:gd name="connsiteX5577" fmla="*/ 1939880 w 7402822"/>
              <a:gd name="connsiteY5577" fmla="*/ 4288084 h 4749526"/>
              <a:gd name="connsiteX5578" fmla="*/ 1942916 w 7402822"/>
              <a:gd name="connsiteY5578" fmla="*/ 4278976 h 4749526"/>
              <a:gd name="connsiteX5579" fmla="*/ 1945952 w 7402822"/>
              <a:gd name="connsiteY5579" fmla="*/ 4266833 h 4749526"/>
              <a:gd name="connsiteX5580" fmla="*/ 1948988 w 7402822"/>
              <a:gd name="connsiteY5580" fmla="*/ 4257725 h 4749526"/>
              <a:gd name="connsiteX5581" fmla="*/ 1952023 w 7402822"/>
              <a:gd name="connsiteY5581" fmla="*/ 4254690 h 4749526"/>
              <a:gd name="connsiteX5582" fmla="*/ 1955059 w 7402822"/>
              <a:gd name="connsiteY5582" fmla="*/ 4248618 h 4749526"/>
              <a:gd name="connsiteX5583" fmla="*/ 1955059 w 7402822"/>
              <a:gd name="connsiteY5583" fmla="*/ 4239510 h 4749526"/>
              <a:gd name="connsiteX5584" fmla="*/ 1955059 w 7402822"/>
              <a:gd name="connsiteY5584" fmla="*/ 4236474 h 4749526"/>
              <a:gd name="connsiteX5585" fmla="*/ 1948988 w 7402822"/>
              <a:gd name="connsiteY5585" fmla="*/ 4224331 h 4749526"/>
              <a:gd name="connsiteX5586" fmla="*/ 1948988 w 7402822"/>
              <a:gd name="connsiteY5586" fmla="*/ 4215224 h 4749526"/>
              <a:gd name="connsiteX5587" fmla="*/ 1945952 w 7402822"/>
              <a:gd name="connsiteY5587" fmla="*/ 4206116 h 4749526"/>
              <a:gd name="connsiteX5588" fmla="*/ 1945952 w 7402822"/>
              <a:gd name="connsiteY5588" fmla="*/ 4190937 h 4749526"/>
              <a:gd name="connsiteX5589" fmla="*/ 1948988 w 7402822"/>
              <a:gd name="connsiteY5589" fmla="*/ 4187902 h 4749526"/>
              <a:gd name="connsiteX5590" fmla="*/ 1952023 w 7402822"/>
              <a:gd name="connsiteY5590" fmla="*/ 4187902 h 4749526"/>
              <a:gd name="connsiteX5591" fmla="*/ 1955059 w 7402822"/>
              <a:gd name="connsiteY5591" fmla="*/ 4187902 h 4749526"/>
              <a:gd name="connsiteX5592" fmla="*/ 1958095 w 7402822"/>
              <a:gd name="connsiteY5592" fmla="*/ 4178794 h 4749526"/>
              <a:gd name="connsiteX5593" fmla="*/ 1958095 w 7402822"/>
              <a:gd name="connsiteY5593" fmla="*/ 4175758 h 4749526"/>
              <a:gd name="connsiteX5594" fmla="*/ 1961131 w 7402822"/>
              <a:gd name="connsiteY5594" fmla="*/ 4166651 h 4749526"/>
              <a:gd name="connsiteX5595" fmla="*/ 1964167 w 7402822"/>
              <a:gd name="connsiteY5595" fmla="*/ 4157543 h 4749526"/>
              <a:gd name="connsiteX5596" fmla="*/ 1967203 w 7402822"/>
              <a:gd name="connsiteY5596" fmla="*/ 4145400 h 4749526"/>
              <a:gd name="connsiteX5597" fmla="*/ 1976310 w 7402822"/>
              <a:gd name="connsiteY5597" fmla="*/ 4133257 h 4749526"/>
              <a:gd name="connsiteX5598" fmla="*/ 1979346 w 7402822"/>
              <a:gd name="connsiteY5598" fmla="*/ 4118078 h 4749526"/>
              <a:gd name="connsiteX5599" fmla="*/ 1979346 w 7402822"/>
              <a:gd name="connsiteY5599" fmla="*/ 4112006 h 4749526"/>
              <a:gd name="connsiteX5600" fmla="*/ 1982382 w 7402822"/>
              <a:gd name="connsiteY5600" fmla="*/ 4105934 h 4749526"/>
              <a:gd name="connsiteX5601" fmla="*/ 1988453 w 7402822"/>
              <a:gd name="connsiteY5601" fmla="*/ 4093792 h 4749526"/>
              <a:gd name="connsiteX5602" fmla="*/ 1985417 w 7402822"/>
              <a:gd name="connsiteY5602" fmla="*/ 4084683 h 4749526"/>
              <a:gd name="connsiteX5603" fmla="*/ 1991489 w 7402822"/>
              <a:gd name="connsiteY5603" fmla="*/ 4081648 h 4749526"/>
              <a:gd name="connsiteX5604" fmla="*/ 1988453 w 7402822"/>
              <a:gd name="connsiteY5604" fmla="*/ 4051290 h 4749526"/>
              <a:gd name="connsiteX5605" fmla="*/ 1988453 w 7402822"/>
              <a:gd name="connsiteY5605" fmla="*/ 4036111 h 4749526"/>
              <a:gd name="connsiteX5606" fmla="*/ 1985417 w 7402822"/>
              <a:gd name="connsiteY5606" fmla="*/ 4023968 h 4749526"/>
              <a:gd name="connsiteX5607" fmla="*/ 1988453 w 7402822"/>
              <a:gd name="connsiteY5607" fmla="*/ 4017896 h 4749526"/>
              <a:gd name="connsiteX5608" fmla="*/ 1994524 w 7402822"/>
              <a:gd name="connsiteY5608" fmla="*/ 4011824 h 4749526"/>
              <a:gd name="connsiteX5609" fmla="*/ 1994524 w 7402822"/>
              <a:gd name="connsiteY5609" fmla="*/ 3999682 h 4749526"/>
              <a:gd name="connsiteX5610" fmla="*/ 1991489 w 7402822"/>
              <a:gd name="connsiteY5610" fmla="*/ 3984503 h 4749526"/>
              <a:gd name="connsiteX5611" fmla="*/ 1991489 w 7402822"/>
              <a:gd name="connsiteY5611" fmla="*/ 3981466 h 4749526"/>
              <a:gd name="connsiteX5612" fmla="*/ 1997561 w 7402822"/>
              <a:gd name="connsiteY5612" fmla="*/ 3972359 h 4749526"/>
              <a:gd name="connsiteX5613" fmla="*/ 2000596 w 7402822"/>
              <a:gd name="connsiteY5613" fmla="*/ 3957180 h 4749526"/>
              <a:gd name="connsiteX5614" fmla="*/ 2003633 w 7402822"/>
              <a:gd name="connsiteY5614" fmla="*/ 3954144 h 4749526"/>
              <a:gd name="connsiteX5615" fmla="*/ 2003633 w 7402822"/>
              <a:gd name="connsiteY5615" fmla="*/ 3948073 h 4749526"/>
              <a:gd name="connsiteX5616" fmla="*/ 2003633 w 7402822"/>
              <a:gd name="connsiteY5616" fmla="*/ 3942001 h 4749526"/>
              <a:gd name="connsiteX5617" fmla="*/ 2006668 w 7402822"/>
              <a:gd name="connsiteY5617" fmla="*/ 3935929 h 4749526"/>
              <a:gd name="connsiteX5618" fmla="*/ 2009703 w 7402822"/>
              <a:gd name="connsiteY5618" fmla="*/ 3905571 h 4749526"/>
              <a:gd name="connsiteX5619" fmla="*/ 2009703 w 7402822"/>
              <a:gd name="connsiteY5619" fmla="*/ 3893428 h 4749526"/>
              <a:gd name="connsiteX5620" fmla="*/ 2009703 w 7402822"/>
              <a:gd name="connsiteY5620" fmla="*/ 3887356 h 4749526"/>
              <a:gd name="connsiteX5621" fmla="*/ 2009703 w 7402822"/>
              <a:gd name="connsiteY5621" fmla="*/ 3878249 h 4749526"/>
              <a:gd name="connsiteX5622" fmla="*/ 2012740 w 7402822"/>
              <a:gd name="connsiteY5622" fmla="*/ 3869142 h 4749526"/>
              <a:gd name="connsiteX5623" fmla="*/ 2012740 w 7402822"/>
              <a:gd name="connsiteY5623" fmla="*/ 3866105 h 4749526"/>
              <a:gd name="connsiteX5624" fmla="*/ 2012740 w 7402822"/>
              <a:gd name="connsiteY5624" fmla="*/ 3860034 h 4749526"/>
              <a:gd name="connsiteX5625" fmla="*/ 2012740 w 7402822"/>
              <a:gd name="connsiteY5625" fmla="*/ 3850926 h 4749526"/>
              <a:gd name="connsiteX5626" fmla="*/ 2015775 w 7402822"/>
              <a:gd name="connsiteY5626" fmla="*/ 3841819 h 4749526"/>
              <a:gd name="connsiteX5627" fmla="*/ 2018812 w 7402822"/>
              <a:gd name="connsiteY5627" fmla="*/ 3829676 h 4749526"/>
              <a:gd name="connsiteX5628" fmla="*/ 2018812 w 7402822"/>
              <a:gd name="connsiteY5628" fmla="*/ 3820568 h 4749526"/>
              <a:gd name="connsiteX5629" fmla="*/ 2021847 w 7402822"/>
              <a:gd name="connsiteY5629" fmla="*/ 3814497 h 4749526"/>
              <a:gd name="connsiteX5630" fmla="*/ 2018812 w 7402822"/>
              <a:gd name="connsiteY5630" fmla="*/ 3808425 h 4749526"/>
              <a:gd name="connsiteX5631" fmla="*/ 2018812 w 7402822"/>
              <a:gd name="connsiteY5631" fmla="*/ 3802354 h 4749526"/>
              <a:gd name="connsiteX5632" fmla="*/ 2018812 w 7402822"/>
              <a:gd name="connsiteY5632" fmla="*/ 3790211 h 4749526"/>
              <a:gd name="connsiteX5633" fmla="*/ 2018812 w 7402822"/>
              <a:gd name="connsiteY5633" fmla="*/ 3775032 h 4749526"/>
              <a:gd name="connsiteX5634" fmla="*/ 2015775 w 7402822"/>
              <a:gd name="connsiteY5634" fmla="*/ 3768960 h 4749526"/>
              <a:gd name="connsiteX5635" fmla="*/ 2015775 w 7402822"/>
              <a:gd name="connsiteY5635" fmla="*/ 3762888 h 4749526"/>
              <a:gd name="connsiteX5636" fmla="*/ 2015775 w 7402822"/>
              <a:gd name="connsiteY5636" fmla="*/ 3756816 h 4749526"/>
              <a:gd name="connsiteX5637" fmla="*/ 2015775 w 7402822"/>
              <a:gd name="connsiteY5637" fmla="*/ 3755113 h 4749526"/>
              <a:gd name="connsiteX5638" fmla="*/ 2013353 w 7402822"/>
              <a:gd name="connsiteY5638" fmla="*/ 3748935 h 4749526"/>
              <a:gd name="connsiteX5639" fmla="*/ 2012740 w 7402822"/>
              <a:gd name="connsiteY5639" fmla="*/ 3747709 h 4749526"/>
              <a:gd name="connsiteX5640" fmla="*/ 2012741 w 7402822"/>
              <a:gd name="connsiteY5640" fmla="*/ 3747708 h 4749526"/>
              <a:gd name="connsiteX5641" fmla="*/ 2006669 w 7402822"/>
              <a:gd name="connsiteY5641" fmla="*/ 3741637 h 4749526"/>
              <a:gd name="connsiteX5642" fmla="*/ 1997562 w 7402822"/>
              <a:gd name="connsiteY5642" fmla="*/ 3735566 h 4749526"/>
              <a:gd name="connsiteX5643" fmla="*/ 1994525 w 7402822"/>
              <a:gd name="connsiteY5643" fmla="*/ 3729494 h 4749526"/>
              <a:gd name="connsiteX5644" fmla="*/ 1991490 w 7402822"/>
              <a:gd name="connsiteY5644" fmla="*/ 3726458 h 4749526"/>
              <a:gd name="connsiteX5645" fmla="*/ 1985418 w 7402822"/>
              <a:gd name="connsiteY5645" fmla="*/ 3723423 h 4749526"/>
              <a:gd name="connsiteX5646" fmla="*/ 1982383 w 7402822"/>
              <a:gd name="connsiteY5646" fmla="*/ 3723423 h 4749526"/>
              <a:gd name="connsiteX5647" fmla="*/ 1982383 w 7402822"/>
              <a:gd name="connsiteY5647" fmla="*/ 3720387 h 4749526"/>
              <a:gd name="connsiteX5648" fmla="*/ 1970239 w 7402822"/>
              <a:gd name="connsiteY5648" fmla="*/ 3711279 h 4749526"/>
              <a:gd name="connsiteX5649" fmla="*/ 1967204 w 7402822"/>
              <a:gd name="connsiteY5649" fmla="*/ 3711279 h 4749526"/>
              <a:gd name="connsiteX5650" fmla="*/ 1961132 w 7402822"/>
              <a:gd name="connsiteY5650" fmla="*/ 3708244 h 4749526"/>
              <a:gd name="connsiteX5651" fmla="*/ 1952024 w 7402822"/>
              <a:gd name="connsiteY5651" fmla="*/ 3702172 h 4749526"/>
              <a:gd name="connsiteX5652" fmla="*/ 1939881 w 7402822"/>
              <a:gd name="connsiteY5652" fmla="*/ 3699136 h 4749526"/>
              <a:gd name="connsiteX5653" fmla="*/ 1927738 w 7402822"/>
              <a:gd name="connsiteY5653" fmla="*/ 3690029 h 4749526"/>
              <a:gd name="connsiteX5654" fmla="*/ 1915594 w 7402822"/>
              <a:gd name="connsiteY5654" fmla="*/ 3683957 h 4749526"/>
              <a:gd name="connsiteX5655" fmla="*/ 1906487 w 7402822"/>
              <a:gd name="connsiteY5655" fmla="*/ 3674850 h 4749526"/>
              <a:gd name="connsiteX5656" fmla="*/ 1897380 w 7402822"/>
              <a:gd name="connsiteY5656" fmla="*/ 3665743 h 4749526"/>
              <a:gd name="connsiteX5657" fmla="*/ 1888273 w 7402822"/>
              <a:gd name="connsiteY5657" fmla="*/ 3653599 h 4749526"/>
              <a:gd name="connsiteX5658" fmla="*/ 1891308 w 7402822"/>
              <a:gd name="connsiteY5658" fmla="*/ 3650564 h 4749526"/>
              <a:gd name="connsiteX5659" fmla="*/ 1894344 w 7402822"/>
              <a:gd name="connsiteY5659" fmla="*/ 3647527 h 4749526"/>
              <a:gd name="connsiteX5660" fmla="*/ 1888273 w 7402822"/>
              <a:gd name="connsiteY5660" fmla="*/ 3632348 h 4749526"/>
              <a:gd name="connsiteX5661" fmla="*/ 1882201 w 7402822"/>
              <a:gd name="connsiteY5661" fmla="*/ 3623241 h 4749526"/>
              <a:gd name="connsiteX5662" fmla="*/ 1873094 w 7402822"/>
              <a:gd name="connsiteY5662" fmla="*/ 3614134 h 4749526"/>
              <a:gd name="connsiteX5663" fmla="*/ 1873094 w 7402822"/>
              <a:gd name="connsiteY5663" fmla="*/ 3611098 h 4749526"/>
              <a:gd name="connsiteX5664" fmla="*/ 1873094 w 7402822"/>
              <a:gd name="connsiteY5664" fmla="*/ 3608062 h 4749526"/>
              <a:gd name="connsiteX5665" fmla="*/ 1867022 w 7402822"/>
              <a:gd name="connsiteY5665" fmla="*/ 3598954 h 4749526"/>
              <a:gd name="connsiteX5666" fmla="*/ 1860950 w 7402822"/>
              <a:gd name="connsiteY5666" fmla="*/ 3589847 h 4749526"/>
              <a:gd name="connsiteX5667" fmla="*/ 1857914 w 7402822"/>
              <a:gd name="connsiteY5667" fmla="*/ 3580740 h 4749526"/>
              <a:gd name="connsiteX5668" fmla="*/ 1851843 w 7402822"/>
              <a:gd name="connsiteY5668" fmla="*/ 3568596 h 4749526"/>
              <a:gd name="connsiteX5669" fmla="*/ 1848807 w 7402822"/>
              <a:gd name="connsiteY5669" fmla="*/ 3556453 h 4749526"/>
              <a:gd name="connsiteX5670" fmla="*/ 1842735 w 7402822"/>
              <a:gd name="connsiteY5670" fmla="*/ 3550382 h 4749526"/>
              <a:gd name="connsiteX5671" fmla="*/ 1842735 w 7402822"/>
              <a:gd name="connsiteY5671" fmla="*/ 3547345 h 4749526"/>
              <a:gd name="connsiteX5672" fmla="*/ 1836664 w 7402822"/>
              <a:gd name="connsiteY5672" fmla="*/ 3535203 h 4749526"/>
              <a:gd name="connsiteX5673" fmla="*/ 1830592 w 7402822"/>
              <a:gd name="connsiteY5673" fmla="*/ 3529131 h 4749526"/>
              <a:gd name="connsiteX5674" fmla="*/ 1827556 w 7402822"/>
              <a:gd name="connsiteY5674" fmla="*/ 3523059 h 4749526"/>
              <a:gd name="connsiteX5675" fmla="*/ 1824521 w 7402822"/>
              <a:gd name="connsiteY5675" fmla="*/ 3516987 h 4749526"/>
              <a:gd name="connsiteX5676" fmla="*/ 1818449 w 7402822"/>
              <a:gd name="connsiteY5676" fmla="*/ 3504844 h 4749526"/>
              <a:gd name="connsiteX5677" fmla="*/ 1809342 w 7402822"/>
              <a:gd name="connsiteY5677" fmla="*/ 3498773 h 4749526"/>
              <a:gd name="connsiteX5678" fmla="*/ 1797198 w 7402822"/>
              <a:gd name="connsiteY5678" fmla="*/ 3492701 h 4749526"/>
              <a:gd name="connsiteX5679" fmla="*/ 1791126 w 7402822"/>
              <a:gd name="connsiteY5679" fmla="*/ 3486629 h 4749526"/>
              <a:gd name="connsiteX5680" fmla="*/ 1797198 w 7402822"/>
              <a:gd name="connsiteY5680" fmla="*/ 3483594 h 4749526"/>
              <a:gd name="connsiteX5681" fmla="*/ 1794163 w 7402822"/>
              <a:gd name="connsiteY5681" fmla="*/ 3474486 h 4749526"/>
              <a:gd name="connsiteX5682" fmla="*/ 1794163 w 7402822"/>
              <a:gd name="connsiteY5682" fmla="*/ 3468414 h 4749526"/>
              <a:gd name="connsiteX5683" fmla="*/ 1791126 w 7402822"/>
              <a:gd name="connsiteY5683" fmla="*/ 3465379 h 4749526"/>
              <a:gd name="connsiteX5684" fmla="*/ 1788091 w 7402822"/>
              <a:gd name="connsiteY5684" fmla="*/ 3459307 h 4749526"/>
              <a:gd name="connsiteX5685" fmla="*/ 1788091 w 7402822"/>
              <a:gd name="connsiteY5685" fmla="*/ 3453235 h 4749526"/>
              <a:gd name="connsiteX5686" fmla="*/ 1809341 w 7402822"/>
              <a:gd name="connsiteY5686" fmla="*/ 3435021 h 4749526"/>
              <a:gd name="connsiteX5687" fmla="*/ 1818448 w 7402822"/>
              <a:gd name="connsiteY5687" fmla="*/ 3428949 h 4749526"/>
              <a:gd name="connsiteX5688" fmla="*/ 1818448 w 7402822"/>
              <a:gd name="connsiteY5688" fmla="*/ 3422877 h 4749526"/>
              <a:gd name="connsiteX5689" fmla="*/ 1818448 w 7402822"/>
              <a:gd name="connsiteY5689" fmla="*/ 3416805 h 4749526"/>
              <a:gd name="connsiteX5690" fmla="*/ 1809341 w 7402822"/>
              <a:gd name="connsiteY5690" fmla="*/ 3419842 h 4749526"/>
              <a:gd name="connsiteX5691" fmla="*/ 1800233 w 7402822"/>
              <a:gd name="connsiteY5691" fmla="*/ 3416805 h 4749526"/>
              <a:gd name="connsiteX5692" fmla="*/ 1797197 w 7402822"/>
              <a:gd name="connsiteY5692" fmla="*/ 3410734 h 4749526"/>
              <a:gd name="connsiteX5693" fmla="*/ 1800233 w 7402822"/>
              <a:gd name="connsiteY5693" fmla="*/ 3401627 h 4749526"/>
              <a:gd name="connsiteX5694" fmla="*/ 1797197 w 7402822"/>
              <a:gd name="connsiteY5694" fmla="*/ 3389484 h 4749526"/>
              <a:gd name="connsiteX5695" fmla="*/ 1797197 w 7402822"/>
              <a:gd name="connsiteY5695" fmla="*/ 3383412 h 4749526"/>
              <a:gd name="connsiteX5696" fmla="*/ 1800233 w 7402822"/>
              <a:gd name="connsiteY5696" fmla="*/ 3383412 h 4749526"/>
              <a:gd name="connsiteX5697" fmla="*/ 1806304 w 7402822"/>
              <a:gd name="connsiteY5697" fmla="*/ 3374304 h 4749526"/>
              <a:gd name="connsiteX5698" fmla="*/ 1815412 w 7402822"/>
              <a:gd name="connsiteY5698" fmla="*/ 3362161 h 4749526"/>
              <a:gd name="connsiteX5699" fmla="*/ 1812376 w 7402822"/>
              <a:gd name="connsiteY5699" fmla="*/ 3353054 h 4749526"/>
              <a:gd name="connsiteX5700" fmla="*/ 1818448 w 7402822"/>
              <a:gd name="connsiteY5700" fmla="*/ 3346982 h 4749526"/>
              <a:gd name="connsiteX5701" fmla="*/ 1827555 w 7402822"/>
              <a:gd name="connsiteY5701" fmla="*/ 3340911 h 4749526"/>
              <a:gd name="connsiteX5702" fmla="*/ 1833627 w 7402822"/>
              <a:gd name="connsiteY5702" fmla="*/ 3340911 h 4749526"/>
              <a:gd name="connsiteX5703" fmla="*/ 1839699 w 7402822"/>
              <a:gd name="connsiteY5703" fmla="*/ 3334839 h 4749526"/>
              <a:gd name="connsiteX5704" fmla="*/ 1841976 w 7402822"/>
              <a:gd name="connsiteY5704" fmla="*/ 3336357 h 4749526"/>
              <a:gd name="connsiteX5705" fmla="*/ 1839700 w 7402822"/>
              <a:gd name="connsiteY5705" fmla="*/ 3334839 h 4749526"/>
              <a:gd name="connsiteX5706" fmla="*/ 1833628 w 7402822"/>
              <a:gd name="connsiteY5706" fmla="*/ 3331804 h 4749526"/>
              <a:gd name="connsiteX5707" fmla="*/ 1839700 w 7402822"/>
              <a:gd name="connsiteY5707" fmla="*/ 3328767 h 4749526"/>
              <a:gd name="connsiteX5708" fmla="*/ 1845771 w 7402822"/>
              <a:gd name="connsiteY5708" fmla="*/ 3325732 h 4749526"/>
              <a:gd name="connsiteX5709" fmla="*/ 1842735 w 7402822"/>
              <a:gd name="connsiteY5709" fmla="*/ 3319660 h 4749526"/>
              <a:gd name="connsiteX5710" fmla="*/ 1851843 w 7402822"/>
              <a:gd name="connsiteY5710" fmla="*/ 3313588 h 4749526"/>
              <a:gd name="connsiteX5711" fmla="*/ 1860950 w 7402822"/>
              <a:gd name="connsiteY5711" fmla="*/ 3310553 h 4749526"/>
              <a:gd name="connsiteX5712" fmla="*/ 1867022 w 7402822"/>
              <a:gd name="connsiteY5712" fmla="*/ 3301445 h 4749526"/>
              <a:gd name="connsiteX5713" fmla="*/ 1870057 w 7402822"/>
              <a:gd name="connsiteY5713" fmla="*/ 3286266 h 4749526"/>
              <a:gd name="connsiteX5714" fmla="*/ 1867022 w 7402822"/>
              <a:gd name="connsiteY5714" fmla="*/ 3280194 h 4749526"/>
              <a:gd name="connsiteX5715" fmla="*/ 1873094 w 7402822"/>
              <a:gd name="connsiteY5715" fmla="*/ 3277158 h 4749526"/>
              <a:gd name="connsiteX5716" fmla="*/ 1870057 w 7402822"/>
              <a:gd name="connsiteY5716" fmla="*/ 3271087 h 4749526"/>
              <a:gd name="connsiteX5717" fmla="*/ 1870057 w 7402822"/>
              <a:gd name="connsiteY5717" fmla="*/ 3258944 h 4749526"/>
              <a:gd name="connsiteX5718" fmla="*/ 1867022 w 7402822"/>
              <a:gd name="connsiteY5718" fmla="*/ 3246801 h 4749526"/>
              <a:gd name="connsiteX5719" fmla="*/ 1867022 w 7402822"/>
              <a:gd name="connsiteY5719" fmla="*/ 3237693 h 4749526"/>
              <a:gd name="connsiteX5720" fmla="*/ 1870057 w 7402822"/>
              <a:gd name="connsiteY5720" fmla="*/ 3231622 h 4749526"/>
              <a:gd name="connsiteX5721" fmla="*/ 1870057 w 7402822"/>
              <a:gd name="connsiteY5721" fmla="*/ 3228585 h 4749526"/>
              <a:gd name="connsiteX5722" fmla="*/ 1863986 w 7402822"/>
              <a:gd name="connsiteY5722" fmla="*/ 3222514 h 4749526"/>
              <a:gd name="connsiteX5723" fmla="*/ 1863986 w 7402822"/>
              <a:gd name="connsiteY5723" fmla="*/ 3219478 h 4749526"/>
              <a:gd name="connsiteX5724" fmla="*/ 1857914 w 7402822"/>
              <a:gd name="connsiteY5724" fmla="*/ 3216443 h 4749526"/>
              <a:gd name="connsiteX5725" fmla="*/ 1854878 w 7402822"/>
              <a:gd name="connsiteY5725" fmla="*/ 3210371 h 4749526"/>
              <a:gd name="connsiteX5726" fmla="*/ 1851843 w 7402822"/>
              <a:gd name="connsiteY5726" fmla="*/ 3204299 h 4749526"/>
              <a:gd name="connsiteX5727" fmla="*/ 1851843 w 7402822"/>
              <a:gd name="connsiteY5727" fmla="*/ 3198227 h 4749526"/>
              <a:gd name="connsiteX5728" fmla="*/ 1857914 w 7402822"/>
              <a:gd name="connsiteY5728" fmla="*/ 3195192 h 4749526"/>
              <a:gd name="connsiteX5729" fmla="*/ 1854878 w 7402822"/>
              <a:gd name="connsiteY5729" fmla="*/ 3189120 h 4749526"/>
              <a:gd name="connsiteX5730" fmla="*/ 1848807 w 7402822"/>
              <a:gd name="connsiteY5730" fmla="*/ 3189120 h 4749526"/>
              <a:gd name="connsiteX5731" fmla="*/ 1845771 w 7402822"/>
              <a:gd name="connsiteY5731" fmla="*/ 3186085 h 4749526"/>
              <a:gd name="connsiteX5732" fmla="*/ 1839700 w 7402822"/>
              <a:gd name="connsiteY5732" fmla="*/ 3183048 h 4749526"/>
              <a:gd name="connsiteX5733" fmla="*/ 1836664 w 7402822"/>
              <a:gd name="connsiteY5733" fmla="*/ 3176977 h 4749526"/>
              <a:gd name="connsiteX5734" fmla="*/ 1830592 w 7402822"/>
              <a:gd name="connsiteY5734" fmla="*/ 3176977 h 4749526"/>
              <a:gd name="connsiteX5735" fmla="*/ 1824521 w 7402822"/>
              <a:gd name="connsiteY5735" fmla="*/ 3180013 h 4749526"/>
              <a:gd name="connsiteX5736" fmla="*/ 1821484 w 7402822"/>
              <a:gd name="connsiteY5736" fmla="*/ 3183048 h 4749526"/>
              <a:gd name="connsiteX5737" fmla="*/ 1818449 w 7402822"/>
              <a:gd name="connsiteY5737" fmla="*/ 3189120 h 4749526"/>
              <a:gd name="connsiteX5738" fmla="*/ 1812377 w 7402822"/>
              <a:gd name="connsiteY5738" fmla="*/ 3192156 h 4749526"/>
              <a:gd name="connsiteX5739" fmla="*/ 1806305 w 7402822"/>
              <a:gd name="connsiteY5739" fmla="*/ 3195192 h 4749526"/>
              <a:gd name="connsiteX5740" fmla="*/ 1806305 w 7402822"/>
              <a:gd name="connsiteY5740" fmla="*/ 3201264 h 4749526"/>
              <a:gd name="connsiteX5741" fmla="*/ 1815413 w 7402822"/>
              <a:gd name="connsiteY5741" fmla="*/ 3210371 h 4749526"/>
              <a:gd name="connsiteX5742" fmla="*/ 1806305 w 7402822"/>
              <a:gd name="connsiteY5742" fmla="*/ 3213406 h 4749526"/>
              <a:gd name="connsiteX5743" fmla="*/ 1797198 w 7402822"/>
              <a:gd name="connsiteY5743" fmla="*/ 3213406 h 4749526"/>
              <a:gd name="connsiteX5744" fmla="*/ 1794163 w 7402822"/>
              <a:gd name="connsiteY5744" fmla="*/ 3210371 h 4749526"/>
              <a:gd name="connsiteX5745" fmla="*/ 1794163 w 7402822"/>
              <a:gd name="connsiteY5745" fmla="*/ 3207334 h 4749526"/>
              <a:gd name="connsiteX5746" fmla="*/ 1791126 w 7402822"/>
              <a:gd name="connsiteY5746" fmla="*/ 3207334 h 4749526"/>
              <a:gd name="connsiteX5747" fmla="*/ 1785055 w 7402822"/>
              <a:gd name="connsiteY5747" fmla="*/ 3207334 h 4749526"/>
              <a:gd name="connsiteX5748" fmla="*/ 1782019 w 7402822"/>
              <a:gd name="connsiteY5748" fmla="*/ 3201264 h 4749526"/>
              <a:gd name="connsiteX5749" fmla="*/ 1769876 w 7402822"/>
              <a:gd name="connsiteY5749" fmla="*/ 3195192 h 4749526"/>
              <a:gd name="connsiteX5750" fmla="*/ 1760768 w 7402822"/>
              <a:gd name="connsiteY5750" fmla="*/ 3195192 h 4749526"/>
              <a:gd name="connsiteX5751" fmla="*/ 1757733 w 7402822"/>
              <a:gd name="connsiteY5751" fmla="*/ 3195192 h 4749526"/>
              <a:gd name="connsiteX5752" fmla="*/ 1754697 w 7402822"/>
              <a:gd name="connsiteY5752" fmla="*/ 3201264 h 4749526"/>
              <a:gd name="connsiteX5753" fmla="*/ 1748625 w 7402822"/>
              <a:gd name="connsiteY5753" fmla="*/ 3189120 h 4749526"/>
              <a:gd name="connsiteX5754" fmla="*/ 1742554 w 7402822"/>
              <a:gd name="connsiteY5754" fmla="*/ 3186085 h 4749526"/>
              <a:gd name="connsiteX5755" fmla="*/ 1745589 w 7402822"/>
              <a:gd name="connsiteY5755" fmla="*/ 3189120 h 4749526"/>
              <a:gd name="connsiteX5756" fmla="*/ 1748625 w 7402822"/>
              <a:gd name="connsiteY5756" fmla="*/ 3192156 h 4749526"/>
              <a:gd name="connsiteX5757" fmla="*/ 1739518 w 7402822"/>
              <a:gd name="connsiteY5757" fmla="*/ 3189120 h 4749526"/>
              <a:gd name="connsiteX5758" fmla="*/ 1739518 w 7402822"/>
              <a:gd name="connsiteY5758" fmla="*/ 3183048 h 4749526"/>
              <a:gd name="connsiteX5759" fmla="*/ 1733446 w 7402822"/>
              <a:gd name="connsiteY5759" fmla="*/ 3173941 h 4749526"/>
              <a:gd name="connsiteX5760" fmla="*/ 1724339 w 7402822"/>
              <a:gd name="connsiteY5760" fmla="*/ 3167869 h 4749526"/>
              <a:gd name="connsiteX5761" fmla="*/ 1721303 w 7402822"/>
              <a:gd name="connsiteY5761" fmla="*/ 3164834 h 4749526"/>
              <a:gd name="connsiteX5762" fmla="*/ 1715232 w 7402822"/>
              <a:gd name="connsiteY5762" fmla="*/ 3161798 h 4749526"/>
              <a:gd name="connsiteX5763" fmla="*/ 1709160 w 7402822"/>
              <a:gd name="connsiteY5763" fmla="*/ 3167869 h 4749526"/>
              <a:gd name="connsiteX5764" fmla="*/ 1706123 w 7402822"/>
              <a:gd name="connsiteY5764" fmla="*/ 3164834 h 4749526"/>
              <a:gd name="connsiteX5765" fmla="*/ 1693981 w 7402822"/>
              <a:gd name="connsiteY5765" fmla="*/ 3152690 h 4749526"/>
              <a:gd name="connsiteX5766" fmla="*/ 1693981 w 7402822"/>
              <a:gd name="connsiteY5766" fmla="*/ 3149654 h 4749526"/>
              <a:gd name="connsiteX5767" fmla="*/ 1697016 w 7402822"/>
              <a:gd name="connsiteY5767" fmla="*/ 3146619 h 4749526"/>
              <a:gd name="connsiteX5768" fmla="*/ 1700053 w 7402822"/>
              <a:gd name="connsiteY5768" fmla="*/ 3146619 h 4749526"/>
              <a:gd name="connsiteX5769" fmla="*/ 1697016 w 7402822"/>
              <a:gd name="connsiteY5769" fmla="*/ 3143583 h 4749526"/>
              <a:gd name="connsiteX5770" fmla="*/ 1697016 w 7402822"/>
              <a:gd name="connsiteY5770" fmla="*/ 3140547 h 4749526"/>
              <a:gd name="connsiteX5771" fmla="*/ 1697016 w 7402822"/>
              <a:gd name="connsiteY5771" fmla="*/ 3137512 h 4749526"/>
              <a:gd name="connsiteX5772" fmla="*/ 1684874 w 7402822"/>
              <a:gd name="connsiteY5772" fmla="*/ 3122333 h 4749526"/>
              <a:gd name="connsiteX5773" fmla="*/ 1669694 w 7402822"/>
              <a:gd name="connsiteY5773" fmla="*/ 3107154 h 4749526"/>
              <a:gd name="connsiteX5774" fmla="*/ 1657551 w 7402822"/>
              <a:gd name="connsiteY5774" fmla="*/ 3098045 h 4749526"/>
              <a:gd name="connsiteX5775" fmla="*/ 1657551 w 7402822"/>
              <a:gd name="connsiteY5775" fmla="*/ 3095010 h 4749526"/>
              <a:gd name="connsiteX5776" fmla="*/ 1663623 w 7402822"/>
              <a:gd name="connsiteY5776" fmla="*/ 3098045 h 4749526"/>
              <a:gd name="connsiteX5777" fmla="*/ 1663623 w 7402822"/>
              <a:gd name="connsiteY5777" fmla="*/ 3095010 h 4749526"/>
              <a:gd name="connsiteX5778" fmla="*/ 1660587 w 7402822"/>
              <a:gd name="connsiteY5778" fmla="*/ 3091975 h 4749526"/>
              <a:gd name="connsiteX5779" fmla="*/ 1654515 w 7402822"/>
              <a:gd name="connsiteY5779" fmla="*/ 3085903 h 4749526"/>
              <a:gd name="connsiteX5780" fmla="*/ 1651479 w 7402822"/>
              <a:gd name="connsiteY5780" fmla="*/ 3091975 h 4749526"/>
              <a:gd name="connsiteX5781" fmla="*/ 1645408 w 7402822"/>
              <a:gd name="connsiteY5781" fmla="*/ 3091975 h 4749526"/>
              <a:gd name="connsiteX5782" fmla="*/ 1642372 w 7402822"/>
              <a:gd name="connsiteY5782" fmla="*/ 3091975 h 4749526"/>
              <a:gd name="connsiteX5783" fmla="*/ 1633264 w 7402822"/>
              <a:gd name="connsiteY5783" fmla="*/ 3091975 h 4749526"/>
              <a:gd name="connsiteX5784" fmla="*/ 1621121 w 7402822"/>
              <a:gd name="connsiteY5784" fmla="*/ 3085903 h 4749526"/>
              <a:gd name="connsiteX5785" fmla="*/ 1605943 w 7402822"/>
              <a:gd name="connsiteY5785" fmla="*/ 3079831 h 4749526"/>
              <a:gd name="connsiteX5786" fmla="*/ 1590764 w 7402822"/>
              <a:gd name="connsiteY5786" fmla="*/ 3076795 h 4749526"/>
              <a:gd name="connsiteX5787" fmla="*/ 1578620 w 7402822"/>
              <a:gd name="connsiteY5787" fmla="*/ 3073759 h 4749526"/>
              <a:gd name="connsiteX5788" fmla="*/ 1572549 w 7402822"/>
              <a:gd name="connsiteY5788" fmla="*/ 3070724 h 4749526"/>
              <a:gd name="connsiteX5789" fmla="*/ 1563441 w 7402822"/>
              <a:gd name="connsiteY5789" fmla="*/ 3064652 h 4749526"/>
              <a:gd name="connsiteX5790" fmla="*/ 1564817 w 7402822"/>
              <a:gd name="connsiteY5790" fmla="*/ 3060525 h 4749526"/>
              <a:gd name="connsiteX5791" fmla="*/ 1564816 w 7402822"/>
              <a:gd name="connsiteY5791" fmla="*/ 3060524 h 4749526"/>
              <a:gd name="connsiteX5792" fmla="*/ 1563441 w 7402822"/>
              <a:gd name="connsiteY5792" fmla="*/ 3064652 h 4749526"/>
              <a:gd name="connsiteX5793" fmla="*/ 1542189 w 7402822"/>
              <a:gd name="connsiteY5793" fmla="*/ 3043401 h 4749526"/>
              <a:gd name="connsiteX5794" fmla="*/ 1533082 w 7402822"/>
              <a:gd name="connsiteY5794" fmla="*/ 3034294 h 4749526"/>
              <a:gd name="connsiteX5795" fmla="*/ 1520939 w 7402822"/>
              <a:gd name="connsiteY5795" fmla="*/ 3028222 h 4749526"/>
              <a:gd name="connsiteX5796" fmla="*/ 1511831 w 7402822"/>
              <a:gd name="connsiteY5796" fmla="*/ 3025186 h 4749526"/>
              <a:gd name="connsiteX5797" fmla="*/ 1508795 w 7402822"/>
              <a:gd name="connsiteY5797" fmla="*/ 3022151 h 4749526"/>
              <a:gd name="connsiteX5798" fmla="*/ 1502724 w 7402822"/>
              <a:gd name="connsiteY5798" fmla="*/ 3028222 h 4749526"/>
              <a:gd name="connsiteX5799" fmla="*/ 1493616 w 7402822"/>
              <a:gd name="connsiteY5799" fmla="*/ 3034294 h 4749526"/>
              <a:gd name="connsiteX5800" fmla="*/ 1481474 w 7402822"/>
              <a:gd name="connsiteY5800" fmla="*/ 3040365 h 4749526"/>
              <a:gd name="connsiteX5801" fmla="*/ 1460223 w 7402822"/>
              <a:gd name="connsiteY5801" fmla="*/ 3034294 h 4749526"/>
              <a:gd name="connsiteX5802" fmla="*/ 1445044 w 7402822"/>
              <a:gd name="connsiteY5802" fmla="*/ 3031258 h 4749526"/>
              <a:gd name="connsiteX5803" fmla="*/ 1435936 w 7402822"/>
              <a:gd name="connsiteY5803" fmla="*/ 3028222 h 4749526"/>
              <a:gd name="connsiteX5804" fmla="*/ 1426829 w 7402822"/>
              <a:gd name="connsiteY5804" fmla="*/ 3022151 h 4749526"/>
              <a:gd name="connsiteX5805" fmla="*/ 1411650 w 7402822"/>
              <a:gd name="connsiteY5805" fmla="*/ 3016079 h 4749526"/>
              <a:gd name="connsiteX5806" fmla="*/ 1399506 w 7402822"/>
              <a:gd name="connsiteY5806" fmla="*/ 3013043 h 4749526"/>
              <a:gd name="connsiteX5807" fmla="*/ 1387364 w 7402822"/>
              <a:gd name="connsiteY5807" fmla="*/ 3006972 h 4749526"/>
              <a:gd name="connsiteX5808" fmla="*/ 1375220 w 7402822"/>
              <a:gd name="connsiteY5808" fmla="*/ 3000900 h 4749526"/>
              <a:gd name="connsiteX5809" fmla="*/ 1366113 w 7402822"/>
              <a:gd name="connsiteY5809" fmla="*/ 2994828 h 4749526"/>
              <a:gd name="connsiteX5810" fmla="*/ 1360041 w 7402822"/>
              <a:gd name="connsiteY5810" fmla="*/ 2988756 h 4749526"/>
              <a:gd name="connsiteX5811" fmla="*/ 1357005 w 7402822"/>
              <a:gd name="connsiteY5811" fmla="*/ 2991793 h 4749526"/>
              <a:gd name="connsiteX5812" fmla="*/ 1350934 w 7402822"/>
              <a:gd name="connsiteY5812" fmla="*/ 2988756 h 4749526"/>
              <a:gd name="connsiteX5813" fmla="*/ 1338790 w 7402822"/>
              <a:gd name="connsiteY5813" fmla="*/ 2985721 h 4749526"/>
              <a:gd name="connsiteX5814" fmla="*/ 1326647 w 7402822"/>
              <a:gd name="connsiteY5814" fmla="*/ 2976614 h 4749526"/>
              <a:gd name="connsiteX5815" fmla="*/ 1317539 w 7402822"/>
              <a:gd name="connsiteY5815" fmla="*/ 2970542 h 4749526"/>
              <a:gd name="connsiteX5816" fmla="*/ 1305396 w 7402822"/>
              <a:gd name="connsiteY5816" fmla="*/ 2964470 h 4749526"/>
              <a:gd name="connsiteX5817" fmla="*/ 1293253 w 7402822"/>
              <a:gd name="connsiteY5817" fmla="*/ 2955363 h 4749526"/>
              <a:gd name="connsiteX5818" fmla="*/ 1287182 w 7402822"/>
              <a:gd name="connsiteY5818" fmla="*/ 2943219 h 4749526"/>
              <a:gd name="connsiteX5819" fmla="*/ 1284145 w 7402822"/>
              <a:gd name="connsiteY5819" fmla="*/ 2937148 h 4749526"/>
              <a:gd name="connsiteX5820" fmla="*/ 1287182 w 7402822"/>
              <a:gd name="connsiteY5820" fmla="*/ 2934112 h 4749526"/>
              <a:gd name="connsiteX5821" fmla="*/ 1290217 w 7402822"/>
              <a:gd name="connsiteY5821" fmla="*/ 2928041 h 4749526"/>
              <a:gd name="connsiteX5822" fmla="*/ 1293253 w 7402822"/>
              <a:gd name="connsiteY5822" fmla="*/ 2921969 h 4749526"/>
              <a:gd name="connsiteX5823" fmla="*/ 1293253 w 7402822"/>
              <a:gd name="connsiteY5823" fmla="*/ 2915897 h 4749526"/>
              <a:gd name="connsiteX5824" fmla="*/ 1290217 w 7402822"/>
              <a:gd name="connsiteY5824" fmla="*/ 2909825 h 4749526"/>
              <a:gd name="connsiteX5825" fmla="*/ 1287182 w 7402822"/>
              <a:gd name="connsiteY5825" fmla="*/ 2903754 h 4749526"/>
              <a:gd name="connsiteX5826" fmla="*/ 1287182 w 7402822"/>
              <a:gd name="connsiteY5826" fmla="*/ 2900718 h 4749526"/>
              <a:gd name="connsiteX5827" fmla="*/ 1278074 w 7402822"/>
              <a:gd name="connsiteY5827" fmla="*/ 2882504 h 4749526"/>
              <a:gd name="connsiteX5828" fmla="*/ 1259859 w 7402822"/>
              <a:gd name="connsiteY5828" fmla="*/ 2864288 h 4749526"/>
              <a:gd name="connsiteX5829" fmla="*/ 1250752 w 7402822"/>
              <a:gd name="connsiteY5829" fmla="*/ 2852145 h 4749526"/>
              <a:gd name="connsiteX5830" fmla="*/ 1241644 w 7402822"/>
              <a:gd name="connsiteY5830" fmla="*/ 2846074 h 4749526"/>
              <a:gd name="connsiteX5831" fmla="*/ 1232537 w 7402822"/>
              <a:gd name="connsiteY5831" fmla="*/ 2836966 h 4749526"/>
              <a:gd name="connsiteX5832" fmla="*/ 1223430 w 7402822"/>
              <a:gd name="connsiteY5832" fmla="*/ 2827859 h 4749526"/>
              <a:gd name="connsiteX5833" fmla="*/ 1214322 w 7402822"/>
              <a:gd name="connsiteY5833" fmla="*/ 2821787 h 4749526"/>
              <a:gd name="connsiteX5834" fmla="*/ 1208250 w 7402822"/>
              <a:gd name="connsiteY5834" fmla="*/ 2815715 h 4749526"/>
              <a:gd name="connsiteX5835" fmla="*/ 1211286 w 7402822"/>
              <a:gd name="connsiteY5835" fmla="*/ 2806608 h 4749526"/>
              <a:gd name="connsiteX5836" fmla="*/ 1211286 w 7402822"/>
              <a:gd name="connsiteY5836" fmla="*/ 2800536 h 4749526"/>
              <a:gd name="connsiteX5837" fmla="*/ 1208250 w 7402822"/>
              <a:gd name="connsiteY5837" fmla="*/ 2794465 h 4749526"/>
              <a:gd name="connsiteX5838" fmla="*/ 1202179 w 7402822"/>
              <a:gd name="connsiteY5838" fmla="*/ 2794465 h 4749526"/>
              <a:gd name="connsiteX5839" fmla="*/ 1199143 w 7402822"/>
              <a:gd name="connsiteY5839" fmla="*/ 2791429 h 4749526"/>
              <a:gd name="connsiteX5840" fmla="*/ 1190035 w 7402822"/>
              <a:gd name="connsiteY5840" fmla="*/ 2785357 h 4749526"/>
              <a:gd name="connsiteX5841" fmla="*/ 1183963 w 7402822"/>
              <a:gd name="connsiteY5841" fmla="*/ 2773215 h 4749526"/>
              <a:gd name="connsiteX5842" fmla="*/ 1187000 w 7402822"/>
              <a:gd name="connsiteY5842" fmla="*/ 2770178 h 4749526"/>
              <a:gd name="connsiteX5843" fmla="*/ 1180928 w 7402822"/>
              <a:gd name="connsiteY5843" fmla="*/ 2767143 h 4749526"/>
              <a:gd name="connsiteX5844" fmla="*/ 1177893 w 7402822"/>
              <a:gd name="connsiteY5844" fmla="*/ 2767143 h 4749526"/>
              <a:gd name="connsiteX5845" fmla="*/ 1174856 w 7402822"/>
              <a:gd name="connsiteY5845" fmla="*/ 2767143 h 4749526"/>
              <a:gd name="connsiteX5846" fmla="*/ 1171821 w 7402822"/>
              <a:gd name="connsiteY5846" fmla="*/ 2764106 h 4749526"/>
              <a:gd name="connsiteX5847" fmla="*/ 1159677 w 7402822"/>
              <a:gd name="connsiteY5847" fmla="*/ 2751964 h 4749526"/>
              <a:gd name="connsiteX5848" fmla="*/ 1153606 w 7402822"/>
              <a:gd name="connsiteY5848" fmla="*/ 2745892 h 4749526"/>
              <a:gd name="connsiteX5849" fmla="*/ 1150570 w 7402822"/>
              <a:gd name="connsiteY5849" fmla="*/ 2739820 h 4749526"/>
              <a:gd name="connsiteX5850" fmla="*/ 1150570 w 7402822"/>
              <a:gd name="connsiteY5850" fmla="*/ 2733749 h 4749526"/>
              <a:gd name="connsiteX5851" fmla="*/ 1144498 w 7402822"/>
              <a:gd name="connsiteY5851" fmla="*/ 2727677 h 4749526"/>
              <a:gd name="connsiteX5852" fmla="*/ 1138426 w 7402822"/>
              <a:gd name="connsiteY5852" fmla="*/ 2718570 h 4749526"/>
              <a:gd name="connsiteX5853" fmla="*/ 1135391 w 7402822"/>
              <a:gd name="connsiteY5853" fmla="*/ 2706426 h 4749526"/>
              <a:gd name="connsiteX5854" fmla="*/ 1132355 w 7402822"/>
              <a:gd name="connsiteY5854" fmla="*/ 2700355 h 4749526"/>
              <a:gd name="connsiteX5855" fmla="*/ 1129319 w 7402822"/>
              <a:gd name="connsiteY5855" fmla="*/ 2688212 h 4749526"/>
              <a:gd name="connsiteX5856" fmla="*/ 1120212 w 7402822"/>
              <a:gd name="connsiteY5856" fmla="*/ 2688212 h 4749526"/>
              <a:gd name="connsiteX5857" fmla="*/ 1114140 w 7402822"/>
              <a:gd name="connsiteY5857" fmla="*/ 2682140 h 4749526"/>
              <a:gd name="connsiteX5858" fmla="*/ 1108069 w 7402822"/>
              <a:gd name="connsiteY5858" fmla="*/ 2682140 h 4749526"/>
              <a:gd name="connsiteX5859" fmla="*/ 1095925 w 7402822"/>
              <a:gd name="connsiteY5859" fmla="*/ 2676068 h 4749526"/>
              <a:gd name="connsiteX5860" fmla="*/ 1098961 w 7402822"/>
              <a:gd name="connsiteY5860" fmla="*/ 2679104 h 4749526"/>
              <a:gd name="connsiteX5861" fmla="*/ 1095925 w 7402822"/>
              <a:gd name="connsiteY5861" fmla="*/ 2682140 h 4749526"/>
              <a:gd name="connsiteX5862" fmla="*/ 1095925 w 7402822"/>
              <a:gd name="connsiteY5862" fmla="*/ 2685175 h 4749526"/>
              <a:gd name="connsiteX5863" fmla="*/ 1098961 w 7402822"/>
              <a:gd name="connsiteY5863" fmla="*/ 2697319 h 4749526"/>
              <a:gd name="connsiteX5864" fmla="*/ 1098961 w 7402822"/>
              <a:gd name="connsiteY5864" fmla="*/ 2700355 h 4749526"/>
              <a:gd name="connsiteX5865" fmla="*/ 1101997 w 7402822"/>
              <a:gd name="connsiteY5865" fmla="*/ 2706426 h 4749526"/>
              <a:gd name="connsiteX5866" fmla="*/ 1098961 w 7402822"/>
              <a:gd name="connsiteY5866" fmla="*/ 2715534 h 4749526"/>
              <a:gd name="connsiteX5867" fmla="*/ 1101997 w 7402822"/>
              <a:gd name="connsiteY5867" fmla="*/ 2718570 h 4749526"/>
              <a:gd name="connsiteX5868" fmla="*/ 1114140 w 7402822"/>
              <a:gd name="connsiteY5868" fmla="*/ 2727677 h 4749526"/>
              <a:gd name="connsiteX5869" fmla="*/ 1123248 w 7402822"/>
              <a:gd name="connsiteY5869" fmla="*/ 2736785 h 4749526"/>
              <a:gd name="connsiteX5870" fmla="*/ 1132355 w 7402822"/>
              <a:gd name="connsiteY5870" fmla="*/ 2748927 h 4749526"/>
              <a:gd name="connsiteX5871" fmla="*/ 1138426 w 7402822"/>
              <a:gd name="connsiteY5871" fmla="*/ 2761071 h 4749526"/>
              <a:gd name="connsiteX5872" fmla="*/ 1138426 w 7402822"/>
              <a:gd name="connsiteY5872" fmla="*/ 2767143 h 4749526"/>
              <a:gd name="connsiteX5873" fmla="*/ 1141463 w 7402822"/>
              <a:gd name="connsiteY5873" fmla="*/ 2773215 h 4749526"/>
              <a:gd name="connsiteX5874" fmla="*/ 1147534 w 7402822"/>
              <a:gd name="connsiteY5874" fmla="*/ 2779285 h 4749526"/>
              <a:gd name="connsiteX5875" fmla="*/ 1150570 w 7402822"/>
              <a:gd name="connsiteY5875" fmla="*/ 2785357 h 4749526"/>
              <a:gd name="connsiteX5876" fmla="*/ 1156642 w 7402822"/>
              <a:gd name="connsiteY5876" fmla="*/ 2788394 h 4749526"/>
              <a:gd name="connsiteX5877" fmla="*/ 1159677 w 7402822"/>
              <a:gd name="connsiteY5877" fmla="*/ 2791429 h 4749526"/>
              <a:gd name="connsiteX5878" fmla="*/ 1162714 w 7402822"/>
              <a:gd name="connsiteY5878" fmla="*/ 2794465 h 4749526"/>
              <a:gd name="connsiteX5879" fmla="*/ 1165749 w 7402822"/>
              <a:gd name="connsiteY5879" fmla="*/ 2800536 h 4749526"/>
              <a:gd name="connsiteX5880" fmla="*/ 1168786 w 7402822"/>
              <a:gd name="connsiteY5880" fmla="*/ 2809644 h 4749526"/>
              <a:gd name="connsiteX5881" fmla="*/ 1168786 w 7402822"/>
              <a:gd name="connsiteY5881" fmla="*/ 2815715 h 4749526"/>
              <a:gd name="connsiteX5882" fmla="*/ 1174856 w 7402822"/>
              <a:gd name="connsiteY5882" fmla="*/ 2827859 h 4749526"/>
              <a:gd name="connsiteX5883" fmla="*/ 1177893 w 7402822"/>
              <a:gd name="connsiteY5883" fmla="*/ 2833930 h 4749526"/>
              <a:gd name="connsiteX5884" fmla="*/ 1180928 w 7402822"/>
              <a:gd name="connsiteY5884" fmla="*/ 2840002 h 4749526"/>
              <a:gd name="connsiteX5885" fmla="*/ 1180928 w 7402822"/>
              <a:gd name="connsiteY5885" fmla="*/ 2849109 h 4749526"/>
              <a:gd name="connsiteX5886" fmla="*/ 1190035 w 7402822"/>
              <a:gd name="connsiteY5886" fmla="*/ 2852145 h 4749526"/>
              <a:gd name="connsiteX5887" fmla="*/ 1190035 w 7402822"/>
              <a:gd name="connsiteY5887" fmla="*/ 2849109 h 4749526"/>
              <a:gd name="connsiteX5888" fmla="*/ 1193072 w 7402822"/>
              <a:gd name="connsiteY5888" fmla="*/ 2849109 h 4749526"/>
              <a:gd name="connsiteX5889" fmla="*/ 1202179 w 7402822"/>
              <a:gd name="connsiteY5889" fmla="*/ 2861253 h 4749526"/>
              <a:gd name="connsiteX5890" fmla="*/ 1208250 w 7402822"/>
              <a:gd name="connsiteY5890" fmla="*/ 2870360 h 4749526"/>
              <a:gd name="connsiteX5891" fmla="*/ 1202179 w 7402822"/>
              <a:gd name="connsiteY5891" fmla="*/ 2879467 h 4749526"/>
              <a:gd name="connsiteX5892" fmla="*/ 1193072 w 7402822"/>
              <a:gd name="connsiteY5892" fmla="*/ 2879467 h 4749526"/>
              <a:gd name="connsiteX5893" fmla="*/ 1193072 w 7402822"/>
              <a:gd name="connsiteY5893" fmla="*/ 2870360 h 4749526"/>
              <a:gd name="connsiteX5894" fmla="*/ 1190035 w 7402822"/>
              <a:gd name="connsiteY5894" fmla="*/ 2867325 h 4749526"/>
              <a:gd name="connsiteX5895" fmla="*/ 1183963 w 7402822"/>
              <a:gd name="connsiteY5895" fmla="*/ 2864288 h 4749526"/>
              <a:gd name="connsiteX5896" fmla="*/ 1162714 w 7402822"/>
              <a:gd name="connsiteY5896" fmla="*/ 2846074 h 4749526"/>
              <a:gd name="connsiteX5897" fmla="*/ 1156642 w 7402822"/>
              <a:gd name="connsiteY5897" fmla="*/ 2840002 h 4749526"/>
              <a:gd name="connsiteX5898" fmla="*/ 1153606 w 7402822"/>
              <a:gd name="connsiteY5898" fmla="*/ 2840002 h 4749526"/>
              <a:gd name="connsiteX5899" fmla="*/ 1150570 w 7402822"/>
              <a:gd name="connsiteY5899" fmla="*/ 2833930 h 4749526"/>
              <a:gd name="connsiteX5900" fmla="*/ 1153606 w 7402822"/>
              <a:gd name="connsiteY5900" fmla="*/ 2824823 h 4749526"/>
              <a:gd name="connsiteX5901" fmla="*/ 1147534 w 7402822"/>
              <a:gd name="connsiteY5901" fmla="*/ 2812680 h 4749526"/>
              <a:gd name="connsiteX5902" fmla="*/ 1144498 w 7402822"/>
              <a:gd name="connsiteY5902" fmla="*/ 2806608 h 4749526"/>
              <a:gd name="connsiteX5903" fmla="*/ 1141463 w 7402822"/>
              <a:gd name="connsiteY5903" fmla="*/ 2803572 h 4749526"/>
              <a:gd name="connsiteX5904" fmla="*/ 1129319 w 7402822"/>
              <a:gd name="connsiteY5904" fmla="*/ 2797501 h 4749526"/>
              <a:gd name="connsiteX5905" fmla="*/ 1123248 w 7402822"/>
              <a:gd name="connsiteY5905" fmla="*/ 2794465 h 4749526"/>
              <a:gd name="connsiteX5906" fmla="*/ 1120212 w 7402822"/>
              <a:gd name="connsiteY5906" fmla="*/ 2791429 h 4749526"/>
              <a:gd name="connsiteX5907" fmla="*/ 1095925 w 7402822"/>
              <a:gd name="connsiteY5907" fmla="*/ 2773215 h 4749526"/>
              <a:gd name="connsiteX5908" fmla="*/ 1111105 w 7402822"/>
              <a:gd name="connsiteY5908" fmla="*/ 2767143 h 4749526"/>
              <a:gd name="connsiteX5909" fmla="*/ 1111105 w 7402822"/>
              <a:gd name="connsiteY5909" fmla="*/ 2758035 h 4749526"/>
              <a:gd name="connsiteX5910" fmla="*/ 1111105 w 7402822"/>
              <a:gd name="connsiteY5910" fmla="*/ 2751964 h 4749526"/>
              <a:gd name="connsiteX5911" fmla="*/ 1101997 w 7402822"/>
              <a:gd name="connsiteY5911" fmla="*/ 2742856 h 4749526"/>
              <a:gd name="connsiteX5912" fmla="*/ 1089854 w 7402822"/>
              <a:gd name="connsiteY5912" fmla="*/ 2733749 h 4749526"/>
              <a:gd name="connsiteX5913" fmla="*/ 1080746 w 7402822"/>
              <a:gd name="connsiteY5913" fmla="*/ 2727677 h 4749526"/>
              <a:gd name="connsiteX5914" fmla="*/ 1077711 w 7402822"/>
              <a:gd name="connsiteY5914" fmla="*/ 2715534 h 4749526"/>
              <a:gd name="connsiteX5915" fmla="*/ 1074675 w 7402822"/>
              <a:gd name="connsiteY5915" fmla="*/ 2712498 h 4749526"/>
              <a:gd name="connsiteX5916" fmla="*/ 1074675 w 7402822"/>
              <a:gd name="connsiteY5916" fmla="*/ 2709462 h 4749526"/>
              <a:gd name="connsiteX5917" fmla="*/ 1071639 w 7402822"/>
              <a:gd name="connsiteY5917" fmla="*/ 2700355 h 4749526"/>
              <a:gd name="connsiteX5918" fmla="*/ 1062532 w 7402822"/>
              <a:gd name="connsiteY5918" fmla="*/ 2688212 h 4749526"/>
              <a:gd name="connsiteX5919" fmla="*/ 1059496 w 7402822"/>
              <a:gd name="connsiteY5919" fmla="*/ 2679104 h 4749526"/>
              <a:gd name="connsiteX5920" fmla="*/ 1050388 w 7402822"/>
              <a:gd name="connsiteY5920" fmla="*/ 2657854 h 4749526"/>
              <a:gd name="connsiteX5921" fmla="*/ 1050389 w 7402822"/>
              <a:gd name="connsiteY5921" fmla="*/ 2657854 h 4749526"/>
              <a:gd name="connsiteX5922" fmla="*/ 1038246 w 7402822"/>
              <a:gd name="connsiteY5922" fmla="*/ 2636603 h 4749526"/>
              <a:gd name="connsiteX5923" fmla="*/ 1029138 w 7402822"/>
              <a:gd name="connsiteY5923" fmla="*/ 2627495 h 4749526"/>
              <a:gd name="connsiteX5924" fmla="*/ 1020031 w 7402822"/>
              <a:gd name="connsiteY5924" fmla="*/ 2621424 h 4749526"/>
              <a:gd name="connsiteX5925" fmla="*/ 992709 w 7402822"/>
              <a:gd name="connsiteY5925" fmla="*/ 2612316 h 4749526"/>
              <a:gd name="connsiteX5926" fmla="*/ 980565 w 7402822"/>
              <a:gd name="connsiteY5926" fmla="*/ 2609280 h 4749526"/>
              <a:gd name="connsiteX5927" fmla="*/ 977530 w 7402822"/>
              <a:gd name="connsiteY5927" fmla="*/ 2600173 h 4749526"/>
              <a:gd name="connsiteX5928" fmla="*/ 962351 w 7402822"/>
              <a:gd name="connsiteY5928" fmla="*/ 2578923 h 4749526"/>
              <a:gd name="connsiteX5929" fmla="*/ 950207 w 7402822"/>
              <a:gd name="connsiteY5929" fmla="*/ 2563744 h 4749526"/>
              <a:gd name="connsiteX5930" fmla="*/ 950207 w 7402822"/>
              <a:gd name="connsiteY5930" fmla="*/ 2557672 h 4749526"/>
              <a:gd name="connsiteX5931" fmla="*/ 953244 w 7402822"/>
              <a:gd name="connsiteY5931" fmla="*/ 2554635 h 4749526"/>
              <a:gd name="connsiteX5932" fmla="*/ 950207 w 7402822"/>
              <a:gd name="connsiteY5932" fmla="*/ 2548565 h 4749526"/>
              <a:gd name="connsiteX5933" fmla="*/ 947172 w 7402822"/>
              <a:gd name="connsiteY5933" fmla="*/ 2548565 h 4749526"/>
              <a:gd name="connsiteX5934" fmla="*/ 941100 w 7402822"/>
              <a:gd name="connsiteY5934" fmla="*/ 2542493 h 4749526"/>
              <a:gd name="connsiteX5935" fmla="*/ 938065 w 7402822"/>
              <a:gd name="connsiteY5935" fmla="*/ 2530349 h 4749526"/>
              <a:gd name="connsiteX5936" fmla="*/ 938065 w 7402822"/>
              <a:gd name="connsiteY5936" fmla="*/ 2524278 h 4749526"/>
              <a:gd name="connsiteX5937" fmla="*/ 931993 w 7402822"/>
              <a:gd name="connsiteY5937" fmla="*/ 2521242 h 4749526"/>
              <a:gd name="connsiteX5938" fmla="*/ 925921 w 7402822"/>
              <a:gd name="connsiteY5938" fmla="*/ 2509099 h 4749526"/>
              <a:gd name="connsiteX5939" fmla="*/ 919849 w 7402822"/>
              <a:gd name="connsiteY5939" fmla="*/ 2503027 h 4749526"/>
              <a:gd name="connsiteX5940" fmla="*/ 913778 w 7402822"/>
              <a:gd name="connsiteY5940" fmla="*/ 2496955 h 4749526"/>
              <a:gd name="connsiteX5941" fmla="*/ 910742 w 7402822"/>
              <a:gd name="connsiteY5941" fmla="*/ 2484812 h 4749526"/>
              <a:gd name="connsiteX5942" fmla="*/ 913778 w 7402822"/>
              <a:gd name="connsiteY5942" fmla="*/ 2478741 h 4749526"/>
              <a:gd name="connsiteX5943" fmla="*/ 910742 w 7402822"/>
              <a:gd name="connsiteY5943" fmla="*/ 2472669 h 4749526"/>
              <a:gd name="connsiteX5944" fmla="*/ 904670 w 7402822"/>
              <a:gd name="connsiteY5944" fmla="*/ 2463562 h 4749526"/>
              <a:gd name="connsiteX5945" fmla="*/ 898599 w 7402822"/>
              <a:gd name="connsiteY5945" fmla="*/ 2451418 h 4749526"/>
              <a:gd name="connsiteX5946" fmla="*/ 904670 w 7402822"/>
              <a:gd name="connsiteY5946" fmla="*/ 2445346 h 4749526"/>
              <a:gd name="connsiteX5947" fmla="*/ 904670 w 7402822"/>
              <a:gd name="connsiteY5947" fmla="*/ 2439276 h 4749526"/>
              <a:gd name="connsiteX5948" fmla="*/ 904670 w 7402822"/>
              <a:gd name="connsiteY5948" fmla="*/ 2424096 h 4749526"/>
              <a:gd name="connsiteX5949" fmla="*/ 901635 w 7402822"/>
              <a:gd name="connsiteY5949" fmla="*/ 2414988 h 4749526"/>
              <a:gd name="connsiteX5950" fmla="*/ 901635 w 7402822"/>
              <a:gd name="connsiteY5950" fmla="*/ 2408917 h 4749526"/>
              <a:gd name="connsiteX5951" fmla="*/ 898599 w 7402822"/>
              <a:gd name="connsiteY5951" fmla="*/ 2401327 h 4749526"/>
              <a:gd name="connsiteX5952" fmla="*/ 898599 w 7402822"/>
              <a:gd name="connsiteY5952" fmla="*/ 2392220 h 4749526"/>
              <a:gd name="connsiteX5953" fmla="*/ 898599 w 7402822"/>
              <a:gd name="connsiteY5953" fmla="*/ 2383112 h 4749526"/>
              <a:gd name="connsiteX5954" fmla="*/ 901635 w 7402822"/>
              <a:gd name="connsiteY5954" fmla="*/ 2377041 h 4749526"/>
              <a:gd name="connsiteX5955" fmla="*/ 904670 w 7402822"/>
              <a:gd name="connsiteY5955" fmla="*/ 2361862 h 4749526"/>
              <a:gd name="connsiteX5956" fmla="*/ 904670 w 7402822"/>
              <a:gd name="connsiteY5956" fmla="*/ 2337575 h 4749526"/>
              <a:gd name="connsiteX5957" fmla="*/ 907706 w 7402822"/>
              <a:gd name="connsiteY5957" fmla="*/ 2331504 h 4749526"/>
              <a:gd name="connsiteX5958" fmla="*/ 907706 w 7402822"/>
              <a:gd name="connsiteY5958" fmla="*/ 2325432 h 4749526"/>
              <a:gd name="connsiteX5959" fmla="*/ 907706 w 7402822"/>
              <a:gd name="connsiteY5959" fmla="*/ 2307217 h 4749526"/>
              <a:gd name="connsiteX5960" fmla="*/ 907706 w 7402822"/>
              <a:gd name="connsiteY5960" fmla="*/ 2298109 h 4749526"/>
              <a:gd name="connsiteX5961" fmla="*/ 907706 w 7402822"/>
              <a:gd name="connsiteY5961" fmla="*/ 2289002 h 4749526"/>
              <a:gd name="connsiteX5962" fmla="*/ 913778 w 7402822"/>
              <a:gd name="connsiteY5962" fmla="*/ 2279895 h 4749526"/>
              <a:gd name="connsiteX5963" fmla="*/ 910742 w 7402822"/>
              <a:gd name="connsiteY5963" fmla="*/ 2270787 h 4749526"/>
              <a:gd name="connsiteX5964" fmla="*/ 907706 w 7402822"/>
              <a:gd name="connsiteY5964" fmla="*/ 2264715 h 4749526"/>
              <a:gd name="connsiteX5965" fmla="*/ 901635 w 7402822"/>
              <a:gd name="connsiteY5965" fmla="*/ 2258644 h 4749526"/>
              <a:gd name="connsiteX5966" fmla="*/ 898599 w 7402822"/>
              <a:gd name="connsiteY5966" fmla="*/ 2249536 h 4749526"/>
              <a:gd name="connsiteX5967" fmla="*/ 898599 w 7402822"/>
              <a:gd name="connsiteY5967" fmla="*/ 2243465 h 4749526"/>
              <a:gd name="connsiteX5968" fmla="*/ 892527 w 7402822"/>
              <a:gd name="connsiteY5968" fmla="*/ 2240429 h 4749526"/>
              <a:gd name="connsiteX5969" fmla="*/ 892527 w 7402822"/>
              <a:gd name="connsiteY5969" fmla="*/ 2228285 h 4749526"/>
              <a:gd name="connsiteX5970" fmla="*/ 907706 w 7402822"/>
              <a:gd name="connsiteY5970" fmla="*/ 2234357 h 4749526"/>
              <a:gd name="connsiteX5971" fmla="*/ 925921 w 7402822"/>
              <a:gd name="connsiteY5971" fmla="*/ 2237394 h 4749526"/>
              <a:gd name="connsiteX5972" fmla="*/ 931993 w 7402822"/>
              <a:gd name="connsiteY5972" fmla="*/ 2237394 h 4749526"/>
              <a:gd name="connsiteX5973" fmla="*/ 938065 w 7402822"/>
              <a:gd name="connsiteY5973" fmla="*/ 2246501 h 4749526"/>
              <a:gd name="connsiteX5974" fmla="*/ 938065 w 7402822"/>
              <a:gd name="connsiteY5974" fmla="*/ 2258644 h 4749526"/>
              <a:gd name="connsiteX5975" fmla="*/ 935029 w 7402822"/>
              <a:gd name="connsiteY5975" fmla="*/ 2261680 h 4749526"/>
              <a:gd name="connsiteX5976" fmla="*/ 925921 w 7402822"/>
              <a:gd name="connsiteY5976" fmla="*/ 2264715 h 4749526"/>
              <a:gd name="connsiteX5977" fmla="*/ 928956 w 7402822"/>
              <a:gd name="connsiteY5977" fmla="*/ 2267752 h 4749526"/>
              <a:gd name="connsiteX5978" fmla="*/ 931993 w 7402822"/>
              <a:gd name="connsiteY5978" fmla="*/ 2267752 h 4749526"/>
              <a:gd name="connsiteX5979" fmla="*/ 941100 w 7402822"/>
              <a:gd name="connsiteY5979" fmla="*/ 2261680 h 4749526"/>
              <a:gd name="connsiteX5980" fmla="*/ 941100 w 7402822"/>
              <a:gd name="connsiteY5980" fmla="*/ 2258644 h 4749526"/>
              <a:gd name="connsiteX5981" fmla="*/ 941100 w 7402822"/>
              <a:gd name="connsiteY5981" fmla="*/ 2255608 h 4749526"/>
              <a:gd name="connsiteX5982" fmla="*/ 944136 w 7402822"/>
              <a:gd name="connsiteY5982" fmla="*/ 2240429 h 4749526"/>
              <a:gd name="connsiteX5983" fmla="*/ 941100 w 7402822"/>
              <a:gd name="connsiteY5983" fmla="*/ 2231322 h 4749526"/>
              <a:gd name="connsiteX5984" fmla="*/ 938065 w 7402822"/>
              <a:gd name="connsiteY5984" fmla="*/ 2228285 h 4749526"/>
              <a:gd name="connsiteX5985" fmla="*/ 935029 w 7402822"/>
              <a:gd name="connsiteY5985" fmla="*/ 2222215 h 4749526"/>
              <a:gd name="connsiteX5986" fmla="*/ 935029 w 7402822"/>
              <a:gd name="connsiteY5986" fmla="*/ 2216143 h 4749526"/>
              <a:gd name="connsiteX5987" fmla="*/ 931993 w 7402822"/>
              <a:gd name="connsiteY5987" fmla="*/ 2210071 h 4749526"/>
              <a:gd name="connsiteX5988" fmla="*/ 925921 w 7402822"/>
              <a:gd name="connsiteY5988" fmla="*/ 2210071 h 4749526"/>
              <a:gd name="connsiteX5989" fmla="*/ 925921 w 7402822"/>
              <a:gd name="connsiteY5989" fmla="*/ 2203999 h 4749526"/>
              <a:gd name="connsiteX5990" fmla="*/ 916814 w 7402822"/>
              <a:gd name="connsiteY5990" fmla="*/ 2194892 h 4749526"/>
              <a:gd name="connsiteX5991" fmla="*/ 913778 w 7402822"/>
              <a:gd name="connsiteY5991" fmla="*/ 2191856 h 4749526"/>
              <a:gd name="connsiteX5992" fmla="*/ 910742 w 7402822"/>
              <a:gd name="connsiteY5992" fmla="*/ 2188820 h 4749526"/>
              <a:gd name="connsiteX5993" fmla="*/ 907706 w 7402822"/>
              <a:gd name="connsiteY5993" fmla="*/ 2188820 h 4749526"/>
              <a:gd name="connsiteX5994" fmla="*/ 895563 w 7402822"/>
              <a:gd name="connsiteY5994" fmla="*/ 2182749 h 4749526"/>
              <a:gd name="connsiteX5995" fmla="*/ 889491 w 7402822"/>
              <a:gd name="connsiteY5995" fmla="*/ 2176677 h 4749526"/>
              <a:gd name="connsiteX5996" fmla="*/ 895563 w 7402822"/>
              <a:gd name="connsiteY5996" fmla="*/ 2170605 h 4749526"/>
              <a:gd name="connsiteX5997" fmla="*/ 895563 w 7402822"/>
              <a:gd name="connsiteY5997" fmla="*/ 2161498 h 4749526"/>
              <a:gd name="connsiteX5998" fmla="*/ 889491 w 7402822"/>
              <a:gd name="connsiteY5998" fmla="*/ 2155426 h 4749526"/>
              <a:gd name="connsiteX5999" fmla="*/ 883420 w 7402822"/>
              <a:gd name="connsiteY5999" fmla="*/ 2164534 h 4749526"/>
              <a:gd name="connsiteX6000" fmla="*/ 871276 w 7402822"/>
              <a:gd name="connsiteY6000" fmla="*/ 2164534 h 4749526"/>
              <a:gd name="connsiteX6001" fmla="*/ 862172 w 7402822"/>
              <a:gd name="connsiteY6001" fmla="*/ 2161499 h 4749526"/>
              <a:gd name="connsiteX6002" fmla="*/ 868241 w 7402822"/>
              <a:gd name="connsiteY6002" fmla="*/ 2164533 h 4749526"/>
              <a:gd name="connsiteX6003" fmla="*/ 877348 w 7402822"/>
              <a:gd name="connsiteY6003" fmla="*/ 2167569 h 4749526"/>
              <a:gd name="connsiteX6004" fmla="*/ 880384 w 7402822"/>
              <a:gd name="connsiteY6004" fmla="*/ 2173640 h 4749526"/>
              <a:gd name="connsiteX6005" fmla="*/ 883420 w 7402822"/>
              <a:gd name="connsiteY6005" fmla="*/ 2179712 h 4749526"/>
              <a:gd name="connsiteX6006" fmla="*/ 892527 w 7402822"/>
              <a:gd name="connsiteY6006" fmla="*/ 2194891 h 4749526"/>
              <a:gd name="connsiteX6007" fmla="*/ 913778 w 7402822"/>
              <a:gd name="connsiteY6007" fmla="*/ 2210070 h 4749526"/>
              <a:gd name="connsiteX6008" fmla="*/ 919849 w 7402822"/>
              <a:gd name="connsiteY6008" fmla="*/ 2222214 h 4749526"/>
              <a:gd name="connsiteX6009" fmla="*/ 916814 w 7402822"/>
              <a:gd name="connsiteY6009" fmla="*/ 2231321 h 4749526"/>
              <a:gd name="connsiteX6010" fmla="*/ 913778 w 7402822"/>
              <a:gd name="connsiteY6010" fmla="*/ 2231321 h 4749526"/>
              <a:gd name="connsiteX6011" fmla="*/ 886455 w 7402822"/>
              <a:gd name="connsiteY6011" fmla="*/ 2219177 h 4749526"/>
              <a:gd name="connsiteX6012" fmla="*/ 874312 w 7402822"/>
              <a:gd name="connsiteY6012" fmla="*/ 2210070 h 4749526"/>
              <a:gd name="connsiteX6013" fmla="*/ 871276 w 7402822"/>
              <a:gd name="connsiteY6013" fmla="*/ 2207034 h 4749526"/>
              <a:gd name="connsiteX6014" fmla="*/ 868241 w 7402822"/>
              <a:gd name="connsiteY6014" fmla="*/ 2197927 h 4749526"/>
              <a:gd name="connsiteX6015" fmla="*/ 865204 w 7402822"/>
              <a:gd name="connsiteY6015" fmla="*/ 2194891 h 4749526"/>
              <a:gd name="connsiteX6016" fmla="*/ 859134 w 7402822"/>
              <a:gd name="connsiteY6016" fmla="*/ 2197927 h 4749526"/>
              <a:gd name="connsiteX6017" fmla="*/ 853062 w 7402822"/>
              <a:gd name="connsiteY6017" fmla="*/ 2197927 h 4749526"/>
              <a:gd name="connsiteX6018" fmla="*/ 853062 w 7402822"/>
              <a:gd name="connsiteY6018" fmla="*/ 2191855 h 4749526"/>
              <a:gd name="connsiteX6019" fmla="*/ 840918 w 7402822"/>
              <a:gd name="connsiteY6019" fmla="*/ 2179712 h 4749526"/>
              <a:gd name="connsiteX6020" fmla="*/ 831811 w 7402822"/>
              <a:gd name="connsiteY6020" fmla="*/ 2173640 h 4749526"/>
              <a:gd name="connsiteX6021" fmla="*/ 828775 w 7402822"/>
              <a:gd name="connsiteY6021" fmla="*/ 2173640 h 4749526"/>
              <a:gd name="connsiteX6022" fmla="*/ 825739 w 7402822"/>
              <a:gd name="connsiteY6022" fmla="*/ 2167569 h 4749526"/>
              <a:gd name="connsiteX6023" fmla="*/ 819667 w 7402822"/>
              <a:gd name="connsiteY6023" fmla="*/ 2161497 h 4749526"/>
              <a:gd name="connsiteX6024" fmla="*/ 816632 w 7402822"/>
              <a:gd name="connsiteY6024" fmla="*/ 2152390 h 4749526"/>
              <a:gd name="connsiteX6025" fmla="*/ 822704 w 7402822"/>
              <a:gd name="connsiteY6025" fmla="*/ 2149354 h 4749526"/>
              <a:gd name="connsiteX6026" fmla="*/ 831811 w 7402822"/>
              <a:gd name="connsiteY6026" fmla="*/ 2149354 h 4749526"/>
              <a:gd name="connsiteX6027" fmla="*/ 837883 w 7402822"/>
              <a:gd name="connsiteY6027" fmla="*/ 2155425 h 4749526"/>
              <a:gd name="connsiteX6028" fmla="*/ 856098 w 7402822"/>
              <a:gd name="connsiteY6028" fmla="*/ 2161497 h 4749526"/>
              <a:gd name="connsiteX6029" fmla="*/ 862169 w 7402822"/>
              <a:gd name="connsiteY6029" fmla="*/ 2161497 h 4749526"/>
              <a:gd name="connsiteX6030" fmla="*/ 862169 w 7402822"/>
              <a:gd name="connsiteY6030" fmla="*/ 2146318 h 4749526"/>
              <a:gd name="connsiteX6031" fmla="*/ 853062 w 7402822"/>
              <a:gd name="connsiteY6031" fmla="*/ 2149355 h 4749526"/>
              <a:gd name="connsiteX6032" fmla="*/ 843955 w 7402822"/>
              <a:gd name="connsiteY6032" fmla="*/ 2149355 h 4749526"/>
              <a:gd name="connsiteX6033" fmla="*/ 828775 w 7402822"/>
              <a:gd name="connsiteY6033" fmla="*/ 2140246 h 4749526"/>
              <a:gd name="connsiteX6034" fmla="*/ 828775 w 7402822"/>
              <a:gd name="connsiteY6034" fmla="*/ 2134174 h 4749526"/>
              <a:gd name="connsiteX6035" fmla="*/ 828775 w 7402822"/>
              <a:gd name="connsiteY6035" fmla="*/ 2128104 h 4749526"/>
              <a:gd name="connsiteX6036" fmla="*/ 825739 w 7402822"/>
              <a:gd name="connsiteY6036" fmla="*/ 2115960 h 4749526"/>
              <a:gd name="connsiteX6037" fmla="*/ 828775 w 7402822"/>
              <a:gd name="connsiteY6037" fmla="*/ 2103817 h 4749526"/>
              <a:gd name="connsiteX6038" fmla="*/ 828775 w 7402822"/>
              <a:gd name="connsiteY6038" fmla="*/ 2097745 h 4749526"/>
              <a:gd name="connsiteX6039" fmla="*/ 822704 w 7402822"/>
              <a:gd name="connsiteY6039" fmla="*/ 2088638 h 4749526"/>
              <a:gd name="connsiteX6040" fmla="*/ 822704 w 7402822"/>
              <a:gd name="connsiteY6040" fmla="*/ 2082566 h 4749526"/>
              <a:gd name="connsiteX6041" fmla="*/ 819667 w 7402822"/>
              <a:gd name="connsiteY6041" fmla="*/ 2085602 h 4749526"/>
              <a:gd name="connsiteX6042" fmla="*/ 807525 w 7402822"/>
              <a:gd name="connsiteY6042" fmla="*/ 2070423 h 4749526"/>
              <a:gd name="connsiteX6043" fmla="*/ 804489 w 7402822"/>
              <a:gd name="connsiteY6043" fmla="*/ 2064351 h 4749526"/>
              <a:gd name="connsiteX6044" fmla="*/ 807525 w 7402822"/>
              <a:gd name="connsiteY6044" fmla="*/ 2058280 h 4749526"/>
              <a:gd name="connsiteX6045" fmla="*/ 807525 w 7402822"/>
              <a:gd name="connsiteY6045" fmla="*/ 2055244 h 4749526"/>
              <a:gd name="connsiteX6046" fmla="*/ 807525 w 7402822"/>
              <a:gd name="connsiteY6046" fmla="*/ 2052208 h 4749526"/>
              <a:gd name="connsiteX6047" fmla="*/ 810560 w 7402822"/>
              <a:gd name="connsiteY6047" fmla="*/ 2049172 h 4749526"/>
              <a:gd name="connsiteX6048" fmla="*/ 807525 w 7402822"/>
              <a:gd name="connsiteY6048" fmla="*/ 2046136 h 4749526"/>
              <a:gd name="connsiteX6049" fmla="*/ 801453 w 7402822"/>
              <a:gd name="connsiteY6049" fmla="*/ 2055244 h 4749526"/>
              <a:gd name="connsiteX6050" fmla="*/ 798417 w 7402822"/>
              <a:gd name="connsiteY6050" fmla="*/ 2055244 h 4749526"/>
              <a:gd name="connsiteX6051" fmla="*/ 798417 w 7402822"/>
              <a:gd name="connsiteY6051" fmla="*/ 2064351 h 4749526"/>
              <a:gd name="connsiteX6052" fmla="*/ 792345 w 7402822"/>
              <a:gd name="connsiteY6052" fmla="*/ 2058280 h 4749526"/>
              <a:gd name="connsiteX6053" fmla="*/ 783238 w 7402822"/>
              <a:gd name="connsiteY6053" fmla="*/ 2046136 h 4749526"/>
              <a:gd name="connsiteX6054" fmla="*/ 780203 w 7402822"/>
              <a:gd name="connsiteY6054" fmla="*/ 2040065 h 4749526"/>
              <a:gd name="connsiteX6055" fmla="*/ 780203 w 7402822"/>
              <a:gd name="connsiteY6055" fmla="*/ 2037029 h 4749526"/>
              <a:gd name="connsiteX6056" fmla="*/ 777167 w 7402822"/>
              <a:gd name="connsiteY6056" fmla="*/ 2037029 h 4749526"/>
              <a:gd name="connsiteX6057" fmla="*/ 777167 w 7402822"/>
              <a:gd name="connsiteY6057" fmla="*/ 2033994 h 4749526"/>
              <a:gd name="connsiteX6058" fmla="*/ 774131 w 7402822"/>
              <a:gd name="connsiteY6058" fmla="*/ 2030957 h 4749526"/>
              <a:gd name="connsiteX6059" fmla="*/ 777167 w 7402822"/>
              <a:gd name="connsiteY6059" fmla="*/ 2018815 h 4749526"/>
              <a:gd name="connsiteX6060" fmla="*/ 780203 w 7402822"/>
              <a:gd name="connsiteY6060" fmla="*/ 2012743 h 4749526"/>
              <a:gd name="connsiteX6061" fmla="*/ 780203 w 7402822"/>
              <a:gd name="connsiteY6061" fmla="*/ 2003637 h 4749526"/>
              <a:gd name="connsiteX6062" fmla="*/ 771095 w 7402822"/>
              <a:gd name="connsiteY6062" fmla="*/ 2015779 h 4749526"/>
              <a:gd name="connsiteX6063" fmla="*/ 761987 w 7402822"/>
              <a:gd name="connsiteY6063" fmla="*/ 2009707 h 4749526"/>
              <a:gd name="connsiteX6064" fmla="*/ 761987 w 7402822"/>
              <a:gd name="connsiteY6064" fmla="*/ 2000600 h 4749526"/>
              <a:gd name="connsiteX6065" fmla="*/ 765023 w 7402822"/>
              <a:gd name="connsiteY6065" fmla="*/ 1997565 h 4749526"/>
              <a:gd name="connsiteX6066" fmla="*/ 765023 w 7402822"/>
              <a:gd name="connsiteY6066" fmla="*/ 1985421 h 4749526"/>
              <a:gd name="connsiteX6067" fmla="*/ 761987 w 7402822"/>
              <a:gd name="connsiteY6067" fmla="*/ 1976314 h 4749526"/>
              <a:gd name="connsiteX6068" fmla="*/ 755915 w 7402822"/>
              <a:gd name="connsiteY6068" fmla="*/ 1973278 h 4749526"/>
              <a:gd name="connsiteX6069" fmla="*/ 749845 w 7402822"/>
              <a:gd name="connsiteY6069" fmla="*/ 1973278 h 4749526"/>
              <a:gd name="connsiteX6070" fmla="*/ 743773 w 7402822"/>
              <a:gd name="connsiteY6070" fmla="*/ 1988457 h 4749526"/>
              <a:gd name="connsiteX6071" fmla="*/ 737701 w 7402822"/>
              <a:gd name="connsiteY6071" fmla="*/ 1982386 h 4749526"/>
              <a:gd name="connsiteX6072" fmla="*/ 740738 w 7402822"/>
              <a:gd name="connsiteY6072" fmla="*/ 1976314 h 4749526"/>
              <a:gd name="connsiteX6073" fmla="*/ 743773 w 7402822"/>
              <a:gd name="connsiteY6073" fmla="*/ 1964170 h 4749526"/>
              <a:gd name="connsiteX6074" fmla="*/ 734665 w 7402822"/>
              <a:gd name="connsiteY6074" fmla="*/ 1952027 h 4749526"/>
              <a:gd name="connsiteX6075" fmla="*/ 731629 w 7402822"/>
              <a:gd name="connsiteY6075" fmla="*/ 1948992 h 4749526"/>
              <a:gd name="connsiteX6076" fmla="*/ 728594 w 7402822"/>
              <a:gd name="connsiteY6076" fmla="*/ 1945956 h 4749526"/>
              <a:gd name="connsiteX6077" fmla="*/ 716450 w 7402822"/>
              <a:gd name="connsiteY6077" fmla="*/ 1930776 h 4749526"/>
              <a:gd name="connsiteX6078" fmla="*/ 713415 w 7402822"/>
              <a:gd name="connsiteY6078" fmla="*/ 1924705 h 4749526"/>
              <a:gd name="connsiteX6079" fmla="*/ 710378 w 7402822"/>
              <a:gd name="connsiteY6079" fmla="*/ 1912562 h 4749526"/>
              <a:gd name="connsiteX6080" fmla="*/ 701271 w 7402822"/>
              <a:gd name="connsiteY6080" fmla="*/ 1894346 h 4749526"/>
              <a:gd name="connsiteX6081" fmla="*/ 698235 w 7402822"/>
              <a:gd name="connsiteY6081" fmla="*/ 1888276 h 4749526"/>
              <a:gd name="connsiteX6082" fmla="*/ 695200 w 7402822"/>
              <a:gd name="connsiteY6082" fmla="*/ 1888276 h 4749526"/>
              <a:gd name="connsiteX6083" fmla="*/ 683057 w 7402822"/>
              <a:gd name="connsiteY6083" fmla="*/ 1876132 h 4749526"/>
              <a:gd name="connsiteX6084" fmla="*/ 676985 w 7402822"/>
              <a:gd name="connsiteY6084" fmla="*/ 1851846 h 4749526"/>
              <a:gd name="connsiteX6085" fmla="*/ 673949 w 7402822"/>
              <a:gd name="connsiteY6085" fmla="*/ 1839702 h 4749526"/>
              <a:gd name="connsiteX6086" fmla="*/ 667877 w 7402822"/>
              <a:gd name="connsiteY6086" fmla="*/ 1848810 h 4749526"/>
              <a:gd name="connsiteX6087" fmla="*/ 673949 w 7402822"/>
              <a:gd name="connsiteY6087" fmla="*/ 1860953 h 4749526"/>
              <a:gd name="connsiteX6088" fmla="*/ 676985 w 7402822"/>
              <a:gd name="connsiteY6088" fmla="*/ 1870060 h 4749526"/>
              <a:gd name="connsiteX6089" fmla="*/ 680021 w 7402822"/>
              <a:gd name="connsiteY6089" fmla="*/ 1885239 h 4749526"/>
              <a:gd name="connsiteX6090" fmla="*/ 667877 w 7402822"/>
              <a:gd name="connsiteY6090" fmla="*/ 1882204 h 4749526"/>
              <a:gd name="connsiteX6091" fmla="*/ 661806 w 7402822"/>
              <a:gd name="connsiteY6091" fmla="*/ 1876132 h 4749526"/>
              <a:gd name="connsiteX6092" fmla="*/ 658770 w 7402822"/>
              <a:gd name="connsiteY6092" fmla="*/ 1863989 h 4749526"/>
              <a:gd name="connsiteX6093" fmla="*/ 652698 w 7402822"/>
              <a:gd name="connsiteY6093" fmla="*/ 1867025 h 4749526"/>
              <a:gd name="connsiteX6094" fmla="*/ 658770 w 7402822"/>
              <a:gd name="connsiteY6094" fmla="*/ 1873097 h 4749526"/>
              <a:gd name="connsiteX6095" fmla="*/ 658770 w 7402822"/>
              <a:gd name="connsiteY6095" fmla="*/ 1882204 h 4749526"/>
              <a:gd name="connsiteX6096" fmla="*/ 652698 w 7402822"/>
              <a:gd name="connsiteY6096" fmla="*/ 1885239 h 4749526"/>
              <a:gd name="connsiteX6097" fmla="*/ 646626 w 7402822"/>
              <a:gd name="connsiteY6097" fmla="*/ 1885239 h 4749526"/>
              <a:gd name="connsiteX6098" fmla="*/ 625377 w 7402822"/>
              <a:gd name="connsiteY6098" fmla="*/ 1870060 h 4749526"/>
              <a:gd name="connsiteX6099" fmla="*/ 613233 w 7402822"/>
              <a:gd name="connsiteY6099" fmla="*/ 1854881 h 4749526"/>
              <a:gd name="connsiteX6100" fmla="*/ 610197 w 7402822"/>
              <a:gd name="connsiteY6100" fmla="*/ 1848810 h 4749526"/>
              <a:gd name="connsiteX6101" fmla="*/ 604126 w 7402822"/>
              <a:gd name="connsiteY6101" fmla="*/ 1848810 h 4749526"/>
              <a:gd name="connsiteX6102" fmla="*/ 579839 w 7402822"/>
              <a:gd name="connsiteY6102" fmla="*/ 1833631 h 4749526"/>
              <a:gd name="connsiteX6103" fmla="*/ 591982 w 7402822"/>
              <a:gd name="connsiteY6103" fmla="*/ 1830595 h 4749526"/>
              <a:gd name="connsiteX6104" fmla="*/ 591982 w 7402822"/>
              <a:gd name="connsiteY6104" fmla="*/ 1821487 h 4749526"/>
              <a:gd name="connsiteX6105" fmla="*/ 585910 w 7402822"/>
              <a:gd name="connsiteY6105" fmla="*/ 1812380 h 4749526"/>
              <a:gd name="connsiteX6106" fmla="*/ 579839 w 7402822"/>
              <a:gd name="connsiteY6106" fmla="*/ 1824523 h 4749526"/>
              <a:gd name="connsiteX6107" fmla="*/ 567696 w 7402822"/>
              <a:gd name="connsiteY6107" fmla="*/ 1827559 h 4749526"/>
              <a:gd name="connsiteX6108" fmla="*/ 555553 w 7402822"/>
              <a:gd name="connsiteY6108" fmla="*/ 1824523 h 4749526"/>
              <a:gd name="connsiteX6109" fmla="*/ 543409 w 7402822"/>
              <a:gd name="connsiteY6109" fmla="*/ 1818452 h 4749526"/>
              <a:gd name="connsiteX6110" fmla="*/ 531266 w 7402822"/>
              <a:gd name="connsiteY6110" fmla="*/ 1812380 h 4749526"/>
              <a:gd name="connsiteX6111" fmla="*/ 519123 w 7402822"/>
              <a:gd name="connsiteY6111" fmla="*/ 1812380 h 4749526"/>
              <a:gd name="connsiteX6112" fmla="*/ 506979 w 7402822"/>
              <a:gd name="connsiteY6112" fmla="*/ 1812380 h 4749526"/>
              <a:gd name="connsiteX6113" fmla="*/ 491800 w 7402822"/>
              <a:gd name="connsiteY6113" fmla="*/ 1815416 h 4749526"/>
              <a:gd name="connsiteX6114" fmla="*/ 467514 w 7402822"/>
              <a:gd name="connsiteY6114" fmla="*/ 1800236 h 4749526"/>
              <a:gd name="connsiteX6115" fmla="*/ 461443 w 7402822"/>
              <a:gd name="connsiteY6115" fmla="*/ 1797201 h 4749526"/>
              <a:gd name="connsiteX6116" fmla="*/ 458406 w 7402822"/>
              <a:gd name="connsiteY6116" fmla="*/ 1791129 h 4749526"/>
              <a:gd name="connsiteX6117" fmla="*/ 446264 w 7402822"/>
              <a:gd name="connsiteY6117" fmla="*/ 1788094 h 4749526"/>
              <a:gd name="connsiteX6118" fmla="*/ 440192 w 7402822"/>
              <a:gd name="connsiteY6118" fmla="*/ 1788094 h 4749526"/>
              <a:gd name="connsiteX6119" fmla="*/ 437156 w 7402822"/>
              <a:gd name="connsiteY6119" fmla="*/ 1775950 h 4749526"/>
              <a:gd name="connsiteX6120" fmla="*/ 434120 w 7402822"/>
              <a:gd name="connsiteY6120" fmla="*/ 1772915 h 4749526"/>
              <a:gd name="connsiteX6121" fmla="*/ 425013 w 7402822"/>
              <a:gd name="connsiteY6121" fmla="*/ 1778987 h 4749526"/>
              <a:gd name="connsiteX6122" fmla="*/ 409834 w 7402822"/>
              <a:gd name="connsiteY6122" fmla="*/ 1775950 h 4749526"/>
              <a:gd name="connsiteX6123" fmla="*/ 409834 w 7402822"/>
              <a:gd name="connsiteY6123" fmla="*/ 1791129 h 4749526"/>
              <a:gd name="connsiteX6124" fmla="*/ 412869 w 7402822"/>
              <a:gd name="connsiteY6124" fmla="*/ 1794166 h 4749526"/>
              <a:gd name="connsiteX6125" fmla="*/ 412869 w 7402822"/>
              <a:gd name="connsiteY6125" fmla="*/ 1797201 h 4749526"/>
              <a:gd name="connsiteX6126" fmla="*/ 406798 w 7402822"/>
              <a:gd name="connsiteY6126" fmla="*/ 1809345 h 4749526"/>
              <a:gd name="connsiteX6127" fmla="*/ 400726 w 7402822"/>
              <a:gd name="connsiteY6127" fmla="*/ 1818452 h 4749526"/>
              <a:gd name="connsiteX6128" fmla="*/ 385548 w 7402822"/>
              <a:gd name="connsiteY6128" fmla="*/ 1818452 h 4749526"/>
              <a:gd name="connsiteX6129" fmla="*/ 370368 w 7402822"/>
              <a:gd name="connsiteY6129" fmla="*/ 1830595 h 4749526"/>
              <a:gd name="connsiteX6130" fmla="*/ 358225 w 7402822"/>
              <a:gd name="connsiteY6130" fmla="*/ 1839702 h 4749526"/>
              <a:gd name="connsiteX6131" fmla="*/ 346082 w 7402822"/>
              <a:gd name="connsiteY6131" fmla="*/ 1848810 h 4749526"/>
              <a:gd name="connsiteX6132" fmla="*/ 333938 w 7402822"/>
              <a:gd name="connsiteY6132" fmla="*/ 1848810 h 4749526"/>
              <a:gd name="connsiteX6133" fmla="*/ 330903 w 7402822"/>
              <a:gd name="connsiteY6133" fmla="*/ 1845774 h 4749526"/>
              <a:gd name="connsiteX6134" fmla="*/ 330903 w 7402822"/>
              <a:gd name="connsiteY6134" fmla="*/ 1839702 h 4749526"/>
              <a:gd name="connsiteX6135" fmla="*/ 333938 w 7402822"/>
              <a:gd name="connsiteY6135" fmla="*/ 1815416 h 4749526"/>
              <a:gd name="connsiteX6136" fmla="*/ 340010 w 7402822"/>
              <a:gd name="connsiteY6136" fmla="*/ 1806308 h 4749526"/>
              <a:gd name="connsiteX6137" fmla="*/ 343046 w 7402822"/>
              <a:gd name="connsiteY6137" fmla="*/ 1794166 h 4749526"/>
              <a:gd name="connsiteX6138" fmla="*/ 340010 w 7402822"/>
              <a:gd name="connsiteY6138" fmla="*/ 1788094 h 4749526"/>
              <a:gd name="connsiteX6139" fmla="*/ 352154 w 7402822"/>
              <a:gd name="connsiteY6139" fmla="*/ 1778987 h 4749526"/>
              <a:gd name="connsiteX6140" fmla="*/ 364296 w 7402822"/>
              <a:gd name="connsiteY6140" fmla="*/ 1772915 h 4749526"/>
              <a:gd name="connsiteX6141" fmla="*/ 364296 w 7402822"/>
              <a:gd name="connsiteY6141" fmla="*/ 1766843 h 4749526"/>
              <a:gd name="connsiteX6142" fmla="*/ 361261 w 7402822"/>
              <a:gd name="connsiteY6142" fmla="*/ 1763807 h 4749526"/>
              <a:gd name="connsiteX6143" fmla="*/ 358225 w 7402822"/>
              <a:gd name="connsiteY6143" fmla="*/ 1760771 h 4749526"/>
              <a:gd name="connsiteX6144" fmla="*/ 352154 w 7402822"/>
              <a:gd name="connsiteY6144" fmla="*/ 1766843 h 4749526"/>
              <a:gd name="connsiteX6145" fmla="*/ 346082 w 7402822"/>
              <a:gd name="connsiteY6145" fmla="*/ 1772915 h 4749526"/>
              <a:gd name="connsiteX6146" fmla="*/ 333938 w 7402822"/>
              <a:gd name="connsiteY6146" fmla="*/ 1782022 h 4749526"/>
              <a:gd name="connsiteX6147" fmla="*/ 324831 w 7402822"/>
              <a:gd name="connsiteY6147" fmla="*/ 1797201 h 4749526"/>
              <a:gd name="connsiteX6148" fmla="*/ 318760 w 7402822"/>
              <a:gd name="connsiteY6148" fmla="*/ 1812380 h 4749526"/>
              <a:gd name="connsiteX6149" fmla="*/ 309652 w 7402822"/>
              <a:gd name="connsiteY6149" fmla="*/ 1824523 h 4749526"/>
              <a:gd name="connsiteX6150" fmla="*/ 306616 w 7402822"/>
              <a:gd name="connsiteY6150" fmla="*/ 1827559 h 4749526"/>
              <a:gd name="connsiteX6151" fmla="*/ 306616 w 7402822"/>
              <a:gd name="connsiteY6151" fmla="*/ 1830595 h 4749526"/>
              <a:gd name="connsiteX6152" fmla="*/ 300545 w 7402822"/>
              <a:gd name="connsiteY6152" fmla="*/ 1833631 h 4749526"/>
              <a:gd name="connsiteX6153" fmla="*/ 285365 w 7402822"/>
              <a:gd name="connsiteY6153" fmla="*/ 1842738 h 4749526"/>
              <a:gd name="connsiteX6154" fmla="*/ 285365 w 7402822"/>
              <a:gd name="connsiteY6154" fmla="*/ 1854881 h 4749526"/>
              <a:gd name="connsiteX6155" fmla="*/ 288401 w 7402822"/>
              <a:gd name="connsiteY6155" fmla="*/ 1854881 h 4749526"/>
              <a:gd name="connsiteX6156" fmla="*/ 303580 w 7402822"/>
              <a:gd name="connsiteY6156" fmla="*/ 1860953 h 4749526"/>
              <a:gd name="connsiteX6157" fmla="*/ 282329 w 7402822"/>
              <a:gd name="connsiteY6157" fmla="*/ 1891311 h 4749526"/>
              <a:gd name="connsiteX6158" fmla="*/ 264115 w 7402822"/>
              <a:gd name="connsiteY6158" fmla="*/ 1897383 h 4749526"/>
              <a:gd name="connsiteX6159" fmla="*/ 264115 w 7402822"/>
              <a:gd name="connsiteY6159" fmla="*/ 1900418 h 4749526"/>
              <a:gd name="connsiteX6160" fmla="*/ 261079 w 7402822"/>
              <a:gd name="connsiteY6160" fmla="*/ 1903455 h 4749526"/>
              <a:gd name="connsiteX6161" fmla="*/ 258043 w 7402822"/>
              <a:gd name="connsiteY6161" fmla="*/ 1906490 h 4749526"/>
              <a:gd name="connsiteX6162" fmla="*/ 255007 w 7402822"/>
              <a:gd name="connsiteY6162" fmla="*/ 1906490 h 4749526"/>
              <a:gd name="connsiteX6163" fmla="*/ 251972 w 7402822"/>
              <a:gd name="connsiteY6163" fmla="*/ 1909526 h 4749526"/>
              <a:gd name="connsiteX6164" fmla="*/ 251972 w 7402822"/>
              <a:gd name="connsiteY6164" fmla="*/ 1912562 h 4749526"/>
              <a:gd name="connsiteX6165" fmla="*/ 245900 w 7402822"/>
              <a:gd name="connsiteY6165" fmla="*/ 1915597 h 4749526"/>
              <a:gd name="connsiteX6166" fmla="*/ 236793 w 7402822"/>
              <a:gd name="connsiteY6166" fmla="*/ 1921669 h 4749526"/>
              <a:gd name="connsiteX6167" fmla="*/ 239828 w 7402822"/>
              <a:gd name="connsiteY6167" fmla="*/ 1927741 h 4749526"/>
              <a:gd name="connsiteX6168" fmla="*/ 233757 w 7402822"/>
              <a:gd name="connsiteY6168" fmla="*/ 1933813 h 4749526"/>
              <a:gd name="connsiteX6169" fmla="*/ 218577 w 7402822"/>
              <a:gd name="connsiteY6169" fmla="*/ 1939884 h 4749526"/>
              <a:gd name="connsiteX6170" fmla="*/ 209471 w 7402822"/>
              <a:gd name="connsiteY6170" fmla="*/ 1945956 h 4749526"/>
              <a:gd name="connsiteX6171" fmla="*/ 197326 w 7402822"/>
              <a:gd name="connsiteY6171" fmla="*/ 1955063 h 4749526"/>
              <a:gd name="connsiteX6172" fmla="*/ 200363 w 7402822"/>
              <a:gd name="connsiteY6172" fmla="*/ 1961135 h 4749526"/>
              <a:gd name="connsiteX6173" fmla="*/ 203398 w 7402822"/>
              <a:gd name="connsiteY6173" fmla="*/ 1964170 h 4749526"/>
              <a:gd name="connsiteX6174" fmla="*/ 194291 w 7402822"/>
              <a:gd name="connsiteY6174" fmla="*/ 1970242 h 4749526"/>
              <a:gd name="connsiteX6175" fmla="*/ 179112 w 7402822"/>
              <a:gd name="connsiteY6175" fmla="*/ 1976314 h 4749526"/>
              <a:gd name="connsiteX6176" fmla="*/ 173040 w 7402822"/>
              <a:gd name="connsiteY6176" fmla="*/ 1976314 h 4749526"/>
              <a:gd name="connsiteX6177" fmla="*/ 170005 w 7402822"/>
              <a:gd name="connsiteY6177" fmla="*/ 1976314 h 4749526"/>
              <a:gd name="connsiteX6178" fmla="*/ 157861 w 7402822"/>
              <a:gd name="connsiteY6178" fmla="*/ 1982386 h 4749526"/>
              <a:gd name="connsiteX6179" fmla="*/ 154826 w 7402822"/>
              <a:gd name="connsiteY6179" fmla="*/ 1988457 h 4749526"/>
              <a:gd name="connsiteX6180" fmla="*/ 148754 w 7402822"/>
              <a:gd name="connsiteY6180" fmla="*/ 1991493 h 4749526"/>
              <a:gd name="connsiteX6181" fmla="*/ 136611 w 7402822"/>
              <a:gd name="connsiteY6181" fmla="*/ 1994528 h 4749526"/>
              <a:gd name="connsiteX6182" fmla="*/ 130539 w 7402822"/>
              <a:gd name="connsiteY6182" fmla="*/ 1994528 h 4749526"/>
              <a:gd name="connsiteX6183" fmla="*/ 127504 w 7402822"/>
              <a:gd name="connsiteY6183" fmla="*/ 1991493 h 4749526"/>
              <a:gd name="connsiteX6184" fmla="*/ 124467 w 7402822"/>
              <a:gd name="connsiteY6184" fmla="*/ 2000600 h 4749526"/>
              <a:gd name="connsiteX6185" fmla="*/ 121432 w 7402822"/>
              <a:gd name="connsiteY6185" fmla="*/ 2003637 h 4749526"/>
              <a:gd name="connsiteX6186" fmla="*/ 109289 w 7402822"/>
              <a:gd name="connsiteY6186" fmla="*/ 2009707 h 4749526"/>
              <a:gd name="connsiteX6187" fmla="*/ 100181 w 7402822"/>
              <a:gd name="connsiteY6187" fmla="*/ 2009707 h 4749526"/>
              <a:gd name="connsiteX6188" fmla="*/ 97146 w 7402822"/>
              <a:gd name="connsiteY6188" fmla="*/ 2003637 h 4749526"/>
              <a:gd name="connsiteX6189" fmla="*/ 109289 w 7402822"/>
              <a:gd name="connsiteY6189" fmla="*/ 1994528 h 4749526"/>
              <a:gd name="connsiteX6190" fmla="*/ 112325 w 7402822"/>
              <a:gd name="connsiteY6190" fmla="*/ 1991493 h 4749526"/>
              <a:gd name="connsiteX6191" fmla="*/ 118397 w 7402822"/>
              <a:gd name="connsiteY6191" fmla="*/ 1982386 h 4749526"/>
              <a:gd name="connsiteX6192" fmla="*/ 139646 w 7402822"/>
              <a:gd name="connsiteY6192" fmla="*/ 1973278 h 4749526"/>
              <a:gd name="connsiteX6193" fmla="*/ 145718 w 7402822"/>
              <a:gd name="connsiteY6193" fmla="*/ 1973278 h 4749526"/>
              <a:gd name="connsiteX6194" fmla="*/ 151790 w 7402822"/>
              <a:gd name="connsiteY6194" fmla="*/ 1970242 h 4749526"/>
              <a:gd name="connsiteX6195" fmla="*/ 160897 w 7402822"/>
              <a:gd name="connsiteY6195" fmla="*/ 1958099 h 4749526"/>
              <a:gd name="connsiteX6196" fmla="*/ 173040 w 7402822"/>
              <a:gd name="connsiteY6196" fmla="*/ 1948992 h 4749526"/>
              <a:gd name="connsiteX6197" fmla="*/ 185184 w 7402822"/>
              <a:gd name="connsiteY6197" fmla="*/ 1939884 h 4749526"/>
              <a:gd name="connsiteX6198" fmla="*/ 191256 w 7402822"/>
              <a:gd name="connsiteY6198" fmla="*/ 1933813 h 4749526"/>
              <a:gd name="connsiteX6199" fmla="*/ 197326 w 7402822"/>
              <a:gd name="connsiteY6199" fmla="*/ 1924705 h 4749526"/>
              <a:gd name="connsiteX6200" fmla="*/ 203398 w 7402822"/>
              <a:gd name="connsiteY6200" fmla="*/ 1918634 h 4749526"/>
              <a:gd name="connsiteX6201" fmla="*/ 212507 w 7402822"/>
              <a:gd name="connsiteY6201" fmla="*/ 1909526 h 4749526"/>
              <a:gd name="connsiteX6202" fmla="*/ 212507 w 7402822"/>
              <a:gd name="connsiteY6202" fmla="*/ 1906490 h 4749526"/>
              <a:gd name="connsiteX6203" fmla="*/ 212507 w 7402822"/>
              <a:gd name="connsiteY6203" fmla="*/ 1897383 h 4749526"/>
              <a:gd name="connsiteX6204" fmla="*/ 215542 w 7402822"/>
              <a:gd name="connsiteY6204" fmla="*/ 1888276 h 4749526"/>
              <a:gd name="connsiteX6205" fmla="*/ 215542 w 7402822"/>
              <a:gd name="connsiteY6205" fmla="*/ 1882204 h 4749526"/>
              <a:gd name="connsiteX6206" fmla="*/ 227686 w 7402822"/>
              <a:gd name="connsiteY6206" fmla="*/ 1867025 h 4749526"/>
              <a:gd name="connsiteX6207" fmla="*/ 224649 w 7402822"/>
              <a:gd name="connsiteY6207" fmla="*/ 1860953 h 4749526"/>
              <a:gd name="connsiteX6208" fmla="*/ 221614 w 7402822"/>
              <a:gd name="connsiteY6208" fmla="*/ 1860953 h 4749526"/>
              <a:gd name="connsiteX6209" fmla="*/ 218577 w 7402822"/>
              <a:gd name="connsiteY6209" fmla="*/ 1863989 h 4749526"/>
              <a:gd name="connsiteX6210" fmla="*/ 203398 w 7402822"/>
              <a:gd name="connsiteY6210" fmla="*/ 1870060 h 4749526"/>
              <a:gd name="connsiteX6211" fmla="*/ 200363 w 7402822"/>
              <a:gd name="connsiteY6211" fmla="*/ 1870060 h 4749526"/>
              <a:gd name="connsiteX6212" fmla="*/ 194291 w 7402822"/>
              <a:gd name="connsiteY6212" fmla="*/ 1873097 h 4749526"/>
              <a:gd name="connsiteX6213" fmla="*/ 191256 w 7402822"/>
              <a:gd name="connsiteY6213" fmla="*/ 1876132 h 4749526"/>
              <a:gd name="connsiteX6214" fmla="*/ 182148 w 7402822"/>
              <a:gd name="connsiteY6214" fmla="*/ 1873097 h 4749526"/>
              <a:gd name="connsiteX6215" fmla="*/ 170005 w 7402822"/>
              <a:gd name="connsiteY6215" fmla="*/ 1860953 h 4749526"/>
              <a:gd name="connsiteX6216" fmla="*/ 163933 w 7402822"/>
              <a:gd name="connsiteY6216" fmla="*/ 1857917 h 4749526"/>
              <a:gd name="connsiteX6217" fmla="*/ 157861 w 7402822"/>
              <a:gd name="connsiteY6217" fmla="*/ 1857917 h 4749526"/>
              <a:gd name="connsiteX6218" fmla="*/ 145718 w 7402822"/>
              <a:gd name="connsiteY6218" fmla="*/ 1860953 h 4749526"/>
              <a:gd name="connsiteX6219" fmla="*/ 136611 w 7402822"/>
              <a:gd name="connsiteY6219" fmla="*/ 1863989 h 4749526"/>
              <a:gd name="connsiteX6220" fmla="*/ 136611 w 7402822"/>
              <a:gd name="connsiteY6220" fmla="*/ 1870060 h 4749526"/>
              <a:gd name="connsiteX6221" fmla="*/ 133576 w 7402822"/>
              <a:gd name="connsiteY6221" fmla="*/ 1870060 h 4749526"/>
              <a:gd name="connsiteX6222" fmla="*/ 124467 w 7402822"/>
              <a:gd name="connsiteY6222" fmla="*/ 1870060 h 4749526"/>
              <a:gd name="connsiteX6223" fmla="*/ 127504 w 7402822"/>
              <a:gd name="connsiteY6223" fmla="*/ 1863989 h 4749526"/>
              <a:gd name="connsiteX6224" fmla="*/ 130539 w 7402822"/>
              <a:gd name="connsiteY6224" fmla="*/ 1854881 h 4749526"/>
              <a:gd name="connsiteX6225" fmla="*/ 124467 w 7402822"/>
              <a:gd name="connsiteY6225" fmla="*/ 1851846 h 4749526"/>
              <a:gd name="connsiteX6226" fmla="*/ 124467 w 7402822"/>
              <a:gd name="connsiteY6226" fmla="*/ 1842738 h 4749526"/>
              <a:gd name="connsiteX6227" fmla="*/ 127504 w 7402822"/>
              <a:gd name="connsiteY6227" fmla="*/ 1836666 h 4749526"/>
              <a:gd name="connsiteX6228" fmla="*/ 127504 w 7402822"/>
              <a:gd name="connsiteY6228" fmla="*/ 1830595 h 4749526"/>
              <a:gd name="connsiteX6229" fmla="*/ 118397 w 7402822"/>
              <a:gd name="connsiteY6229" fmla="*/ 1812380 h 4749526"/>
              <a:gd name="connsiteX6230" fmla="*/ 106253 w 7402822"/>
              <a:gd name="connsiteY6230" fmla="*/ 1818452 h 4749526"/>
              <a:gd name="connsiteX6231" fmla="*/ 88038 w 7402822"/>
              <a:gd name="connsiteY6231" fmla="*/ 1824523 h 4749526"/>
              <a:gd name="connsiteX6232" fmla="*/ 78930 w 7402822"/>
              <a:gd name="connsiteY6232" fmla="*/ 1821487 h 4749526"/>
              <a:gd name="connsiteX6233" fmla="*/ 66787 w 7402822"/>
              <a:gd name="connsiteY6233" fmla="*/ 1803273 h 4749526"/>
              <a:gd name="connsiteX6234" fmla="*/ 57680 w 7402822"/>
              <a:gd name="connsiteY6234" fmla="*/ 1797201 h 4749526"/>
              <a:gd name="connsiteX6235" fmla="*/ 54644 w 7402822"/>
              <a:gd name="connsiteY6235" fmla="*/ 1794166 h 4749526"/>
              <a:gd name="connsiteX6236" fmla="*/ 57680 w 7402822"/>
              <a:gd name="connsiteY6236" fmla="*/ 1788094 h 4749526"/>
              <a:gd name="connsiteX6237" fmla="*/ 63751 w 7402822"/>
              <a:gd name="connsiteY6237" fmla="*/ 1778987 h 4749526"/>
              <a:gd name="connsiteX6238" fmla="*/ 54644 w 7402822"/>
              <a:gd name="connsiteY6238" fmla="*/ 1769878 h 4749526"/>
              <a:gd name="connsiteX6239" fmla="*/ 48572 w 7402822"/>
              <a:gd name="connsiteY6239" fmla="*/ 1769878 h 4749526"/>
              <a:gd name="connsiteX6240" fmla="*/ 39465 w 7402822"/>
              <a:gd name="connsiteY6240" fmla="*/ 1754699 h 4749526"/>
              <a:gd name="connsiteX6241" fmla="*/ 39465 w 7402822"/>
              <a:gd name="connsiteY6241" fmla="*/ 1739521 h 4749526"/>
              <a:gd name="connsiteX6242" fmla="*/ 45536 w 7402822"/>
              <a:gd name="connsiteY6242" fmla="*/ 1724342 h 4749526"/>
              <a:gd name="connsiteX6243" fmla="*/ 54644 w 7402822"/>
              <a:gd name="connsiteY6243" fmla="*/ 1712198 h 4749526"/>
              <a:gd name="connsiteX6244" fmla="*/ 60716 w 7402822"/>
              <a:gd name="connsiteY6244" fmla="*/ 1706126 h 4749526"/>
              <a:gd name="connsiteX6245" fmla="*/ 72858 w 7402822"/>
              <a:gd name="connsiteY6245" fmla="*/ 1697019 h 4749526"/>
              <a:gd name="connsiteX6246" fmla="*/ 66787 w 7402822"/>
              <a:gd name="connsiteY6246" fmla="*/ 1697019 h 4749526"/>
              <a:gd name="connsiteX6247" fmla="*/ 75895 w 7402822"/>
              <a:gd name="connsiteY6247" fmla="*/ 1684876 h 4749526"/>
              <a:gd name="connsiteX6248" fmla="*/ 69823 w 7402822"/>
              <a:gd name="connsiteY6248" fmla="*/ 1678805 h 4749526"/>
              <a:gd name="connsiteX6249" fmla="*/ 75895 w 7402822"/>
              <a:gd name="connsiteY6249" fmla="*/ 1675768 h 4749526"/>
              <a:gd name="connsiteX6250" fmla="*/ 85002 w 7402822"/>
              <a:gd name="connsiteY6250" fmla="*/ 1675768 h 4749526"/>
              <a:gd name="connsiteX6251" fmla="*/ 88038 w 7402822"/>
              <a:gd name="connsiteY6251" fmla="*/ 1675768 h 4749526"/>
              <a:gd name="connsiteX6252" fmla="*/ 85002 w 7402822"/>
              <a:gd name="connsiteY6252" fmla="*/ 1687912 h 4749526"/>
              <a:gd name="connsiteX6253" fmla="*/ 94109 w 7402822"/>
              <a:gd name="connsiteY6253" fmla="*/ 1681840 h 4749526"/>
              <a:gd name="connsiteX6254" fmla="*/ 106253 w 7402822"/>
              <a:gd name="connsiteY6254" fmla="*/ 1678805 h 4749526"/>
              <a:gd name="connsiteX6255" fmla="*/ 106253 w 7402822"/>
              <a:gd name="connsiteY6255" fmla="*/ 1675768 h 4749526"/>
              <a:gd name="connsiteX6256" fmla="*/ 109289 w 7402822"/>
              <a:gd name="connsiteY6256" fmla="*/ 1675768 h 4749526"/>
              <a:gd name="connsiteX6257" fmla="*/ 112325 w 7402822"/>
              <a:gd name="connsiteY6257" fmla="*/ 1669697 h 4749526"/>
              <a:gd name="connsiteX6258" fmla="*/ 118397 w 7402822"/>
              <a:gd name="connsiteY6258" fmla="*/ 1663626 h 4749526"/>
              <a:gd name="connsiteX6259" fmla="*/ 124467 w 7402822"/>
              <a:gd name="connsiteY6259" fmla="*/ 1666661 h 4749526"/>
              <a:gd name="connsiteX6260" fmla="*/ 136611 w 7402822"/>
              <a:gd name="connsiteY6260" fmla="*/ 1663626 h 4749526"/>
              <a:gd name="connsiteX6261" fmla="*/ 145718 w 7402822"/>
              <a:gd name="connsiteY6261" fmla="*/ 1654518 h 4749526"/>
              <a:gd name="connsiteX6262" fmla="*/ 145718 w 7402822"/>
              <a:gd name="connsiteY6262" fmla="*/ 1636303 h 4749526"/>
              <a:gd name="connsiteX6263" fmla="*/ 142683 w 7402822"/>
              <a:gd name="connsiteY6263" fmla="*/ 1624160 h 4749526"/>
              <a:gd name="connsiteX6264" fmla="*/ 142683 w 7402822"/>
              <a:gd name="connsiteY6264" fmla="*/ 1608981 h 4749526"/>
              <a:gd name="connsiteX6265" fmla="*/ 139646 w 7402822"/>
              <a:gd name="connsiteY6265" fmla="*/ 1593802 h 4749526"/>
              <a:gd name="connsiteX6266" fmla="*/ 124467 w 7402822"/>
              <a:gd name="connsiteY6266" fmla="*/ 1602909 h 4749526"/>
              <a:gd name="connsiteX6267" fmla="*/ 112325 w 7402822"/>
              <a:gd name="connsiteY6267" fmla="*/ 1615053 h 4749526"/>
              <a:gd name="connsiteX6268" fmla="*/ 106253 w 7402822"/>
              <a:gd name="connsiteY6268" fmla="*/ 1612016 h 4749526"/>
              <a:gd name="connsiteX6269" fmla="*/ 100181 w 7402822"/>
              <a:gd name="connsiteY6269" fmla="*/ 1608981 h 4749526"/>
              <a:gd name="connsiteX6270" fmla="*/ 88038 w 7402822"/>
              <a:gd name="connsiteY6270" fmla="*/ 1612016 h 4749526"/>
              <a:gd name="connsiteX6271" fmla="*/ 75895 w 7402822"/>
              <a:gd name="connsiteY6271" fmla="*/ 1612016 h 4749526"/>
              <a:gd name="connsiteX6272" fmla="*/ 63751 w 7402822"/>
              <a:gd name="connsiteY6272" fmla="*/ 1618088 h 4749526"/>
              <a:gd name="connsiteX6273" fmla="*/ 51608 w 7402822"/>
              <a:gd name="connsiteY6273" fmla="*/ 1615053 h 4749526"/>
              <a:gd name="connsiteX6274" fmla="*/ 30358 w 7402822"/>
              <a:gd name="connsiteY6274" fmla="*/ 1602909 h 4749526"/>
              <a:gd name="connsiteX6275" fmla="*/ 27322 w 7402822"/>
              <a:gd name="connsiteY6275" fmla="*/ 1593802 h 4749526"/>
              <a:gd name="connsiteX6276" fmla="*/ 21250 w 7402822"/>
              <a:gd name="connsiteY6276" fmla="*/ 1587730 h 4749526"/>
              <a:gd name="connsiteX6277" fmla="*/ 12143 w 7402822"/>
              <a:gd name="connsiteY6277" fmla="*/ 1572551 h 4749526"/>
              <a:gd name="connsiteX6278" fmla="*/ 0 w 7402822"/>
              <a:gd name="connsiteY6278" fmla="*/ 1563444 h 4749526"/>
              <a:gd name="connsiteX6279" fmla="*/ 0 w 7402822"/>
              <a:gd name="connsiteY6279" fmla="*/ 1554337 h 4749526"/>
              <a:gd name="connsiteX6280" fmla="*/ 24286 w 7402822"/>
              <a:gd name="connsiteY6280" fmla="*/ 1539157 h 4749526"/>
              <a:gd name="connsiteX6281" fmla="*/ 54644 w 7402822"/>
              <a:gd name="connsiteY6281" fmla="*/ 1520942 h 4749526"/>
              <a:gd name="connsiteX6282" fmla="*/ 72858 w 7402822"/>
              <a:gd name="connsiteY6282" fmla="*/ 1511835 h 4749526"/>
              <a:gd name="connsiteX6283" fmla="*/ 91073 w 7402822"/>
              <a:gd name="connsiteY6283" fmla="*/ 1514871 h 4749526"/>
              <a:gd name="connsiteX6284" fmla="*/ 78930 w 7402822"/>
              <a:gd name="connsiteY6284" fmla="*/ 1533086 h 4749526"/>
              <a:gd name="connsiteX6285" fmla="*/ 109289 w 7402822"/>
              <a:gd name="connsiteY6285" fmla="*/ 1542193 h 4749526"/>
              <a:gd name="connsiteX6286" fmla="*/ 127504 w 7402822"/>
              <a:gd name="connsiteY6286" fmla="*/ 1539157 h 4749526"/>
              <a:gd name="connsiteX6287" fmla="*/ 133576 w 7402822"/>
              <a:gd name="connsiteY6287" fmla="*/ 1530050 h 4749526"/>
              <a:gd name="connsiteX6288" fmla="*/ 139646 w 7402822"/>
              <a:gd name="connsiteY6288" fmla="*/ 1530050 h 4749526"/>
              <a:gd name="connsiteX6289" fmla="*/ 136611 w 7402822"/>
              <a:gd name="connsiteY6289" fmla="*/ 1523978 h 4749526"/>
              <a:gd name="connsiteX6290" fmla="*/ 133576 w 7402822"/>
              <a:gd name="connsiteY6290" fmla="*/ 1520942 h 4749526"/>
              <a:gd name="connsiteX6291" fmla="*/ 121432 w 7402822"/>
              <a:gd name="connsiteY6291" fmla="*/ 1508799 h 4749526"/>
              <a:gd name="connsiteX6292" fmla="*/ 106253 w 7402822"/>
              <a:gd name="connsiteY6292" fmla="*/ 1493620 h 4749526"/>
              <a:gd name="connsiteX6293" fmla="*/ 97146 w 7402822"/>
              <a:gd name="connsiteY6293" fmla="*/ 1487548 h 4749526"/>
              <a:gd name="connsiteX6294" fmla="*/ 91073 w 7402822"/>
              <a:gd name="connsiteY6294" fmla="*/ 1487548 h 4749526"/>
              <a:gd name="connsiteX6295" fmla="*/ 88038 w 7402822"/>
              <a:gd name="connsiteY6295" fmla="*/ 1484513 h 4749526"/>
              <a:gd name="connsiteX6296" fmla="*/ 85002 w 7402822"/>
              <a:gd name="connsiteY6296" fmla="*/ 1469334 h 4749526"/>
              <a:gd name="connsiteX6297" fmla="*/ 66787 w 7402822"/>
              <a:gd name="connsiteY6297" fmla="*/ 1445047 h 4749526"/>
              <a:gd name="connsiteX6298" fmla="*/ 66787 w 7402822"/>
              <a:gd name="connsiteY6298" fmla="*/ 1448083 h 4749526"/>
              <a:gd name="connsiteX6299" fmla="*/ 27322 w 7402822"/>
              <a:gd name="connsiteY6299" fmla="*/ 1417725 h 4749526"/>
              <a:gd name="connsiteX6300" fmla="*/ 30358 w 7402822"/>
              <a:gd name="connsiteY6300" fmla="*/ 1414689 h 4749526"/>
              <a:gd name="connsiteX6301" fmla="*/ 36429 w 7402822"/>
              <a:gd name="connsiteY6301" fmla="*/ 1405582 h 4749526"/>
              <a:gd name="connsiteX6302" fmla="*/ 36429 w 7402822"/>
              <a:gd name="connsiteY6302" fmla="*/ 1393438 h 4749526"/>
              <a:gd name="connsiteX6303" fmla="*/ 42501 w 7402822"/>
              <a:gd name="connsiteY6303" fmla="*/ 1390403 h 4749526"/>
              <a:gd name="connsiteX6304" fmla="*/ 69823 w 7402822"/>
              <a:gd name="connsiteY6304" fmla="*/ 1384331 h 4749526"/>
              <a:gd name="connsiteX6305" fmla="*/ 94109 w 7402822"/>
              <a:gd name="connsiteY6305" fmla="*/ 1369152 h 4749526"/>
              <a:gd name="connsiteX6306" fmla="*/ 100181 w 7402822"/>
              <a:gd name="connsiteY6306" fmla="*/ 1347901 h 4749526"/>
              <a:gd name="connsiteX6307" fmla="*/ 106253 w 7402822"/>
              <a:gd name="connsiteY6307" fmla="*/ 1329687 h 4749526"/>
              <a:gd name="connsiteX6308" fmla="*/ 121432 w 7402822"/>
              <a:gd name="connsiteY6308" fmla="*/ 1308436 h 4749526"/>
              <a:gd name="connsiteX6309" fmla="*/ 124467 w 7402822"/>
              <a:gd name="connsiteY6309" fmla="*/ 1302364 h 4749526"/>
              <a:gd name="connsiteX6310" fmla="*/ 130539 w 7402822"/>
              <a:gd name="connsiteY6310" fmla="*/ 1305400 h 4749526"/>
              <a:gd name="connsiteX6311" fmla="*/ 136611 w 7402822"/>
              <a:gd name="connsiteY6311" fmla="*/ 1305400 h 4749526"/>
              <a:gd name="connsiteX6312" fmla="*/ 145718 w 7402822"/>
              <a:gd name="connsiteY6312" fmla="*/ 1299328 h 4749526"/>
              <a:gd name="connsiteX6313" fmla="*/ 182148 w 7402822"/>
              <a:gd name="connsiteY6313" fmla="*/ 1265935 h 4749526"/>
              <a:gd name="connsiteX6314" fmla="*/ 182148 w 7402822"/>
              <a:gd name="connsiteY6314" fmla="*/ 1275042 h 4749526"/>
              <a:gd name="connsiteX6315" fmla="*/ 206435 w 7402822"/>
              <a:gd name="connsiteY6315" fmla="*/ 1268970 h 4749526"/>
              <a:gd name="connsiteX6316" fmla="*/ 230721 w 7402822"/>
              <a:gd name="connsiteY6316" fmla="*/ 1244684 h 4749526"/>
              <a:gd name="connsiteX6317" fmla="*/ 255007 w 7402822"/>
              <a:gd name="connsiteY6317" fmla="*/ 1250756 h 4749526"/>
              <a:gd name="connsiteX6318" fmla="*/ 264115 w 7402822"/>
              <a:gd name="connsiteY6318" fmla="*/ 1253791 h 4749526"/>
              <a:gd name="connsiteX6319" fmla="*/ 267151 w 7402822"/>
              <a:gd name="connsiteY6319" fmla="*/ 1250756 h 4749526"/>
              <a:gd name="connsiteX6320" fmla="*/ 273222 w 7402822"/>
              <a:gd name="connsiteY6320" fmla="*/ 1256827 h 4749526"/>
              <a:gd name="connsiteX6321" fmla="*/ 273222 w 7402822"/>
              <a:gd name="connsiteY6321" fmla="*/ 1262898 h 4749526"/>
              <a:gd name="connsiteX6322" fmla="*/ 285365 w 7402822"/>
              <a:gd name="connsiteY6322" fmla="*/ 1272006 h 4749526"/>
              <a:gd name="connsiteX6323" fmla="*/ 291438 w 7402822"/>
              <a:gd name="connsiteY6323" fmla="*/ 1265935 h 4749526"/>
              <a:gd name="connsiteX6324" fmla="*/ 297509 w 7402822"/>
              <a:gd name="connsiteY6324" fmla="*/ 1265935 h 4749526"/>
              <a:gd name="connsiteX6325" fmla="*/ 312688 w 7402822"/>
              <a:gd name="connsiteY6325" fmla="*/ 1265935 h 4749526"/>
              <a:gd name="connsiteX6326" fmla="*/ 324831 w 7402822"/>
              <a:gd name="connsiteY6326" fmla="*/ 1272006 h 4749526"/>
              <a:gd name="connsiteX6327" fmla="*/ 315724 w 7402822"/>
              <a:gd name="connsiteY6327" fmla="*/ 1287185 h 4749526"/>
              <a:gd name="connsiteX6328" fmla="*/ 321796 w 7402822"/>
              <a:gd name="connsiteY6328" fmla="*/ 1290221 h 4749526"/>
              <a:gd name="connsiteX6329" fmla="*/ 330903 w 7402822"/>
              <a:gd name="connsiteY6329" fmla="*/ 1293257 h 4749526"/>
              <a:gd name="connsiteX6330" fmla="*/ 343046 w 7402822"/>
              <a:gd name="connsiteY6330" fmla="*/ 1296292 h 4749526"/>
              <a:gd name="connsiteX6331" fmla="*/ 355189 w 7402822"/>
              <a:gd name="connsiteY6331" fmla="*/ 1293257 h 4749526"/>
              <a:gd name="connsiteX6332" fmla="*/ 367332 w 7402822"/>
              <a:gd name="connsiteY6332" fmla="*/ 1290221 h 4749526"/>
              <a:gd name="connsiteX6333" fmla="*/ 382512 w 7402822"/>
              <a:gd name="connsiteY6333" fmla="*/ 1290221 h 4749526"/>
              <a:gd name="connsiteX6334" fmla="*/ 406798 w 7402822"/>
              <a:gd name="connsiteY6334" fmla="*/ 1299328 h 4749526"/>
              <a:gd name="connsiteX6335" fmla="*/ 412869 w 7402822"/>
              <a:gd name="connsiteY6335" fmla="*/ 1302364 h 4749526"/>
              <a:gd name="connsiteX6336" fmla="*/ 418941 w 7402822"/>
              <a:gd name="connsiteY6336" fmla="*/ 1308436 h 4749526"/>
              <a:gd name="connsiteX6337" fmla="*/ 431085 w 7402822"/>
              <a:gd name="connsiteY6337" fmla="*/ 1311471 h 4749526"/>
              <a:gd name="connsiteX6338" fmla="*/ 443227 w 7402822"/>
              <a:gd name="connsiteY6338" fmla="*/ 1308436 h 4749526"/>
              <a:gd name="connsiteX6339" fmla="*/ 458406 w 7402822"/>
              <a:gd name="connsiteY6339" fmla="*/ 1314507 h 4749526"/>
              <a:gd name="connsiteX6340" fmla="*/ 479657 w 7402822"/>
              <a:gd name="connsiteY6340" fmla="*/ 1323615 h 4749526"/>
              <a:gd name="connsiteX6341" fmla="*/ 488765 w 7402822"/>
              <a:gd name="connsiteY6341" fmla="*/ 1317543 h 4749526"/>
              <a:gd name="connsiteX6342" fmla="*/ 503944 w 7402822"/>
              <a:gd name="connsiteY6342" fmla="*/ 1314507 h 4749526"/>
              <a:gd name="connsiteX6343" fmla="*/ 519123 w 7402822"/>
              <a:gd name="connsiteY6343" fmla="*/ 1317543 h 4749526"/>
              <a:gd name="connsiteX6344" fmla="*/ 528231 w 7402822"/>
              <a:gd name="connsiteY6344" fmla="*/ 1329687 h 4749526"/>
              <a:gd name="connsiteX6345" fmla="*/ 534302 w 7402822"/>
              <a:gd name="connsiteY6345" fmla="*/ 1335758 h 4749526"/>
              <a:gd name="connsiteX6346" fmla="*/ 537337 w 7402822"/>
              <a:gd name="connsiteY6346" fmla="*/ 1332722 h 4749526"/>
              <a:gd name="connsiteX6347" fmla="*/ 540374 w 7402822"/>
              <a:gd name="connsiteY6347" fmla="*/ 1335758 h 4749526"/>
              <a:gd name="connsiteX6348" fmla="*/ 555553 w 7402822"/>
              <a:gd name="connsiteY6348" fmla="*/ 1341829 h 4749526"/>
              <a:gd name="connsiteX6349" fmla="*/ 555553 w 7402822"/>
              <a:gd name="connsiteY6349" fmla="*/ 1341828 h 4749526"/>
              <a:gd name="connsiteX6350" fmla="*/ 582875 w 7402822"/>
              <a:gd name="connsiteY6350" fmla="*/ 1344865 h 4749526"/>
              <a:gd name="connsiteX6351" fmla="*/ 604126 w 7402822"/>
              <a:gd name="connsiteY6351" fmla="*/ 1363079 h 4749526"/>
              <a:gd name="connsiteX6352" fmla="*/ 610197 w 7402822"/>
              <a:gd name="connsiteY6352" fmla="*/ 1366115 h 4749526"/>
              <a:gd name="connsiteX6353" fmla="*/ 613233 w 7402822"/>
              <a:gd name="connsiteY6353" fmla="*/ 1372186 h 4749526"/>
              <a:gd name="connsiteX6354" fmla="*/ 625377 w 7402822"/>
              <a:gd name="connsiteY6354" fmla="*/ 1378258 h 4749526"/>
              <a:gd name="connsiteX6355" fmla="*/ 634484 w 7402822"/>
              <a:gd name="connsiteY6355" fmla="*/ 1384330 h 4749526"/>
              <a:gd name="connsiteX6356" fmla="*/ 643591 w 7402822"/>
              <a:gd name="connsiteY6356" fmla="*/ 1387366 h 4749526"/>
              <a:gd name="connsiteX6357" fmla="*/ 649663 w 7402822"/>
              <a:gd name="connsiteY6357" fmla="*/ 1387366 h 4749526"/>
              <a:gd name="connsiteX6358" fmla="*/ 661806 w 7402822"/>
              <a:gd name="connsiteY6358" fmla="*/ 1387366 h 4749526"/>
              <a:gd name="connsiteX6359" fmla="*/ 670914 w 7402822"/>
              <a:gd name="connsiteY6359" fmla="*/ 1387366 h 4749526"/>
              <a:gd name="connsiteX6360" fmla="*/ 683057 w 7402822"/>
              <a:gd name="connsiteY6360" fmla="*/ 1378258 h 4749526"/>
              <a:gd name="connsiteX6361" fmla="*/ 704307 w 7402822"/>
              <a:gd name="connsiteY6361" fmla="*/ 1360044 h 4749526"/>
              <a:gd name="connsiteX6362" fmla="*/ 716450 w 7402822"/>
              <a:gd name="connsiteY6362" fmla="*/ 1357007 h 4749526"/>
              <a:gd name="connsiteX6363" fmla="*/ 722522 w 7402822"/>
              <a:gd name="connsiteY6363" fmla="*/ 1341828 h 4749526"/>
              <a:gd name="connsiteX6364" fmla="*/ 746809 w 7402822"/>
              <a:gd name="connsiteY6364" fmla="*/ 1332721 h 4749526"/>
              <a:gd name="connsiteX6365" fmla="*/ 761987 w 7402822"/>
              <a:gd name="connsiteY6365" fmla="*/ 1320578 h 4749526"/>
              <a:gd name="connsiteX6366" fmla="*/ 771095 w 7402822"/>
              <a:gd name="connsiteY6366" fmla="*/ 1311470 h 4749526"/>
              <a:gd name="connsiteX6367" fmla="*/ 789310 w 7402822"/>
              <a:gd name="connsiteY6367" fmla="*/ 1305399 h 4749526"/>
              <a:gd name="connsiteX6368" fmla="*/ 798417 w 7402822"/>
              <a:gd name="connsiteY6368" fmla="*/ 1317542 h 4749526"/>
              <a:gd name="connsiteX6369" fmla="*/ 804489 w 7402822"/>
              <a:gd name="connsiteY6369" fmla="*/ 1323614 h 4749526"/>
              <a:gd name="connsiteX6370" fmla="*/ 810560 w 7402822"/>
              <a:gd name="connsiteY6370" fmla="*/ 1320578 h 4749526"/>
              <a:gd name="connsiteX6371" fmla="*/ 816632 w 7402822"/>
              <a:gd name="connsiteY6371" fmla="*/ 1314506 h 4749526"/>
              <a:gd name="connsiteX6372" fmla="*/ 819667 w 7402822"/>
              <a:gd name="connsiteY6372" fmla="*/ 1296291 h 4749526"/>
              <a:gd name="connsiteX6373" fmla="*/ 825739 w 7402822"/>
              <a:gd name="connsiteY6373" fmla="*/ 1287184 h 4749526"/>
              <a:gd name="connsiteX6374" fmla="*/ 834847 w 7402822"/>
              <a:gd name="connsiteY6374" fmla="*/ 1296291 h 4749526"/>
              <a:gd name="connsiteX6375" fmla="*/ 843955 w 7402822"/>
              <a:gd name="connsiteY6375" fmla="*/ 1308435 h 4749526"/>
              <a:gd name="connsiteX6376" fmla="*/ 846990 w 7402822"/>
              <a:gd name="connsiteY6376" fmla="*/ 1317542 h 4749526"/>
              <a:gd name="connsiteX6377" fmla="*/ 850026 w 7402822"/>
              <a:gd name="connsiteY6377" fmla="*/ 1323614 h 4749526"/>
              <a:gd name="connsiteX6378" fmla="*/ 850026 w 7402822"/>
              <a:gd name="connsiteY6378" fmla="*/ 1326649 h 4749526"/>
              <a:gd name="connsiteX6379" fmla="*/ 856098 w 7402822"/>
              <a:gd name="connsiteY6379" fmla="*/ 1341828 h 4749526"/>
              <a:gd name="connsiteX6380" fmla="*/ 865204 w 7402822"/>
              <a:gd name="connsiteY6380" fmla="*/ 1357007 h 4749526"/>
              <a:gd name="connsiteX6381" fmla="*/ 877348 w 7402822"/>
              <a:gd name="connsiteY6381" fmla="*/ 1363079 h 4749526"/>
              <a:gd name="connsiteX6382" fmla="*/ 883420 w 7402822"/>
              <a:gd name="connsiteY6382" fmla="*/ 1353972 h 4749526"/>
              <a:gd name="connsiteX6383" fmla="*/ 877348 w 7402822"/>
              <a:gd name="connsiteY6383" fmla="*/ 1353972 h 4749526"/>
              <a:gd name="connsiteX6384" fmla="*/ 880384 w 7402822"/>
              <a:gd name="connsiteY6384" fmla="*/ 1335757 h 4749526"/>
              <a:gd name="connsiteX6385" fmla="*/ 883420 w 7402822"/>
              <a:gd name="connsiteY6385" fmla="*/ 1320578 h 4749526"/>
              <a:gd name="connsiteX6386" fmla="*/ 895563 w 7402822"/>
              <a:gd name="connsiteY6386" fmla="*/ 1311470 h 4749526"/>
              <a:gd name="connsiteX6387" fmla="*/ 901635 w 7402822"/>
              <a:gd name="connsiteY6387" fmla="*/ 1320578 h 4749526"/>
              <a:gd name="connsiteX6388" fmla="*/ 904670 w 7402822"/>
              <a:gd name="connsiteY6388" fmla="*/ 1338793 h 4749526"/>
              <a:gd name="connsiteX6389" fmla="*/ 901635 w 7402822"/>
              <a:gd name="connsiteY6389" fmla="*/ 1344865 h 4749526"/>
              <a:gd name="connsiteX6390" fmla="*/ 895563 w 7402822"/>
              <a:gd name="connsiteY6390" fmla="*/ 1357007 h 4749526"/>
              <a:gd name="connsiteX6391" fmla="*/ 907706 w 7402822"/>
              <a:gd name="connsiteY6391" fmla="*/ 1360044 h 4749526"/>
              <a:gd name="connsiteX6392" fmla="*/ 919849 w 7402822"/>
              <a:gd name="connsiteY6392" fmla="*/ 1357007 h 4749526"/>
              <a:gd name="connsiteX6393" fmla="*/ 925921 w 7402822"/>
              <a:gd name="connsiteY6393" fmla="*/ 1347900 h 4749526"/>
              <a:gd name="connsiteX6394" fmla="*/ 925921 w 7402822"/>
              <a:gd name="connsiteY6394" fmla="*/ 1335757 h 4749526"/>
              <a:gd name="connsiteX6395" fmla="*/ 931993 w 7402822"/>
              <a:gd name="connsiteY6395" fmla="*/ 1332721 h 4749526"/>
              <a:gd name="connsiteX6396" fmla="*/ 938065 w 7402822"/>
              <a:gd name="connsiteY6396" fmla="*/ 1332721 h 4749526"/>
              <a:gd name="connsiteX6397" fmla="*/ 962351 w 7402822"/>
              <a:gd name="connsiteY6397" fmla="*/ 1335757 h 4749526"/>
              <a:gd name="connsiteX6398" fmla="*/ 974494 w 7402822"/>
              <a:gd name="connsiteY6398" fmla="*/ 1347900 h 4749526"/>
              <a:gd name="connsiteX6399" fmla="*/ 986637 w 7402822"/>
              <a:gd name="connsiteY6399" fmla="*/ 1357007 h 4749526"/>
              <a:gd name="connsiteX6400" fmla="*/ 1004852 w 7402822"/>
              <a:gd name="connsiteY6400" fmla="*/ 1363079 h 4749526"/>
              <a:gd name="connsiteX6401" fmla="*/ 1016996 w 7402822"/>
              <a:gd name="connsiteY6401" fmla="*/ 1366115 h 4749526"/>
              <a:gd name="connsiteX6402" fmla="*/ 1023067 w 7402822"/>
              <a:gd name="connsiteY6402" fmla="*/ 1375223 h 4749526"/>
              <a:gd name="connsiteX6403" fmla="*/ 1044318 w 7402822"/>
              <a:gd name="connsiteY6403" fmla="*/ 1384330 h 4749526"/>
              <a:gd name="connsiteX6404" fmla="*/ 1056461 w 7402822"/>
              <a:gd name="connsiteY6404" fmla="*/ 1387366 h 4749526"/>
              <a:gd name="connsiteX6405" fmla="*/ 1065569 w 7402822"/>
              <a:gd name="connsiteY6405" fmla="*/ 1384330 h 4749526"/>
              <a:gd name="connsiteX6406" fmla="*/ 1074676 w 7402822"/>
              <a:gd name="connsiteY6406" fmla="*/ 1381294 h 4749526"/>
              <a:gd name="connsiteX6407" fmla="*/ 1089855 w 7402822"/>
              <a:gd name="connsiteY6407" fmla="*/ 1387366 h 4749526"/>
              <a:gd name="connsiteX6408" fmla="*/ 1114141 w 7402822"/>
              <a:gd name="connsiteY6408" fmla="*/ 1411652 h 4749526"/>
              <a:gd name="connsiteX6409" fmla="*/ 1114141 w 7402822"/>
              <a:gd name="connsiteY6409" fmla="*/ 1423796 h 4749526"/>
              <a:gd name="connsiteX6410" fmla="*/ 1108070 w 7402822"/>
              <a:gd name="connsiteY6410" fmla="*/ 1423796 h 4749526"/>
              <a:gd name="connsiteX6411" fmla="*/ 1095926 w 7402822"/>
              <a:gd name="connsiteY6411" fmla="*/ 1420760 h 4749526"/>
              <a:gd name="connsiteX6412" fmla="*/ 1083783 w 7402822"/>
              <a:gd name="connsiteY6412" fmla="*/ 1438975 h 4749526"/>
              <a:gd name="connsiteX6413" fmla="*/ 1080747 w 7402822"/>
              <a:gd name="connsiteY6413" fmla="*/ 1442010 h 4749526"/>
              <a:gd name="connsiteX6414" fmla="*/ 1089855 w 7402822"/>
              <a:gd name="connsiteY6414" fmla="*/ 1445046 h 4749526"/>
              <a:gd name="connsiteX6415" fmla="*/ 1101998 w 7402822"/>
              <a:gd name="connsiteY6415" fmla="*/ 1448082 h 4749526"/>
              <a:gd name="connsiteX6416" fmla="*/ 1108070 w 7402822"/>
              <a:gd name="connsiteY6416" fmla="*/ 1451117 h 4749526"/>
              <a:gd name="connsiteX6417" fmla="*/ 1114141 w 7402822"/>
              <a:gd name="connsiteY6417" fmla="*/ 1454154 h 4749526"/>
              <a:gd name="connsiteX6418" fmla="*/ 1141464 w 7402822"/>
              <a:gd name="connsiteY6418" fmla="*/ 1454154 h 4749526"/>
              <a:gd name="connsiteX6419" fmla="*/ 1150572 w 7402822"/>
              <a:gd name="connsiteY6419" fmla="*/ 1451117 h 4749526"/>
              <a:gd name="connsiteX6420" fmla="*/ 1165750 w 7402822"/>
              <a:gd name="connsiteY6420" fmla="*/ 1451117 h 4749526"/>
              <a:gd name="connsiteX6421" fmla="*/ 1177894 w 7402822"/>
              <a:gd name="connsiteY6421" fmla="*/ 1445046 h 4749526"/>
              <a:gd name="connsiteX6422" fmla="*/ 1190036 w 7402822"/>
              <a:gd name="connsiteY6422" fmla="*/ 1438975 h 4749526"/>
              <a:gd name="connsiteX6423" fmla="*/ 1196108 w 7402822"/>
              <a:gd name="connsiteY6423" fmla="*/ 1438975 h 4749526"/>
              <a:gd name="connsiteX6424" fmla="*/ 1199144 w 7402822"/>
              <a:gd name="connsiteY6424" fmla="*/ 1445046 h 4749526"/>
              <a:gd name="connsiteX6425" fmla="*/ 1205215 w 7402822"/>
              <a:gd name="connsiteY6425" fmla="*/ 1448082 h 4749526"/>
              <a:gd name="connsiteX6426" fmla="*/ 1214323 w 7402822"/>
              <a:gd name="connsiteY6426" fmla="*/ 1454154 h 4749526"/>
              <a:gd name="connsiteX6427" fmla="*/ 1226466 w 7402822"/>
              <a:gd name="connsiteY6427" fmla="*/ 1463261 h 4749526"/>
              <a:gd name="connsiteX6428" fmla="*/ 1235574 w 7402822"/>
              <a:gd name="connsiteY6428" fmla="*/ 1475405 h 4749526"/>
              <a:gd name="connsiteX6429" fmla="*/ 1238609 w 7402822"/>
              <a:gd name="connsiteY6429" fmla="*/ 1481475 h 4749526"/>
              <a:gd name="connsiteX6430" fmla="*/ 1244681 w 7402822"/>
              <a:gd name="connsiteY6430" fmla="*/ 1496655 h 4749526"/>
              <a:gd name="connsiteX6431" fmla="*/ 1253789 w 7402822"/>
              <a:gd name="connsiteY6431" fmla="*/ 1499691 h 4749526"/>
              <a:gd name="connsiteX6432" fmla="*/ 1250753 w 7402822"/>
              <a:gd name="connsiteY6432" fmla="*/ 1484512 h 4749526"/>
              <a:gd name="connsiteX6433" fmla="*/ 1247717 w 7402822"/>
              <a:gd name="connsiteY6433" fmla="*/ 1481475 h 4749526"/>
              <a:gd name="connsiteX6434" fmla="*/ 1238609 w 7402822"/>
              <a:gd name="connsiteY6434" fmla="*/ 1454154 h 4749526"/>
              <a:gd name="connsiteX6435" fmla="*/ 1232538 w 7402822"/>
              <a:gd name="connsiteY6435" fmla="*/ 1429867 h 4749526"/>
              <a:gd name="connsiteX6436" fmla="*/ 1226466 w 7402822"/>
              <a:gd name="connsiteY6436" fmla="*/ 1423796 h 4749526"/>
              <a:gd name="connsiteX6437" fmla="*/ 1220395 w 7402822"/>
              <a:gd name="connsiteY6437" fmla="*/ 1420760 h 4749526"/>
              <a:gd name="connsiteX6438" fmla="*/ 1229502 w 7402822"/>
              <a:gd name="connsiteY6438" fmla="*/ 1402545 h 4749526"/>
              <a:gd name="connsiteX6439" fmla="*/ 1241645 w 7402822"/>
              <a:gd name="connsiteY6439" fmla="*/ 1399509 h 4749526"/>
              <a:gd name="connsiteX6440" fmla="*/ 1265932 w 7402822"/>
              <a:gd name="connsiteY6440" fmla="*/ 1390402 h 4749526"/>
              <a:gd name="connsiteX6441" fmla="*/ 1275039 w 7402822"/>
              <a:gd name="connsiteY6441" fmla="*/ 1384330 h 4749526"/>
              <a:gd name="connsiteX6442" fmla="*/ 1287183 w 7402822"/>
              <a:gd name="connsiteY6442" fmla="*/ 1393437 h 4749526"/>
              <a:gd name="connsiteX6443" fmla="*/ 1290218 w 7402822"/>
              <a:gd name="connsiteY6443" fmla="*/ 1405581 h 4749526"/>
              <a:gd name="connsiteX6444" fmla="*/ 1293254 w 7402822"/>
              <a:gd name="connsiteY6444" fmla="*/ 1414688 h 4749526"/>
              <a:gd name="connsiteX6445" fmla="*/ 1293254 w 7402822"/>
              <a:gd name="connsiteY6445" fmla="*/ 1417724 h 4749526"/>
              <a:gd name="connsiteX6446" fmla="*/ 1296290 w 7402822"/>
              <a:gd name="connsiteY6446" fmla="*/ 1420760 h 4749526"/>
              <a:gd name="connsiteX6447" fmla="*/ 1299325 w 7402822"/>
              <a:gd name="connsiteY6447" fmla="*/ 1423796 h 4749526"/>
              <a:gd name="connsiteX6448" fmla="*/ 1299325 w 7402822"/>
              <a:gd name="connsiteY6448" fmla="*/ 1420760 h 4749526"/>
              <a:gd name="connsiteX6449" fmla="*/ 1308433 w 7402822"/>
              <a:gd name="connsiteY6449" fmla="*/ 1423796 h 4749526"/>
              <a:gd name="connsiteX6450" fmla="*/ 1308433 w 7402822"/>
              <a:gd name="connsiteY6450" fmla="*/ 1426831 h 4749526"/>
              <a:gd name="connsiteX6451" fmla="*/ 1308433 w 7402822"/>
              <a:gd name="connsiteY6451" fmla="*/ 1432903 h 4749526"/>
              <a:gd name="connsiteX6452" fmla="*/ 1320576 w 7402822"/>
              <a:gd name="connsiteY6452" fmla="*/ 1435938 h 4749526"/>
              <a:gd name="connsiteX6453" fmla="*/ 1357006 w 7402822"/>
              <a:gd name="connsiteY6453" fmla="*/ 1454154 h 4749526"/>
              <a:gd name="connsiteX6454" fmla="*/ 1366114 w 7402822"/>
              <a:gd name="connsiteY6454" fmla="*/ 1454154 h 4749526"/>
              <a:gd name="connsiteX6455" fmla="*/ 1372185 w 7402822"/>
              <a:gd name="connsiteY6455" fmla="*/ 1454154 h 4749526"/>
              <a:gd name="connsiteX6456" fmla="*/ 1384329 w 7402822"/>
              <a:gd name="connsiteY6456" fmla="*/ 1451117 h 4749526"/>
              <a:gd name="connsiteX6457" fmla="*/ 1390400 w 7402822"/>
              <a:gd name="connsiteY6457" fmla="*/ 1448082 h 4749526"/>
              <a:gd name="connsiteX6458" fmla="*/ 1393435 w 7402822"/>
              <a:gd name="connsiteY6458" fmla="*/ 1445046 h 4749526"/>
              <a:gd name="connsiteX6459" fmla="*/ 1405579 w 7402822"/>
              <a:gd name="connsiteY6459" fmla="*/ 1445046 h 4749526"/>
              <a:gd name="connsiteX6460" fmla="*/ 1414686 w 7402822"/>
              <a:gd name="connsiteY6460" fmla="*/ 1448082 h 4749526"/>
              <a:gd name="connsiteX6461" fmla="*/ 1423794 w 7402822"/>
              <a:gd name="connsiteY6461" fmla="*/ 1451117 h 4749526"/>
              <a:gd name="connsiteX6462" fmla="*/ 1435937 w 7402822"/>
              <a:gd name="connsiteY6462" fmla="*/ 1448082 h 4749526"/>
              <a:gd name="connsiteX6463" fmla="*/ 1426829 w 7402822"/>
              <a:gd name="connsiteY6463" fmla="*/ 1435938 h 4749526"/>
              <a:gd name="connsiteX6464" fmla="*/ 1429865 w 7402822"/>
              <a:gd name="connsiteY6464" fmla="*/ 1414688 h 4749526"/>
              <a:gd name="connsiteX6465" fmla="*/ 1448080 w 7402822"/>
              <a:gd name="connsiteY6465" fmla="*/ 1405581 h 4749526"/>
              <a:gd name="connsiteX6466" fmla="*/ 1460224 w 7402822"/>
              <a:gd name="connsiteY6466" fmla="*/ 1411652 h 4749526"/>
              <a:gd name="connsiteX6467" fmla="*/ 1463260 w 7402822"/>
              <a:gd name="connsiteY6467" fmla="*/ 1420760 h 4749526"/>
              <a:gd name="connsiteX6468" fmla="*/ 1466296 w 7402822"/>
              <a:gd name="connsiteY6468" fmla="*/ 1420760 h 4749526"/>
              <a:gd name="connsiteX6469" fmla="*/ 1478438 w 7402822"/>
              <a:gd name="connsiteY6469" fmla="*/ 1420760 h 4749526"/>
              <a:gd name="connsiteX6470" fmla="*/ 1487546 w 7402822"/>
              <a:gd name="connsiteY6470" fmla="*/ 1420760 h 4749526"/>
              <a:gd name="connsiteX6471" fmla="*/ 1484510 w 7402822"/>
              <a:gd name="connsiteY6471" fmla="*/ 1423796 h 4749526"/>
              <a:gd name="connsiteX6472" fmla="*/ 1484510 w 7402822"/>
              <a:gd name="connsiteY6472" fmla="*/ 1435938 h 4749526"/>
              <a:gd name="connsiteX6473" fmla="*/ 1478438 w 7402822"/>
              <a:gd name="connsiteY6473" fmla="*/ 1454154 h 4749526"/>
              <a:gd name="connsiteX6474" fmla="*/ 1478438 w 7402822"/>
              <a:gd name="connsiteY6474" fmla="*/ 1466296 h 4749526"/>
              <a:gd name="connsiteX6475" fmla="*/ 1484510 w 7402822"/>
              <a:gd name="connsiteY6475" fmla="*/ 1478440 h 4749526"/>
              <a:gd name="connsiteX6476" fmla="*/ 1493617 w 7402822"/>
              <a:gd name="connsiteY6476" fmla="*/ 1469333 h 4749526"/>
              <a:gd name="connsiteX6477" fmla="*/ 1499689 w 7402822"/>
              <a:gd name="connsiteY6477" fmla="*/ 1484512 h 4749526"/>
              <a:gd name="connsiteX6478" fmla="*/ 1496654 w 7402822"/>
              <a:gd name="connsiteY6478" fmla="*/ 1448082 h 4749526"/>
              <a:gd name="connsiteX6479" fmla="*/ 1505761 w 7402822"/>
              <a:gd name="connsiteY6479" fmla="*/ 1432903 h 4749526"/>
              <a:gd name="connsiteX6480" fmla="*/ 1514868 w 7402822"/>
              <a:gd name="connsiteY6480" fmla="*/ 1429867 h 4749526"/>
              <a:gd name="connsiteX6481" fmla="*/ 1520940 w 7402822"/>
              <a:gd name="connsiteY6481" fmla="*/ 1423796 h 4749526"/>
              <a:gd name="connsiteX6482" fmla="*/ 1536119 w 7402822"/>
              <a:gd name="connsiteY6482" fmla="*/ 1405581 h 4749526"/>
              <a:gd name="connsiteX6483" fmla="*/ 1533083 w 7402822"/>
              <a:gd name="connsiteY6483" fmla="*/ 1393437 h 4749526"/>
              <a:gd name="connsiteX6484" fmla="*/ 1520940 w 7402822"/>
              <a:gd name="connsiteY6484" fmla="*/ 1393437 h 4749526"/>
              <a:gd name="connsiteX6485" fmla="*/ 1517904 w 7402822"/>
              <a:gd name="connsiteY6485" fmla="*/ 1396473 h 4749526"/>
              <a:gd name="connsiteX6486" fmla="*/ 1514868 w 7402822"/>
              <a:gd name="connsiteY6486" fmla="*/ 1390402 h 4749526"/>
              <a:gd name="connsiteX6487" fmla="*/ 1514868 w 7402822"/>
              <a:gd name="connsiteY6487" fmla="*/ 1381294 h 4749526"/>
              <a:gd name="connsiteX6488" fmla="*/ 1517904 w 7402822"/>
              <a:gd name="connsiteY6488" fmla="*/ 1381294 h 4749526"/>
              <a:gd name="connsiteX6489" fmla="*/ 1523976 w 7402822"/>
              <a:gd name="connsiteY6489" fmla="*/ 1378258 h 4749526"/>
              <a:gd name="connsiteX6490" fmla="*/ 1527011 w 7402822"/>
              <a:gd name="connsiteY6490" fmla="*/ 1372186 h 4749526"/>
              <a:gd name="connsiteX6491" fmla="*/ 1539154 w 7402822"/>
              <a:gd name="connsiteY6491" fmla="*/ 1360044 h 4749526"/>
              <a:gd name="connsiteX6492" fmla="*/ 1530047 w 7402822"/>
              <a:gd name="connsiteY6492" fmla="*/ 1350936 h 4749526"/>
              <a:gd name="connsiteX6493" fmla="*/ 1527011 w 7402822"/>
              <a:gd name="connsiteY6493" fmla="*/ 1353972 h 4749526"/>
              <a:gd name="connsiteX6494" fmla="*/ 1517904 w 7402822"/>
              <a:gd name="connsiteY6494" fmla="*/ 1347900 h 4749526"/>
              <a:gd name="connsiteX6495" fmla="*/ 1505761 w 7402822"/>
              <a:gd name="connsiteY6495" fmla="*/ 1344865 h 4749526"/>
              <a:gd name="connsiteX6496" fmla="*/ 1493617 w 7402822"/>
              <a:gd name="connsiteY6496" fmla="*/ 1335757 h 4749526"/>
              <a:gd name="connsiteX6497" fmla="*/ 1481475 w 7402822"/>
              <a:gd name="connsiteY6497" fmla="*/ 1323614 h 4749526"/>
              <a:gd name="connsiteX6498" fmla="*/ 1472366 w 7402822"/>
              <a:gd name="connsiteY6498" fmla="*/ 1308435 h 4749526"/>
              <a:gd name="connsiteX6499" fmla="*/ 1478438 w 7402822"/>
              <a:gd name="connsiteY6499" fmla="*/ 1287184 h 4749526"/>
              <a:gd name="connsiteX6500" fmla="*/ 1472366 w 7402822"/>
              <a:gd name="connsiteY6500" fmla="*/ 1275041 h 4749526"/>
              <a:gd name="connsiteX6501" fmla="*/ 1472366 w 7402822"/>
              <a:gd name="connsiteY6501" fmla="*/ 1265934 h 4749526"/>
              <a:gd name="connsiteX6502" fmla="*/ 1475403 w 7402822"/>
              <a:gd name="connsiteY6502" fmla="*/ 1253790 h 4749526"/>
              <a:gd name="connsiteX6503" fmla="*/ 1472366 w 7402822"/>
              <a:gd name="connsiteY6503" fmla="*/ 1250755 h 4749526"/>
              <a:gd name="connsiteX6504" fmla="*/ 1478438 w 7402822"/>
              <a:gd name="connsiteY6504" fmla="*/ 1238611 h 4749526"/>
              <a:gd name="connsiteX6505" fmla="*/ 1493617 w 7402822"/>
              <a:gd name="connsiteY6505" fmla="*/ 1214325 h 4749526"/>
              <a:gd name="connsiteX6506" fmla="*/ 6344843 w 7402822"/>
              <a:gd name="connsiteY6506" fmla="*/ 1183206 h 4749526"/>
              <a:gd name="connsiteX6507" fmla="*/ 6346361 w 7402822"/>
              <a:gd name="connsiteY6507" fmla="*/ 1183965 h 4749526"/>
              <a:gd name="connsiteX6508" fmla="*/ 6343325 w 7402822"/>
              <a:gd name="connsiteY6508" fmla="*/ 1183965 h 4749526"/>
              <a:gd name="connsiteX6509" fmla="*/ 6094389 w 7402822"/>
              <a:gd name="connsiteY6509" fmla="*/ 1153608 h 4749526"/>
              <a:gd name="connsiteX6510" fmla="*/ 6106531 w 7402822"/>
              <a:gd name="connsiteY6510" fmla="*/ 1153608 h 4749526"/>
              <a:gd name="connsiteX6511" fmla="*/ 6118675 w 7402822"/>
              <a:gd name="connsiteY6511" fmla="*/ 1156644 h 4749526"/>
              <a:gd name="connsiteX6512" fmla="*/ 6133854 w 7402822"/>
              <a:gd name="connsiteY6512" fmla="*/ 1162716 h 4749526"/>
              <a:gd name="connsiteX6513" fmla="*/ 6136889 w 7402822"/>
              <a:gd name="connsiteY6513" fmla="*/ 1171823 h 4749526"/>
              <a:gd name="connsiteX6514" fmla="*/ 6136889 w 7402822"/>
              <a:gd name="connsiteY6514" fmla="*/ 1187002 h 4749526"/>
              <a:gd name="connsiteX6515" fmla="*/ 6124747 w 7402822"/>
              <a:gd name="connsiteY6515" fmla="*/ 1190038 h 4749526"/>
              <a:gd name="connsiteX6516" fmla="*/ 6115639 w 7402822"/>
              <a:gd name="connsiteY6516" fmla="*/ 1183966 h 4749526"/>
              <a:gd name="connsiteX6517" fmla="*/ 6097424 w 7402822"/>
              <a:gd name="connsiteY6517" fmla="*/ 1165752 h 4749526"/>
              <a:gd name="connsiteX6518" fmla="*/ 6079209 w 7402822"/>
              <a:gd name="connsiteY6518" fmla="*/ 1165752 h 4749526"/>
              <a:gd name="connsiteX6519" fmla="*/ 6079209 w 7402822"/>
              <a:gd name="connsiteY6519" fmla="*/ 1159680 h 4749526"/>
              <a:gd name="connsiteX6520" fmla="*/ 6085281 w 7402822"/>
              <a:gd name="connsiteY6520" fmla="*/ 1159680 h 4749526"/>
              <a:gd name="connsiteX6521" fmla="*/ 5065250 w 7402822"/>
              <a:gd name="connsiteY6521" fmla="*/ 1147535 h 4749526"/>
              <a:gd name="connsiteX6522" fmla="*/ 5074357 w 7402822"/>
              <a:gd name="connsiteY6522" fmla="*/ 1150572 h 4749526"/>
              <a:gd name="connsiteX6523" fmla="*/ 5083464 w 7402822"/>
              <a:gd name="connsiteY6523" fmla="*/ 1156643 h 4749526"/>
              <a:gd name="connsiteX6524" fmla="*/ 5077393 w 7402822"/>
              <a:gd name="connsiteY6524" fmla="*/ 1165751 h 4749526"/>
              <a:gd name="connsiteX6525" fmla="*/ 5068285 w 7402822"/>
              <a:gd name="connsiteY6525" fmla="*/ 1171822 h 4749526"/>
              <a:gd name="connsiteX6526" fmla="*/ 5053106 w 7402822"/>
              <a:gd name="connsiteY6526" fmla="*/ 1168786 h 4749526"/>
              <a:gd name="connsiteX6527" fmla="*/ 2962951 w 7402822"/>
              <a:gd name="connsiteY6527" fmla="*/ 1135393 h 4749526"/>
              <a:gd name="connsiteX6528" fmla="*/ 2965987 w 7402822"/>
              <a:gd name="connsiteY6528" fmla="*/ 1135393 h 4749526"/>
              <a:gd name="connsiteX6529" fmla="*/ 2978130 w 7402822"/>
              <a:gd name="connsiteY6529" fmla="*/ 1138428 h 4749526"/>
              <a:gd name="connsiteX6530" fmla="*/ 2990274 w 7402822"/>
              <a:gd name="connsiteY6530" fmla="*/ 1138428 h 4749526"/>
              <a:gd name="connsiteX6531" fmla="*/ 3002417 w 7402822"/>
              <a:gd name="connsiteY6531" fmla="*/ 1153607 h 4749526"/>
              <a:gd name="connsiteX6532" fmla="*/ 3014560 w 7402822"/>
              <a:gd name="connsiteY6532" fmla="*/ 1162716 h 4749526"/>
              <a:gd name="connsiteX6533" fmla="*/ 3011524 w 7402822"/>
              <a:gd name="connsiteY6533" fmla="*/ 1168786 h 4749526"/>
              <a:gd name="connsiteX6534" fmla="*/ 3008488 w 7402822"/>
              <a:gd name="connsiteY6534" fmla="*/ 1183965 h 4749526"/>
              <a:gd name="connsiteX6535" fmla="*/ 2999381 w 7402822"/>
              <a:gd name="connsiteY6535" fmla="*/ 1183965 h 4749526"/>
              <a:gd name="connsiteX6536" fmla="*/ 2987238 w 7402822"/>
              <a:gd name="connsiteY6536" fmla="*/ 1174858 h 4749526"/>
              <a:gd name="connsiteX6537" fmla="*/ 2972059 w 7402822"/>
              <a:gd name="connsiteY6537" fmla="*/ 1162716 h 4749526"/>
              <a:gd name="connsiteX6538" fmla="*/ 2962951 w 7402822"/>
              <a:gd name="connsiteY6538" fmla="*/ 1150572 h 4749526"/>
              <a:gd name="connsiteX6539" fmla="*/ 5101679 w 7402822"/>
              <a:gd name="connsiteY6539" fmla="*/ 1120214 h 4749526"/>
              <a:gd name="connsiteX6540" fmla="*/ 5107751 w 7402822"/>
              <a:gd name="connsiteY6540" fmla="*/ 1132356 h 4749526"/>
              <a:gd name="connsiteX6541" fmla="*/ 5107751 w 7402822"/>
              <a:gd name="connsiteY6541" fmla="*/ 1144500 h 4749526"/>
              <a:gd name="connsiteX6542" fmla="*/ 5101679 w 7402822"/>
              <a:gd name="connsiteY6542" fmla="*/ 1147535 h 4749526"/>
              <a:gd name="connsiteX6543" fmla="*/ 5092572 w 7402822"/>
              <a:gd name="connsiteY6543" fmla="*/ 1144500 h 4749526"/>
              <a:gd name="connsiteX6544" fmla="*/ 5086500 w 7402822"/>
              <a:gd name="connsiteY6544" fmla="*/ 1138428 h 4749526"/>
              <a:gd name="connsiteX6545" fmla="*/ 5089536 w 7402822"/>
              <a:gd name="connsiteY6545" fmla="*/ 1132356 h 4749526"/>
              <a:gd name="connsiteX6546" fmla="*/ 5004533 w 7402822"/>
              <a:gd name="connsiteY6546" fmla="*/ 1117177 h 4749526"/>
              <a:gd name="connsiteX6547" fmla="*/ 5010605 w 7402822"/>
              <a:gd name="connsiteY6547" fmla="*/ 1120214 h 4749526"/>
              <a:gd name="connsiteX6548" fmla="*/ 5013641 w 7402822"/>
              <a:gd name="connsiteY6548" fmla="*/ 1123249 h 4749526"/>
              <a:gd name="connsiteX6549" fmla="*/ 5004533 w 7402822"/>
              <a:gd name="connsiteY6549" fmla="*/ 1135393 h 4749526"/>
              <a:gd name="connsiteX6550" fmla="*/ 4995426 w 7402822"/>
              <a:gd name="connsiteY6550" fmla="*/ 1123249 h 4749526"/>
              <a:gd name="connsiteX6551" fmla="*/ 1469332 w 7402822"/>
              <a:gd name="connsiteY6551" fmla="*/ 1114143 h 4749526"/>
              <a:gd name="connsiteX6552" fmla="*/ 1472368 w 7402822"/>
              <a:gd name="connsiteY6552" fmla="*/ 1129322 h 4749526"/>
              <a:gd name="connsiteX6553" fmla="*/ 1463260 w 7402822"/>
              <a:gd name="connsiteY6553" fmla="*/ 1129322 h 4749526"/>
              <a:gd name="connsiteX6554" fmla="*/ 1101999 w 7402822"/>
              <a:gd name="connsiteY6554" fmla="*/ 1098964 h 4749526"/>
              <a:gd name="connsiteX6555" fmla="*/ 1114142 w 7402822"/>
              <a:gd name="connsiteY6555" fmla="*/ 1117178 h 4749526"/>
              <a:gd name="connsiteX6556" fmla="*/ 1132357 w 7402822"/>
              <a:gd name="connsiteY6556" fmla="*/ 1126287 h 4749526"/>
              <a:gd name="connsiteX6557" fmla="*/ 1138429 w 7402822"/>
              <a:gd name="connsiteY6557" fmla="*/ 1126287 h 4749526"/>
              <a:gd name="connsiteX6558" fmla="*/ 1147536 w 7402822"/>
              <a:gd name="connsiteY6558" fmla="*/ 1129322 h 4749526"/>
              <a:gd name="connsiteX6559" fmla="*/ 1162716 w 7402822"/>
              <a:gd name="connsiteY6559" fmla="*/ 1138429 h 4749526"/>
              <a:gd name="connsiteX6560" fmla="*/ 1168787 w 7402822"/>
              <a:gd name="connsiteY6560" fmla="*/ 1144501 h 4749526"/>
              <a:gd name="connsiteX6561" fmla="*/ 1171823 w 7402822"/>
              <a:gd name="connsiteY6561" fmla="*/ 1165752 h 4749526"/>
              <a:gd name="connsiteX6562" fmla="*/ 1177894 w 7402822"/>
              <a:gd name="connsiteY6562" fmla="*/ 1162716 h 4749526"/>
              <a:gd name="connsiteX6563" fmla="*/ 1187002 w 7402822"/>
              <a:gd name="connsiteY6563" fmla="*/ 1156645 h 4749526"/>
              <a:gd name="connsiteX6564" fmla="*/ 1193073 w 7402822"/>
              <a:gd name="connsiteY6564" fmla="*/ 1159680 h 4749526"/>
              <a:gd name="connsiteX6565" fmla="*/ 1199145 w 7402822"/>
              <a:gd name="connsiteY6565" fmla="*/ 1165752 h 4749526"/>
              <a:gd name="connsiteX6566" fmla="*/ 1199145 w 7402822"/>
              <a:gd name="connsiteY6566" fmla="*/ 1162716 h 4749526"/>
              <a:gd name="connsiteX6567" fmla="*/ 1196109 w 7402822"/>
              <a:gd name="connsiteY6567" fmla="*/ 1144501 h 4749526"/>
              <a:gd name="connsiteX6568" fmla="*/ 1183965 w 7402822"/>
              <a:gd name="connsiteY6568" fmla="*/ 1135394 h 4749526"/>
              <a:gd name="connsiteX6569" fmla="*/ 1180930 w 7402822"/>
              <a:gd name="connsiteY6569" fmla="*/ 1126287 h 4749526"/>
              <a:gd name="connsiteX6570" fmla="*/ 1183965 w 7402822"/>
              <a:gd name="connsiteY6570" fmla="*/ 1126287 h 4749526"/>
              <a:gd name="connsiteX6571" fmla="*/ 1196109 w 7402822"/>
              <a:gd name="connsiteY6571" fmla="*/ 1129322 h 4749526"/>
              <a:gd name="connsiteX6572" fmla="*/ 1223431 w 7402822"/>
              <a:gd name="connsiteY6572" fmla="*/ 1159680 h 4749526"/>
              <a:gd name="connsiteX6573" fmla="*/ 1229503 w 7402822"/>
              <a:gd name="connsiteY6573" fmla="*/ 1187002 h 4749526"/>
              <a:gd name="connsiteX6574" fmla="*/ 1232538 w 7402822"/>
              <a:gd name="connsiteY6574" fmla="*/ 1208253 h 4749526"/>
              <a:gd name="connsiteX6575" fmla="*/ 1235575 w 7402822"/>
              <a:gd name="connsiteY6575" fmla="*/ 1217360 h 4749526"/>
              <a:gd name="connsiteX6576" fmla="*/ 1241646 w 7402822"/>
              <a:gd name="connsiteY6576" fmla="*/ 1220396 h 4749526"/>
              <a:gd name="connsiteX6577" fmla="*/ 1244682 w 7402822"/>
              <a:gd name="connsiteY6577" fmla="*/ 1211289 h 4749526"/>
              <a:gd name="connsiteX6578" fmla="*/ 1244682 w 7402822"/>
              <a:gd name="connsiteY6578" fmla="*/ 1193074 h 4749526"/>
              <a:gd name="connsiteX6579" fmla="*/ 1241646 w 7402822"/>
              <a:gd name="connsiteY6579" fmla="*/ 1168787 h 4749526"/>
              <a:gd name="connsiteX6580" fmla="*/ 1232538 w 7402822"/>
              <a:gd name="connsiteY6580" fmla="*/ 1132357 h 4749526"/>
              <a:gd name="connsiteX6581" fmla="*/ 1235575 w 7402822"/>
              <a:gd name="connsiteY6581" fmla="*/ 1105036 h 4749526"/>
              <a:gd name="connsiteX6582" fmla="*/ 1244682 w 7402822"/>
              <a:gd name="connsiteY6582" fmla="*/ 1101999 h 4749526"/>
              <a:gd name="connsiteX6583" fmla="*/ 1259861 w 7402822"/>
              <a:gd name="connsiteY6583" fmla="*/ 1105036 h 4749526"/>
              <a:gd name="connsiteX6584" fmla="*/ 1265933 w 7402822"/>
              <a:gd name="connsiteY6584" fmla="*/ 1108071 h 4749526"/>
              <a:gd name="connsiteX6585" fmla="*/ 1281112 w 7402822"/>
              <a:gd name="connsiteY6585" fmla="*/ 1123250 h 4749526"/>
              <a:gd name="connsiteX6586" fmla="*/ 1287184 w 7402822"/>
              <a:gd name="connsiteY6586" fmla="*/ 1135394 h 4749526"/>
              <a:gd name="connsiteX6587" fmla="*/ 1293255 w 7402822"/>
              <a:gd name="connsiteY6587" fmla="*/ 1159680 h 4749526"/>
              <a:gd name="connsiteX6588" fmla="*/ 1302362 w 7402822"/>
              <a:gd name="connsiteY6588" fmla="*/ 1187002 h 4749526"/>
              <a:gd name="connsiteX6589" fmla="*/ 1308434 w 7402822"/>
              <a:gd name="connsiteY6589" fmla="*/ 1208253 h 4749526"/>
              <a:gd name="connsiteX6590" fmla="*/ 1314505 w 7402822"/>
              <a:gd name="connsiteY6590" fmla="*/ 1232539 h 4749526"/>
              <a:gd name="connsiteX6591" fmla="*/ 1308434 w 7402822"/>
              <a:gd name="connsiteY6591" fmla="*/ 1250755 h 4749526"/>
              <a:gd name="connsiteX6592" fmla="*/ 1317542 w 7402822"/>
              <a:gd name="connsiteY6592" fmla="*/ 1268969 h 4749526"/>
              <a:gd name="connsiteX6593" fmla="*/ 1329685 w 7402822"/>
              <a:gd name="connsiteY6593" fmla="*/ 1284148 h 4749526"/>
              <a:gd name="connsiteX6594" fmla="*/ 1335756 w 7402822"/>
              <a:gd name="connsiteY6594" fmla="*/ 1287184 h 4749526"/>
              <a:gd name="connsiteX6595" fmla="*/ 1341828 w 7402822"/>
              <a:gd name="connsiteY6595" fmla="*/ 1287184 h 4749526"/>
              <a:gd name="connsiteX6596" fmla="*/ 1353971 w 7402822"/>
              <a:gd name="connsiteY6596" fmla="*/ 1296291 h 4749526"/>
              <a:gd name="connsiteX6597" fmla="*/ 1369151 w 7402822"/>
              <a:gd name="connsiteY6597" fmla="*/ 1308435 h 4749526"/>
              <a:gd name="connsiteX6598" fmla="*/ 1381294 w 7402822"/>
              <a:gd name="connsiteY6598" fmla="*/ 1308435 h 4749526"/>
              <a:gd name="connsiteX6599" fmla="*/ 1384329 w 7402822"/>
              <a:gd name="connsiteY6599" fmla="*/ 1332721 h 4749526"/>
              <a:gd name="connsiteX6600" fmla="*/ 1375222 w 7402822"/>
              <a:gd name="connsiteY6600" fmla="*/ 1341828 h 4749526"/>
              <a:gd name="connsiteX6601" fmla="*/ 1366115 w 7402822"/>
              <a:gd name="connsiteY6601" fmla="*/ 1338793 h 4749526"/>
              <a:gd name="connsiteX6602" fmla="*/ 1353971 w 7402822"/>
              <a:gd name="connsiteY6602" fmla="*/ 1338793 h 4749526"/>
              <a:gd name="connsiteX6603" fmla="*/ 1344864 w 7402822"/>
              <a:gd name="connsiteY6603" fmla="*/ 1344865 h 4749526"/>
              <a:gd name="connsiteX6604" fmla="*/ 1341828 w 7402822"/>
              <a:gd name="connsiteY6604" fmla="*/ 1347900 h 4749526"/>
              <a:gd name="connsiteX6605" fmla="*/ 1341828 w 7402822"/>
              <a:gd name="connsiteY6605" fmla="*/ 1360044 h 4749526"/>
              <a:gd name="connsiteX6606" fmla="*/ 1353971 w 7402822"/>
              <a:gd name="connsiteY6606" fmla="*/ 1350936 h 4749526"/>
              <a:gd name="connsiteX6607" fmla="*/ 1363079 w 7402822"/>
              <a:gd name="connsiteY6607" fmla="*/ 1357007 h 4749526"/>
              <a:gd name="connsiteX6608" fmla="*/ 1363079 w 7402822"/>
              <a:gd name="connsiteY6608" fmla="*/ 1381294 h 4749526"/>
              <a:gd name="connsiteX6609" fmla="*/ 1350936 w 7402822"/>
              <a:gd name="connsiteY6609" fmla="*/ 1387366 h 4749526"/>
              <a:gd name="connsiteX6610" fmla="*/ 1326649 w 7402822"/>
              <a:gd name="connsiteY6610" fmla="*/ 1390402 h 4749526"/>
              <a:gd name="connsiteX6611" fmla="*/ 1296291 w 7402822"/>
              <a:gd name="connsiteY6611" fmla="*/ 1387366 h 4749526"/>
              <a:gd name="connsiteX6612" fmla="*/ 1287184 w 7402822"/>
              <a:gd name="connsiteY6612" fmla="*/ 1372186 h 4749526"/>
              <a:gd name="connsiteX6613" fmla="*/ 1284147 w 7402822"/>
              <a:gd name="connsiteY6613" fmla="*/ 1369151 h 4749526"/>
              <a:gd name="connsiteX6614" fmla="*/ 1275040 w 7402822"/>
              <a:gd name="connsiteY6614" fmla="*/ 1366115 h 4749526"/>
              <a:gd name="connsiteX6615" fmla="*/ 1272005 w 7402822"/>
              <a:gd name="connsiteY6615" fmla="*/ 1360044 h 4749526"/>
              <a:gd name="connsiteX6616" fmla="*/ 1268968 w 7402822"/>
              <a:gd name="connsiteY6616" fmla="*/ 1350936 h 4749526"/>
              <a:gd name="connsiteX6617" fmla="*/ 1259861 w 7402822"/>
              <a:gd name="connsiteY6617" fmla="*/ 1363079 h 4749526"/>
              <a:gd name="connsiteX6618" fmla="*/ 1244682 w 7402822"/>
              <a:gd name="connsiteY6618" fmla="*/ 1381294 h 4749526"/>
              <a:gd name="connsiteX6619" fmla="*/ 1232538 w 7402822"/>
              <a:gd name="connsiteY6619" fmla="*/ 1384330 h 4749526"/>
              <a:gd name="connsiteX6620" fmla="*/ 1226467 w 7402822"/>
              <a:gd name="connsiteY6620" fmla="*/ 1384330 h 4749526"/>
              <a:gd name="connsiteX6621" fmla="*/ 1220396 w 7402822"/>
              <a:gd name="connsiteY6621" fmla="*/ 1393437 h 4749526"/>
              <a:gd name="connsiteX6622" fmla="*/ 1208252 w 7402822"/>
              <a:gd name="connsiteY6622" fmla="*/ 1399509 h 4749526"/>
              <a:gd name="connsiteX6623" fmla="*/ 1183965 w 7402822"/>
              <a:gd name="connsiteY6623" fmla="*/ 1402545 h 4749526"/>
              <a:gd name="connsiteX6624" fmla="*/ 1153608 w 7402822"/>
              <a:gd name="connsiteY6624" fmla="*/ 1408616 h 4749526"/>
              <a:gd name="connsiteX6625" fmla="*/ 1129321 w 7402822"/>
              <a:gd name="connsiteY6625" fmla="*/ 1411652 h 4749526"/>
              <a:gd name="connsiteX6626" fmla="*/ 1120214 w 7402822"/>
              <a:gd name="connsiteY6626" fmla="*/ 1390402 h 4749526"/>
              <a:gd name="connsiteX6627" fmla="*/ 1120214 w 7402822"/>
              <a:gd name="connsiteY6627" fmla="*/ 1378258 h 4749526"/>
              <a:gd name="connsiteX6628" fmla="*/ 1117178 w 7402822"/>
              <a:gd name="connsiteY6628" fmla="*/ 1366115 h 4749526"/>
              <a:gd name="connsiteX6629" fmla="*/ 1105035 w 7402822"/>
              <a:gd name="connsiteY6629" fmla="*/ 1363079 h 4749526"/>
              <a:gd name="connsiteX6630" fmla="*/ 1095927 w 7402822"/>
              <a:gd name="connsiteY6630" fmla="*/ 1366115 h 4749526"/>
              <a:gd name="connsiteX6631" fmla="*/ 1071641 w 7402822"/>
              <a:gd name="connsiteY6631" fmla="*/ 1363079 h 4749526"/>
              <a:gd name="connsiteX6632" fmla="*/ 1056462 w 7402822"/>
              <a:gd name="connsiteY6632" fmla="*/ 1350936 h 4749526"/>
              <a:gd name="connsiteX6633" fmla="*/ 1044319 w 7402822"/>
              <a:gd name="connsiteY6633" fmla="*/ 1332721 h 4749526"/>
              <a:gd name="connsiteX6634" fmla="*/ 1041283 w 7402822"/>
              <a:gd name="connsiteY6634" fmla="*/ 1320578 h 4749526"/>
              <a:gd name="connsiteX6635" fmla="*/ 1047355 w 7402822"/>
              <a:gd name="connsiteY6635" fmla="*/ 1317542 h 4749526"/>
              <a:gd name="connsiteX6636" fmla="*/ 1059497 w 7402822"/>
              <a:gd name="connsiteY6636" fmla="*/ 1311470 h 4749526"/>
              <a:gd name="connsiteX6637" fmla="*/ 1083784 w 7402822"/>
              <a:gd name="connsiteY6637" fmla="*/ 1305399 h 4749526"/>
              <a:gd name="connsiteX6638" fmla="*/ 1138429 w 7402822"/>
              <a:gd name="connsiteY6638" fmla="*/ 1308435 h 4749526"/>
              <a:gd name="connsiteX6639" fmla="*/ 1153608 w 7402822"/>
              <a:gd name="connsiteY6639" fmla="*/ 1308435 h 4749526"/>
              <a:gd name="connsiteX6640" fmla="*/ 1165751 w 7402822"/>
              <a:gd name="connsiteY6640" fmla="*/ 1302363 h 4749526"/>
              <a:gd name="connsiteX6641" fmla="*/ 1153608 w 7402822"/>
              <a:gd name="connsiteY6641" fmla="*/ 1296291 h 4749526"/>
              <a:gd name="connsiteX6642" fmla="*/ 1144500 w 7402822"/>
              <a:gd name="connsiteY6642" fmla="*/ 1290220 h 4749526"/>
              <a:gd name="connsiteX6643" fmla="*/ 1114142 w 7402822"/>
              <a:gd name="connsiteY6643" fmla="*/ 1278076 h 4749526"/>
              <a:gd name="connsiteX6644" fmla="*/ 1101999 w 7402822"/>
              <a:gd name="connsiteY6644" fmla="*/ 1284148 h 4749526"/>
              <a:gd name="connsiteX6645" fmla="*/ 1089856 w 7402822"/>
              <a:gd name="connsiteY6645" fmla="*/ 1284148 h 4749526"/>
              <a:gd name="connsiteX6646" fmla="*/ 1059497 w 7402822"/>
              <a:gd name="connsiteY6646" fmla="*/ 1284148 h 4749526"/>
              <a:gd name="connsiteX6647" fmla="*/ 1047355 w 7402822"/>
              <a:gd name="connsiteY6647" fmla="*/ 1284148 h 4749526"/>
              <a:gd name="connsiteX6648" fmla="*/ 1041283 w 7402822"/>
              <a:gd name="connsiteY6648" fmla="*/ 1284148 h 4749526"/>
              <a:gd name="connsiteX6649" fmla="*/ 1032176 w 7402822"/>
              <a:gd name="connsiteY6649" fmla="*/ 1275041 h 4749526"/>
              <a:gd name="connsiteX6650" fmla="*/ 1023068 w 7402822"/>
              <a:gd name="connsiteY6650" fmla="*/ 1262897 h 4749526"/>
              <a:gd name="connsiteX6651" fmla="*/ 1013960 w 7402822"/>
              <a:gd name="connsiteY6651" fmla="*/ 1223432 h 4749526"/>
              <a:gd name="connsiteX6652" fmla="*/ 1007889 w 7402822"/>
              <a:gd name="connsiteY6652" fmla="*/ 1208253 h 4749526"/>
              <a:gd name="connsiteX6653" fmla="*/ 1010925 w 7402822"/>
              <a:gd name="connsiteY6653" fmla="*/ 1196110 h 4749526"/>
              <a:gd name="connsiteX6654" fmla="*/ 1016997 w 7402822"/>
              <a:gd name="connsiteY6654" fmla="*/ 1174859 h 4749526"/>
              <a:gd name="connsiteX6655" fmla="*/ 1023068 w 7402822"/>
              <a:gd name="connsiteY6655" fmla="*/ 1156645 h 4749526"/>
              <a:gd name="connsiteX6656" fmla="*/ 1038248 w 7402822"/>
              <a:gd name="connsiteY6656" fmla="*/ 1141466 h 4749526"/>
              <a:gd name="connsiteX6657" fmla="*/ 1092892 w 7402822"/>
              <a:gd name="connsiteY6657" fmla="*/ 1101999 h 4749526"/>
              <a:gd name="connsiteX6658" fmla="*/ 4597735 w 7402822"/>
              <a:gd name="connsiteY6658" fmla="*/ 1098963 h 4749526"/>
              <a:gd name="connsiteX6659" fmla="*/ 4606843 w 7402822"/>
              <a:gd name="connsiteY6659" fmla="*/ 1105035 h 4749526"/>
              <a:gd name="connsiteX6660" fmla="*/ 4625057 w 7402822"/>
              <a:gd name="connsiteY6660" fmla="*/ 1111106 h 4749526"/>
              <a:gd name="connsiteX6661" fmla="*/ 4631129 w 7402822"/>
              <a:gd name="connsiteY6661" fmla="*/ 1123250 h 4749526"/>
              <a:gd name="connsiteX6662" fmla="*/ 4622022 w 7402822"/>
              <a:gd name="connsiteY6662" fmla="*/ 1132357 h 4749526"/>
              <a:gd name="connsiteX6663" fmla="*/ 4618985 w 7402822"/>
              <a:gd name="connsiteY6663" fmla="*/ 1144500 h 4749526"/>
              <a:gd name="connsiteX6664" fmla="*/ 4612914 w 7402822"/>
              <a:gd name="connsiteY6664" fmla="*/ 1165751 h 4749526"/>
              <a:gd name="connsiteX6665" fmla="*/ 4609878 w 7402822"/>
              <a:gd name="connsiteY6665" fmla="*/ 1180930 h 4749526"/>
              <a:gd name="connsiteX6666" fmla="*/ 4606843 w 7402822"/>
              <a:gd name="connsiteY6666" fmla="*/ 1196109 h 4749526"/>
              <a:gd name="connsiteX6667" fmla="*/ 4615950 w 7402822"/>
              <a:gd name="connsiteY6667" fmla="*/ 1229503 h 4749526"/>
              <a:gd name="connsiteX6668" fmla="*/ 4628094 w 7402822"/>
              <a:gd name="connsiteY6668" fmla="*/ 1253789 h 4749526"/>
              <a:gd name="connsiteX6669" fmla="*/ 4640236 w 7402822"/>
              <a:gd name="connsiteY6669" fmla="*/ 1268968 h 4749526"/>
              <a:gd name="connsiteX6670" fmla="*/ 4655415 w 7402822"/>
              <a:gd name="connsiteY6670" fmla="*/ 1281112 h 4749526"/>
              <a:gd name="connsiteX6671" fmla="*/ 4646308 w 7402822"/>
              <a:gd name="connsiteY6671" fmla="*/ 1290219 h 4749526"/>
              <a:gd name="connsiteX6672" fmla="*/ 4637201 w 7402822"/>
              <a:gd name="connsiteY6672" fmla="*/ 1287184 h 4749526"/>
              <a:gd name="connsiteX6673" fmla="*/ 4628094 w 7402822"/>
              <a:gd name="connsiteY6673" fmla="*/ 1284147 h 4749526"/>
              <a:gd name="connsiteX6674" fmla="*/ 4622022 w 7402822"/>
              <a:gd name="connsiteY6674" fmla="*/ 1287184 h 4749526"/>
              <a:gd name="connsiteX6675" fmla="*/ 4612914 w 7402822"/>
              <a:gd name="connsiteY6675" fmla="*/ 1287184 h 4749526"/>
              <a:gd name="connsiteX6676" fmla="*/ 4606843 w 7402822"/>
              <a:gd name="connsiteY6676" fmla="*/ 1287184 h 4749526"/>
              <a:gd name="connsiteX6677" fmla="*/ 4606843 w 7402822"/>
              <a:gd name="connsiteY6677" fmla="*/ 1290219 h 4749526"/>
              <a:gd name="connsiteX6678" fmla="*/ 4603806 w 7402822"/>
              <a:gd name="connsiteY6678" fmla="*/ 1290219 h 4749526"/>
              <a:gd name="connsiteX6679" fmla="*/ 4600771 w 7402822"/>
              <a:gd name="connsiteY6679" fmla="*/ 1290219 h 4749526"/>
              <a:gd name="connsiteX6680" fmla="*/ 4591664 w 7402822"/>
              <a:gd name="connsiteY6680" fmla="*/ 1275040 h 4749526"/>
              <a:gd name="connsiteX6681" fmla="*/ 4579520 w 7402822"/>
              <a:gd name="connsiteY6681" fmla="*/ 1278075 h 4749526"/>
              <a:gd name="connsiteX6682" fmla="*/ 4567377 w 7402822"/>
              <a:gd name="connsiteY6682" fmla="*/ 1272005 h 4749526"/>
              <a:gd name="connsiteX6683" fmla="*/ 4573449 w 7402822"/>
              <a:gd name="connsiteY6683" fmla="*/ 1268968 h 4749526"/>
              <a:gd name="connsiteX6684" fmla="*/ 4570413 w 7402822"/>
              <a:gd name="connsiteY6684" fmla="*/ 1256826 h 4749526"/>
              <a:gd name="connsiteX6685" fmla="*/ 4558270 w 7402822"/>
              <a:gd name="connsiteY6685" fmla="*/ 1241646 h 4749526"/>
              <a:gd name="connsiteX6686" fmla="*/ 4555234 w 7402822"/>
              <a:gd name="connsiteY6686" fmla="*/ 1235575 h 4749526"/>
              <a:gd name="connsiteX6687" fmla="*/ 4552198 w 7402822"/>
              <a:gd name="connsiteY6687" fmla="*/ 1232539 h 4749526"/>
              <a:gd name="connsiteX6688" fmla="*/ 4549162 w 7402822"/>
              <a:gd name="connsiteY6688" fmla="*/ 1226467 h 4749526"/>
              <a:gd name="connsiteX6689" fmla="*/ 4540054 w 7402822"/>
              <a:gd name="connsiteY6689" fmla="*/ 1232539 h 4749526"/>
              <a:gd name="connsiteX6690" fmla="*/ 4530947 w 7402822"/>
              <a:gd name="connsiteY6690" fmla="*/ 1229503 h 4749526"/>
              <a:gd name="connsiteX6691" fmla="*/ 4524875 w 7402822"/>
              <a:gd name="connsiteY6691" fmla="*/ 1211288 h 4749526"/>
              <a:gd name="connsiteX6692" fmla="*/ 4537019 w 7402822"/>
              <a:gd name="connsiteY6692" fmla="*/ 1187002 h 4749526"/>
              <a:gd name="connsiteX6693" fmla="*/ 4543091 w 7402822"/>
              <a:gd name="connsiteY6693" fmla="*/ 1190037 h 4749526"/>
              <a:gd name="connsiteX6694" fmla="*/ 4546126 w 7402822"/>
              <a:gd name="connsiteY6694" fmla="*/ 1190037 h 4749526"/>
              <a:gd name="connsiteX6695" fmla="*/ 4549162 w 7402822"/>
              <a:gd name="connsiteY6695" fmla="*/ 1177895 h 4749526"/>
              <a:gd name="connsiteX6696" fmla="*/ 4552198 w 7402822"/>
              <a:gd name="connsiteY6696" fmla="*/ 1165751 h 4749526"/>
              <a:gd name="connsiteX6697" fmla="*/ 4546126 w 7402822"/>
              <a:gd name="connsiteY6697" fmla="*/ 1153607 h 4749526"/>
              <a:gd name="connsiteX6698" fmla="*/ 4546126 w 7402822"/>
              <a:gd name="connsiteY6698" fmla="*/ 1144500 h 4749526"/>
              <a:gd name="connsiteX6699" fmla="*/ 4555234 w 7402822"/>
              <a:gd name="connsiteY6699" fmla="*/ 1138428 h 4749526"/>
              <a:gd name="connsiteX6700" fmla="*/ 4561305 w 7402822"/>
              <a:gd name="connsiteY6700" fmla="*/ 1132357 h 4749526"/>
              <a:gd name="connsiteX6701" fmla="*/ 4561305 w 7402822"/>
              <a:gd name="connsiteY6701" fmla="*/ 1120214 h 4749526"/>
              <a:gd name="connsiteX6702" fmla="*/ 4570413 w 7402822"/>
              <a:gd name="connsiteY6702" fmla="*/ 1111106 h 4749526"/>
              <a:gd name="connsiteX6703" fmla="*/ 2947772 w 7402822"/>
              <a:gd name="connsiteY6703" fmla="*/ 1095927 h 4749526"/>
              <a:gd name="connsiteX6704" fmla="*/ 2962951 w 7402822"/>
              <a:gd name="connsiteY6704" fmla="*/ 1095927 h 4749526"/>
              <a:gd name="connsiteX6705" fmla="*/ 2984202 w 7402822"/>
              <a:gd name="connsiteY6705" fmla="*/ 1108071 h 4749526"/>
              <a:gd name="connsiteX6706" fmla="*/ 2990274 w 7402822"/>
              <a:gd name="connsiteY6706" fmla="*/ 1111106 h 4749526"/>
              <a:gd name="connsiteX6707" fmla="*/ 2990274 w 7402822"/>
              <a:gd name="connsiteY6707" fmla="*/ 1120214 h 4749526"/>
              <a:gd name="connsiteX6708" fmla="*/ 2978130 w 7402822"/>
              <a:gd name="connsiteY6708" fmla="*/ 1123250 h 4749526"/>
              <a:gd name="connsiteX6709" fmla="*/ 2956880 w 7402822"/>
              <a:gd name="connsiteY6709" fmla="*/ 1120214 h 4749526"/>
              <a:gd name="connsiteX6710" fmla="*/ 2935629 w 7402822"/>
              <a:gd name="connsiteY6710" fmla="*/ 1114142 h 4749526"/>
              <a:gd name="connsiteX6711" fmla="*/ 2941701 w 7402822"/>
              <a:gd name="connsiteY6711" fmla="*/ 1101999 h 4749526"/>
              <a:gd name="connsiteX6712" fmla="*/ 4919531 w 7402822"/>
              <a:gd name="connsiteY6712" fmla="*/ 1089855 h 4749526"/>
              <a:gd name="connsiteX6713" fmla="*/ 4931674 w 7402822"/>
              <a:gd name="connsiteY6713" fmla="*/ 1089855 h 4749526"/>
              <a:gd name="connsiteX6714" fmla="*/ 4943817 w 7402822"/>
              <a:gd name="connsiteY6714" fmla="*/ 1105035 h 4749526"/>
              <a:gd name="connsiteX6715" fmla="*/ 4940782 w 7402822"/>
              <a:gd name="connsiteY6715" fmla="*/ 1114142 h 4749526"/>
              <a:gd name="connsiteX6716" fmla="*/ 4925603 w 7402822"/>
              <a:gd name="connsiteY6716" fmla="*/ 1120214 h 4749526"/>
              <a:gd name="connsiteX6717" fmla="*/ 4907387 w 7402822"/>
              <a:gd name="connsiteY6717" fmla="*/ 1123249 h 4749526"/>
              <a:gd name="connsiteX6718" fmla="*/ 4910423 w 7402822"/>
              <a:gd name="connsiteY6718" fmla="*/ 1095927 h 4749526"/>
              <a:gd name="connsiteX6719" fmla="*/ 6088317 w 7402822"/>
              <a:gd name="connsiteY6719" fmla="*/ 1077713 h 4749526"/>
              <a:gd name="connsiteX6720" fmla="*/ 6112603 w 7402822"/>
              <a:gd name="connsiteY6720" fmla="*/ 1089856 h 4749526"/>
              <a:gd name="connsiteX6721" fmla="*/ 6127782 w 7402822"/>
              <a:gd name="connsiteY6721" fmla="*/ 1105036 h 4749526"/>
              <a:gd name="connsiteX6722" fmla="*/ 6124747 w 7402822"/>
              <a:gd name="connsiteY6722" fmla="*/ 1117178 h 4749526"/>
              <a:gd name="connsiteX6723" fmla="*/ 6097424 w 7402822"/>
              <a:gd name="connsiteY6723" fmla="*/ 1135394 h 4749526"/>
              <a:gd name="connsiteX6724" fmla="*/ 6085281 w 7402822"/>
              <a:gd name="connsiteY6724" fmla="*/ 1144501 h 4749526"/>
              <a:gd name="connsiteX6725" fmla="*/ 6076174 w 7402822"/>
              <a:gd name="connsiteY6725" fmla="*/ 1156644 h 4749526"/>
              <a:gd name="connsiteX6726" fmla="*/ 6070102 w 7402822"/>
              <a:gd name="connsiteY6726" fmla="*/ 1150573 h 4749526"/>
              <a:gd name="connsiteX6727" fmla="*/ 6073137 w 7402822"/>
              <a:gd name="connsiteY6727" fmla="*/ 1114143 h 4749526"/>
              <a:gd name="connsiteX6728" fmla="*/ 6076174 w 7402822"/>
              <a:gd name="connsiteY6728" fmla="*/ 1092892 h 4749526"/>
              <a:gd name="connsiteX6729" fmla="*/ 6079209 w 7402822"/>
              <a:gd name="connsiteY6729" fmla="*/ 1083785 h 4749526"/>
              <a:gd name="connsiteX6730" fmla="*/ 1800234 w 7402822"/>
              <a:gd name="connsiteY6730" fmla="*/ 1071642 h 4749526"/>
              <a:gd name="connsiteX6731" fmla="*/ 1824522 w 7402822"/>
              <a:gd name="connsiteY6731" fmla="*/ 1080749 h 4749526"/>
              <a:gd name="connsiteX6732" fmla="*/ 1845772 w 7402822"/>
              <a:gd name="connsiteY6732" fmla="*/ 1077713 h 4749526"/>
              <a:gd name="connsiteX6733" fmla="*/ 1873095 w 7402822"/>
              <a:gd name="connsiteY6733" fmla="*/ 1089856 h 4749526"/>
              <a:gd name="connsiteX6734" fmla="*/ 1894345 w 7402822"/>
              <a:gd name="connsiteY6734" fmla="*/ 1129322 h 4749526"/>
              <a:gd name="connsiteX6735" fmla="*/ 1888274 w 7402822"/>
              <a:gd name="connsiteY6735" fmla="*/ 1138429 h 4749526"/>
              <a:gd name="connsiteX6736" fmla="*/ 1876130 w 7402822"/>
              <a:gd name="connsiteY6736" fmla="*/ 1138429 h 4749526"/>
              <a:gd name="connsiteX6737" fmla="*/ 1863987 w 7402822"/>
              <a:gd name="connsiteY6737" fmla="*/ 1132357 h 4749526"/>
              <a:gd name="connsiteX6738" fmla="*/ 1851844 w 7402822"/>
              <a:gd name="connsiteY6738" fmla="*/ 1132357 h 4749526"/>
              <a:gd name="connsiteX6739" fmla="*/ 1827557 w 7402822"/>
              <a:gd name="connsiteY6739" fmla="*/ 1144501 h 4749526"/>
              <a:gd name="connsiteX6740" fmla="*/ 1806306 w 7402822"/>
              <a:gd name="connsiteY6740" fmla="*/ 1117178 h 4749526"/>
              <a:gd name="connsiteX6741" fmla="*/ 1797199 w 7402822"/>
              <a:gd name="connsiteY6741" fmla="*/ 1101999 h 4749526"/>
              <a:gd name="connsiteX6742" fmla="*/ 1797199 w 7402822"/>
              <a:gd name="connsiteY6742" fmla="*/ 1083785 h 4749526"/>
              <a:gd name="connsiteX6743" fmla="*/ 1287184 w 7402822"/>
              <a:gd name="connsiteY6743" fmla="*/ 1071642 h 4749526"/>
              <a:gd name="connsiteX6744" fmla="*/ 1299326 w 7402822"/>
              <a:gd name="connsiteY6744" fmla="*/ 1074677 h 4749526"/>
              <a:gd name="connsiteX6745" fmla="*/ 1311470 w 7402822"/>
              <a:gd name="connsiteY6745" fmla="*/ 1086820 h 4749526"/>
              <a:gd name="connsiteX6746" fmla="*/ 1296291 w 7402822"/>
              <a:gd name="connsiteY6746" fmla="*/ 1129322 h 4749526"/>
              <a:gd name="connsiteX6747" fmla="*/ 1287184 w 7402822"/>
              <a:gd name="connsiteY6747" fmla="*/ 1126287 h 4749526"/>
              <a:gd name="connsiteX6748" fmla="*/ 1268968 w 7402822"/>
              <a:gd name="connsiteY6748" fmla="*/ 1098964 h 4749526"/>
              <a:gd name="connsiteX6749" fmla="*/ 1256826 w 7402822"/>
              <a:gd name="connsiteY6749" fmla="*/ 1092892 h 4749526"/>
              <a:gd name="connsiteX6750" fmla="*/ 1268968 w 7402822"/>
              <a:gd name="connsiteY6750" fmla="*/ 1074677 h 4749526"/>
              <a:gd name="connsiteX6751" fmla="*/ 1700054 w 7402822"/>
              <a:gd name="connsiteY6751" fmla="*/ 1065570 h 4749526"/>
              <a:gd name="connsiteX6752" fmla="*/ 1715233 w 7402822"/>
              <a:gd name="connsiteY6752" fmla="*/ 1071642 h 4749526"/>
              <a:gd name="connsiteX6753" fmla="*/ 1706124 w 7402822"/>
              <a:gd name="connsiteY6753" fmla="*/ 1086820 h 4749526"/>
              <a:gd name="connsiteX6754" fmla="*/ 1693982 w 7402822"/>
              <a:gd name="connsiteY6754" fmla="*/ 1098964 h 4749526"/>
              <a:gd name="connsiteX6755" fmla="*/ 1681839 w 7402822"/>
              <a:gd name="connsiteY6755" fmla="*/ 1126287 h 4749526"/>
              <a:gd name="connsiteX6756" fmla="*/ 1675767 w 7402822"/>
              <a:gd name="connsiteY6756" fmla="*/ 1150573 h 4749526"/>
              <a:gd name="connsiteX6757" fmla="*/ 1681839 w 7402822"/>
              <a:gd name="connsiteY6757" fmla="*/ 1177895 h 4749526"/>
              <a:gd name="connsiteX6758" fmla="*/ 1681839 w 7402822"/>
              <a:gd name="connsiteY6758" fmla="*/ 1193074 h 4749526"/>
              <a:gd name="connsiteX6759" fmla="*/ 1693982 w 7402822"/>
              <a:gd name="connsiteY6759" fmla="*/ 1214325 h 4749526"/>
              <a:gd name="connsiteX6760" fmla="*/ 1706124 w 7402822"/>
              <a:gd name="connsiteY6760" fmla="*/ 1229504 h 4749526"/>
              <a:gd name="connsiteX6761" fmla="*/ 1709161 w 7402822"/>
              <a:gd name="connsiteY6761" fmla="*/ 1232539 h 4749526"/>
              <a:gd name="connsiteX6762" fmla="*/ 1706124 w 7402822"/>
              <a:gd name="connsiteY6762" fmla="*/ 1244683 h 4749526"/>
              <a:gd name="connsiteX6763" fmla="*/ 1712196 w 7402822"/>
              <a:gd name="connsiteY6763" fmla="*/ 1247718 h 4749526"/>
              <a:gd name="connsiteX6764" fmla="*/ 1721304 w 7402822"/>
              <a:gd name="connsiteY6764" fmla="*/ 1232539 h 4749526"/>
              <a:gd name="connsiteX6765" fmla="*/ 1721304 w 7402822"/>
              <a:gd name="connsiteY6765" fmla="*/ 1223432 h 4749526"/>
              <a:gd name="connsiteX6766" fmla="*/ 1718268 w 7402822"/>
              <a:gd name="connsiteY6766" fmla="*/ 1217360 h 4749526"/>
              <a:gd name="connsiteX6767" fmla="*/ 1712196 w 7402822"/>
              <a:gd name="connsiteY6767" fmla="*/ 1217360 h 4749526"/>
              <a:gd name="connsiteX6768" fmla="*/ 1706124 w 7402822"/>
              <a:gd name="connsiteY6768" fmla="*/ 1214325 h 4749526"/>
              <a:gd name="connsiteX6769" fmla="*/ 1703089 w 7402822"/>
              <a:gd name="connsiteY6769" fmla="*/ 1190038 h 4749526"/>
              <a:gd name="connsiteX6770" fmla="*/ 1703089 w 7402822"/>
              <a:gd name="connsiteY6770" fmla="*/ 1177895 h 4749526"/>
              <a:gd name="connsiteX6771" fmla="*/ 1712196 w 7402822"/>
              <a:gd name="connsiteY6771" fmla="*/ 1177895 h 4749526"/>
              <a:gd name="connsiteX6772" fmla="*/ 1706124 w 7402822"/>
              <a:gd name="connsiteY6772" fmla="*/ 1168787 h 4749526"/>
              <a:gd name="connsiteX6773" fmla="*/ 1700054 w 7402822"/>
              <a:gd name="connsiteY6773" fmla="*/ 1162716 h 4749526"/>
              <a:gd name="connsiteX6774" fmla="*/ 1700054 w 7402822"/>
              <a:gd name="connsiteY6774" fmla="*/ 1132357 h 4749526"/>
              <a:gd name="connsiteX6775" fmla="*/ 1703089 w 7402822"/>
              <a:gd name="connsiteY6775" fmla="*/ 1129322 h 4749526"/>
              <a:gd name="connsiteX6776" fmla="*/ 1706124 w 7402822"/>
              <a:gd name="connsiteY6776" fmla="*/ 1123250 h 4749526"/>
              <a:gd name="connsiteX6777" fmla="*/ 1712196 w 7402822"/>
              <a:gd name="connsiteY6777" fmla="*/ 1098964 h 4749526"/>
              <a:gd name="connsiteX6778" fmla="*/ 1742555 w 7402822"/>
              <a:gd name="connsiteY6778" fmla="*/ 1083785 h 4749526"/>
              <a:gd name="connsiteX6779" fmla="*/ 1754698 w 7402822"/>
              <a:gd name="connsiteY6779" fmla="*/ 1074677 h 4749526"/>
              <a:gd name="connsiteX6780" fmla="*/ 1766841 w 7402822"/>
              <a:gd name="connsiteY6780" fmla="*/ 1074677 h 4749526"/>
              <a:gd name="connsiteX6781" fmla="*/ 1782020 w 7402822"/>
              <a:gd name="connsiteY6781" fmla="*/ 1074677 h 4749526"/>
              <a:gd name="connsiteX6782" fmla="*/ 1788092 w 7402822"/>
              <a:gd name="connsiteY6782" fmla="*/ 1086820 h 4749526"/>
              <a:gd name="connsiteX6783" fmla="*/ 1791127 w 7402822"/>
              <a:gd name="connsiteY6783" fmla="*/ 1098964 h 4749526"/>
              <a:gd name="connsiteX6784" fmla="*/ 1794164 w 7402822"/>
              <a:gd name="connsiteY6784" fmla="*/ 1105036 h 4749526"/>
              <a:gd name="connsiteX6785" fmla="*/ 1800234 w 7402822"/>
              <a:gd name="connsiteY6785" fmla="*/ 1117178 h 4749526"/>
              <a:gd name="connsiteX6786" fmla="*/ 1806306 w 7402822"/>
              <a:gd name="connsiteY6786" fmla="*/ 1141466 h 4749526"/>
              <a:gd name="connsiteX6787" fmla="*/ 1806306 w 7402822"/>
              <a:gd name="connsiteY6787" fmla="*/ 1162716 h 4749526"/>
              <a:gd name="connsiteX6788" fmla="*/ 1803271 w 7402822"/>
              <a:gd name="connsiteY6788" fmla="*/ 1190038 h 4749526"/>
              <a:gd name="connsiteX6789" fmla="*/ 1809343 w 7402822"/>
              <a:gd name="connsiteY6789" fmla="*/ 1190038 h 4749526"/>
              <a:gd name="connsiteX6790" fmla="*/ 1815414 w 7402822"/>
              <a:gd name="connsiteY6790" fmla="*/ 1180931 h 4749526"/>
              <a:gd name="connsiteX6791" fmla="*/ 1812378 w 7402822"/>
              <a:gd name="connsiteY6791" fmla="*/ 1171823 h 4749526"/>
              <a:gd name="connsiteX6792" fmla="*/ 1818450 w 7402822"/>
              <a:gd name="connsiteY6792" fmla="*/ 1162716 h 4749526"/>
              <a:gd name="connsiteX6793" fmla="*/ 1827557 w 7402822"/>
              <a:gd name="connsiteY6793" fmla="*/ 1168787 h 4749526"/>
              <a:gd name="connsiteX6794" fmla="*/ 1842736 w 7402822"/>
              <a:gd name="connsiteY6794" fmla="*/ 1168787 h 4749526"/>
              <a:gd name="connsiteX6795" fmla="*/ 1845772 w 7402822"/>
              <a:gd name="connsiteY6795" fmla="*/ 1159680 h 4749526"/>
              <a:gd name="connsiteX6796" fmla="*/ 1851844 w 7402822"/>
              <a:gd name="connsiteY6796" fmla="*/ 1150573 h 4749526"/>
              <a:gd name="connsiteX6797" fmla="*/ 1903453 w 7402822"/>
              <a:gd name="connsiteY6797" fmla="*/ 1156645 h 4749526"/>
              <a:gd name="connsiteX6798" fmla="*/ 1912560 w 7402822"/>
              <a:gd name="connsiteY6798" fmla="*/ 1159680 h 4749526"/>
              <a:gd name="connsiteX6799" fmla="*/ 1918632 w 7402822"/>
              <a:gd name="connsiteY6799" fmla="*/ 1171823 h 4749526"/>
              <a:gd name="connsiteX6800" fmla="*/ 1918632 w 7402822"/>
              <a:gd name="connsiteY6800" fmla="*/ 1187002 h 4749526"/>
              <a:gd name="connsiteX6801" fmla="*/ 1933811 w 7402822"/>
              <a:gd name="connsiteY6801" fmla="*/ 1190038 h 4749526"/>
              <a:gd name="connsiteX6802" fmla="*/ 1936846 w 7402822"/>
              <a:gd name="connsiteY6802" fmla="*/ 1196110 h 4749526"/>
              <a:gd name="connsiteX6803" fmla="*/ 1942918 w 7402822"/>
              <a:gd name="connsiteY6803" fmla="*/ 1211289 h 4749526"/>
              <a:gd name="connsiteX6804" fmla="*/ 1948990 w 7402822"/>
              <a:gd name="connsiteY6804" fmla="*/ 1229504 h 4749526"/>
              <a:gd name="connsiteX6805" fmla="*/ 1952025 w 7402822"/>
              <a:gd name="connsiteY6805" fmla="*/ 1238611 h 4749526"/>
              <a:gd name="connsiteX6806" fmla="*/ 1961133 w 7402822"/>
              <a:gd name="connsiteY6806" fmla="*/ 1238611 h 4749526"/>
              <a:gd name="connsiteX6807" fmla="*/ 1967205 w 7402822"/>
              <a:gd name="connsiteY6807" fmla="*/ 1223432 h 4749526"/>
              <a:gd name="connsiteX6808" fmla="*/ 1973276 w 7402822"/>
              <a:gd name="connsiteY6808" fmla="*/ 1220396 h 4749526"/>
              <a:gd name="connsiteX6809" fmla="*/ 1988455 w 7402822"/>
              <a:gd name="connsiteY6809" fmla="*/ 1226468 h 4749526"/>
              <a:gd name="connsiteX6810" fmla="*/ 1997563 w 7402822"/>
              <a:gd name="connsiteY6810" fmla="*/ 1241646 h 4749526"/>
              <a:gd name="connsiteX6811" fmla="*/ 2003635 w 7402822"/>
              <a:gd name="connsiteY6811" fmla="*/ 1253790 h 4749526"/>
              <a:gd name="connsiteX6812" fmla="*/ 2006670 w 7402822"/>
              <a:gd name="connsiteY6812" fmla="*/ 1253790 h 4749526"/>
              <a:gd name="connsiteX6813" fmla="*/ 2012742 w 7402822"/>
              <a:gd name="connsiteY6813" fmla="*/ 1272005 h 4749526"/>
              <a:gd name="connsiteX6814" fmla="*/ 2024884 w 7402822"/>
              <a:gd name="connsiteY6814" fmla="*/ 1265934 h 4749526"/>
              <a:gd name="connsiteX6815" fmla="*/ 2037028 w 7402822"/>
              <a:gd name="connsiteY6815" fmla="*/ 1275041 h 4749526"/>
              <a:gd name="connsiteX6816" fmla="*/ 2049171 w 7402822"/>
              <a:gd name="connsiteY6816" fmla="*/ 1284148 h 4749526"/>
              <a:gd name="connsiteX6817" fmla="*/ 2052207 w 7402822"/>
              <a:gd name="connsiteY6817" fmla="*/ 1296291 h 4749526"/>
              <a:gd name="connsiteX6818" fmla="*/ 2049171 w 7402822"/>
              <a:gd name="connsiteY6818" fmla="*/ 1308435 h 4749526"/>
              <a:gd name="connsiteX6819" fmla="*/ 2055243 w 7402822"/>
              <a:gd name="connsiteY6819" fmla="*/ 1314506 h 4749526"/>
              <a:gd name="connsiteX6820" fmla="*/ 2061314 w 7402822"/>
              <a:gd name="connsiteY6820" fmla="*/ 1302363 h 4749526"/>
              <a:gd name="connsiteX6821" fmla="*/ 2070422 w 7402822"/>
              <a:gd name="connsiteY6821" fmla="*/ 1308435 h 4749526"/>
              <a:gd name="connsiteX6822" fmla="*/ 2082565 w 7402822"/>
              <a:gd name="connsiteY6822" fmla="*/ 1338793 h 4749526"/>
              <a:gd name="connsiteX6823" fmla="*/ 2067386 w 7402822"/>
              <a:gd name="connsiteY6823" fmla="*/ 1335757 h 4749526"/>
              <a:gd name="connsiteX6824" fmla="*/ 2058279 w 7402822"/>
              <a:gd name="connsiteY6824" fmla="*/ 1341828 h 4749526"/>
              <a:gd name="connsiteX6825" fmla="*/ 2076494 w 7402822"/>
              <a:gd name="connsiteY6825" fmla="*/ 1353972 h 4749526"/>
              <a:gd name="connsiteX6826" fmla="*/ 2091673 w 7402822"/>
              <a:gd name="connsiteY6826" fmla="*/ 1369151 h 4749526"/>
              <a:gd name="connsiteX6827" fmla="*/ 2061314 w 7402822"/>
              <a:gd name="connsiteY6827" fmla="*/ 1369151 h 4749526"/>
              <a:gd name="connsiteX6828" fmla="*/ 2067386 w 7402822"/>
              <a:gd name="connsiteY6828" fmla="*/ 1390402 h 4749526"/>
              <a:gd name="connsiteX6829" fmla="*/ 2070422 w 7402822"/>
              <a:gd name="connsiteY6829" fmla="*/ 1402545 h 4749526"/>
              <a:gd name="connsiteX6830" fmla="*/ 2073458 w 7402822"/>
              <a:gd name="connsiteY6830" fmla="*/ 1405581 h 4749526"/>
              <a:gd name="connsiteX6831" fmla="*/ 2082565 w 7402822"/>
              <a:gd name="connsiteY6831" fmla="*/ 1408616 h 4749526"/>
              <a:gd name="connsiteX6832" fmla="*/ 2091673 w 7402822"/>
              <a:gd name="connsiteY6832" fmla="*/ 1411652 h 4749526"/>
              <a:gd name="connsiteX6833" fmla="*/ 2088636 w 7402822"/>
              <a:gd name="connsiteY6833" fmla="*/ 1411652 h 4749526"/>
              <a:gd name="connsiteX6834" fmla="*/ 2100780 w 7402822"/>
              <a:gd name="connsiteY6834" fmla="*/ 1432903 h 4749526"/>
              <a:gd name="connsiteX6835" fmla="*/ 2103815 w 7402822"/>
              <a:gd name="connsiteY6835" fmla="*/ 1438975 h 4749526"/>
              <a:gd name="connsiteX6836" fmla="*/ 2112924 w 7402822"/>
              <a:gd name="connsiteY6836" fmla="*/ 1435938 h 4749526"/>
              <a:gd name="connsiteX6837" fmla="*/ 2115959 w 7402822"/>
              <a:gd name="connsiteY6837" fmla="*/ 1442010 h 4749526"/>
              <a:gd name="connsiteX6838" fmla="*/ 2122031 w 7402822"/>
              <a:gd name="connsiteY6838" fmla="*/ 1435938 h 4749526"/>
              <a:gd name="connsiteX6839" fmla="*/ 2131138 w 7402822"/>
              <a:gd name="connsiteY6839" fmla="*/ 1438975 h 4749526"/>
              <a:gd name="connsiteX6840" fmla="*/ 2140245 w 7402822"/>
              <a:gd name="connsiteY6840" fmla="*/ 1451117 h 4749526"/>
              <a:gd name="connsiteX6841" fmla="*/ 2143281 w 7402822"/>
              <a:gd name="connsiteY6841" fmla="*/ 1460226 h 4749526"/>
              <a:gd name="connsiteX6842" fmla="*/ 2146317 w 7402822"/>
              <a:gd name="connsiteY6842" fmla="*/ 1475405 h 4749526"/>
              <a:gd name="connsiteX6843" fmla="*/ 2155424 w 7402822"/>
              <a:gd name="connsiteY6843" fmla="*/ 1478440 h 4749526"/>
              <a:gd name="connsiteX6844" fmla="*/ 2164532 w 7402822"/>
              <a:gd name="connsiteY6844" fmla="*/ 1472368 h 4749526"/>
              <a:gd name="connsiteX6845" fmla="*/ 2170603 w 7402822"/>
              <a:gd name="connsiteY6845" fmla="*/ 1493619 h 4749526"/>
              <a:gd name="connsiteX6846" fmla="*/ 2170603 w 7402822"/>
              <a:gd name="connsiteY6846" fmla="*/ 1499691 h 4749526"/>
              <a:gd name="connsiteX6847" fmla="*/ 2173639 w 7402822"/>
              <a:gd name="connsiteY6847" fmla="*/ 1493619 h 4749526"/>
              <a:gd name="connsiteX6848" fmla="*/ 2182746 w 7402822"/>
              <a:gd name="connsiteY6848" fmla="*/ 1487547 h 4749526"/>
              <a:gd name="connsiteX6849" fmla="*/ 2197925 w 7402822"/>
              <a:gd name="connsiteY6849" fmla="*/ 1502726 h 4749526"/>
              <a:gd name="connsiteX6850" fmla="*/ 2200962 w 7402822"/>
              <a:gd name="connsiteY6850" fmla="*/ 1514870 h 4749526"/>
              <a:gd name="connsiteX6851" fmla="*/ 2197925 w 7402822"/>
              <a:gd name="connsiteY6851" fmla="*/ 1523977 h 4749526"/>
              <a:gd name="connsiteX6852" fmla="*/ 2191854 w 7402822"/>
              <a:gd name="connsiteY6852" fmla="*/ 1527013 h 4749526"/>
              <a:gd name="connsiteX6853" fmla="*/ 2182746 w 7402822"/>
              <a:gd name="connsiteY6853" fmla="*/ 1527013 h 4749526"/>
              <a:gd name="connsiteX6854" fmla="*/ 2173639 w 7402822"/>
              <a:gd name="connsiteY6854" fmla="*/ 1530049 h 4749526"/>
              <a:gd name="connsiteX6855" fmla="*/ 2188818 w 7402822"/>
              <a:gd name="connsiteY6855" fmla="*/ 1542192 h 4749526"/>
              <a:gd name="connsiteX6856" fmla="*/ 2179711 w 7402822"/>
              <a:gd name="connsiteY6856" fmla="*/ 1545228 h 4749526"/>
              <a:gd name="connsiteX6857" fmla="*/ 2173639 w 7402822"/>
              <a:gd name="connsiteY6857" fmla="*/ 1560407 h 4749526"/>
              <a:gd name="connsiteX6858" fmla="*/ 2161496 w 7402822"/>
              <a:gd name="connsiteY6858" fmla="*/ 1560407 h 4749526"/>
              <a:gd name="connsiteX6859" fmla="*/ 2155424 w 7402822"/>
              <a:gd name="connsiteY6859" fmla="*/ 1575585 h 4749526"/>
              <a:gd name="connsiteX6860" fmla="*/ 2158460 w 7402822"/>
              <a:gd name="connsiteY6860" fmla="*/ 1578622 h 4749526"/>
              <a:gd name="connsiteX6861" fmla="*/ 2155424 w 7402822"/>
              <a:gd name="connsiteY6861" fmla="*/ 1581657 h 4749526"/>
              <a:gd name="connsiteX6862" fmla="*/ 2158460 w 7402822"/>
              <a:gd name="connsiteY6862" fmla="*/ 1587729 h 4749526"/>
              <a:gd name="connsiteX6863" fmla="*/ 2149353 w 7402822"/>
              <a:gd name="connsiteY6863" fmla="*/ 1593801 h 4749526"/>
              <a:gd name="connsiteX6864" fmla="*/ 2146317 w 7402822"/>
              <a:gd name="connsiteY6864" fmla="*/ 1590765 h 4749526"/>
              <a:gd name="connsiteX6865" fmla="*/ 2143281 w 7402822"/>
              <a:gd name="connsiteY6865" fmla="*/ 1590765 h 4749526"/>
              <a:gd name="connsiteX6866" fmla="*/ 2134173 w 7402822"/>
              <a:gd name="connsiteY6866" fmla="*/ 1581657 h 4749526"/>
              <a:gd name="connsiteX6867" fmla="*/ 2128102 w 7402822"/>
              <a:gd name="connsiteY6867" fmla="*/ 1575585 h 4749526"/>
              <a:gd name="connsiteX6868" fmla="*/ 2115959 w 7402822"/>
              <a:gd name="connsiteY6868" fmla="*/ 1551299 h 4749526"/>
              <a:gd name="connsiteX6869" fmla="*/ 2106852 w 7402822"/>
              <a:gd name="connsiteY6869" fmla="*/ 1536120 h 4749526"/>
              <a:gd name="connsiteX6870" fmla="*/ 2097744 w 7402822"/>
              <a:gd name="connsiteY6870" fmla="*/ 1530049 h 4749526"/>
              <a:gd name="connsiteX6871" fmla="*/ 2100780 w 7402822"/>
              <a:gd name="connsiteY6871" fmla="*/ 1530049 h 4749526"/>
              <a:gd name="connsiteX6872" fmla="*/ 2082565 w 7402822"/>
              <a:gd name="connsiteY6872" fmla="*/ 1517906 h 4749526"/>
              <a:gd name="connsiteX6873" fmla="*/ 2073458 w 7402822"/>
              <a:gd name="connsiteY6873" fmla="*/ 1517906 h 4749526"/>
              <a:gd name="connsiteX6874" fmla="*/ 2067386 w 7402822"/>
              <a:gd name="connsiteY6874" fmla="*/ 1517906 h 4749526"/>
              <a:gd name="connsiteX6875" fmla="*/ 2070422 w 7402822"/>
              <a:gd name="connsiteY6875" fmla="*/ 1533085 h 4749526"/>
              <a:gd name="connsiteX6876" fmla="*/ 2079529 w 7402822"/>
              <a:gd name="connsiteY6876" fmla="*/ 1539156 h 4749526"/>
              <a:gd name="connsiteX6877" fmla="*/ 2073458 w 7402822"/>
              <a:gd name="connsiteY6877" fmla="*/ 1548264 h 4749526"/>
              <a:gd name="connsiteX6878" fmla="*/ 2067386 w 7402822"/>
              <a:gd name="connsiteY6878" fmla="*/ 1548264 h 4749526"/>
              <a:gd name="connsiteX6879" fmla="*/ 2061314 w 7402822"/>
              <a:gd name="connsiteY6879" fmla="*/ 1536120 h 4749526"/>
              <a:gd name="connsiteX6880" fmla="*/ 2055243 w 7402822"/>
              <a:gd name="connsiteY6880" fmla="*/ 1548264 h 4749526"/>
              <a:gd name="connsiteX6881" fmla="*/ 2061314 w 7402822"/>
              <a:gd name="connsiteY6881" fmla="*/ 1560407 h 4749526"/>
              <a:gd name="connsiteX6882" fmla="*/ 2070422 w 7402822"/>
              <a:gd name="connsiteY6882" fmla="*/ 1560407 h 4749526"/>
              <a:gd name="connsiteX6883" fmla="*/ 2076494 w 7402822"/>
              <a:gd name="connsiteY6883" fmla="*/ 1566478 h 4749526"/>
              <a:gd name="connsiteX6884" fmla="*/ 2082565 w 7402822"/>
              <a:gd name="connsiteY6884" fmla="*/ 1569515 h 4749526"/>
              <a:gd name="connsiteX6885" fmla="*/ 2079529 w 7402822"/>
              <a:gd name="connsiteY6885" fmla="*/ 1578622 h 4749526"/>
              <a:gd name="connsiteX6886" fmla="*/ 2082565 w 7402822"/>
              <a:gd name="connsiteY6886" fmla="*/ 1587729 h 4749526"/>
              <a:gd name="connsiteX6887" fmla="*/ 2085601 w 7402822"/>
              <a:gd name="connsiteY6887" fmla="*/ 1590765 h 4749526"/>
              <a:gd name="connsiteX6888" fmla="*/ 2088636 w 7402822"/>
              <a:gd name="connsiteY6888" fmla="*/ 1596836 h 4749526"/>
              <a:gd name="connsiteX6889" fmla="*/ 2088636 w 7402822"/>
              <a:gd name="connsiteY6889" fmla="*/ 1602908 h 4749526"/>
              <a:gd name="connsiteX6890" fmla="*/ 2094708 w 7402822"/>
              <a:gd name="connsiteY6890" fmla="*/ 1599873 h 4749526"/>
              <a:gd name="connsiteX6891" fmla="*/ 2106852 w 7402822"/>
              <a:gd name="connsiteY6891" fmla="*/ 1596836 h 4749526"/>
              <a:gd name="connsiteX6892" fmla="*/ 2112924 w 7402822"/>
              <a:gd name="connsiteY6892" fmla="*/ 1602908 h 4749526"/>
              <a:gd name="connsiteX6893" fmla="*/ 2112924 w 7402822"/>
              <a:gd name="connsiteY6893" fmla="*/ 1612015 h 4749526"/>
              <a:gd name="connsiteX6894" fmla="*/ 2112924 w 7402822"/>
              <a:gd name="connsiteY6894" fmla="*/ 1615052 h 4749526"/>
              <a:gd name="connsiteX6895" fmla="*/ 2122031 w 7402822"/>
              <a:gd name="connsiteY6895" fmla="*/ 1618087 h 4749526"/>
              <a:gd name="connsiteX6896" fmla="*/ 2118994 w 7402822"/>
              <a:gd name="connsiteY6896" fmla="*/ 1633266 h 4749526"/>
              <a:gd name="connsiteX6897" fmla="*/ 2125066 w 7402822"/>
              <a:gd name="connsiteY6897" fmla="*/ 1648446 h 4749526"/>
              <a:gd name="connsiteX6898" fmla="*/ 2134173 w 7402822"/>
              <a:gd name="connsiteY6898" fmla="*/ 1657553 h 4749526"/>
              <a:gd name="connsiteX6899" fmla="*/ 2134173 w 7402822"/>
              <a:gd name="connsiteY6899" fmla="*/ 1672732 h 4749526"/>
              <a:gd name="connsiteX6900" fmla="*/ 2131138 w 7402822"/>
              <a:gd name="connsiteY6900" fmla="*/ 1672732 h 4749526"/>
              <a:gd name="connsiteX6901" fmla="*/ 2128102 w 7402822"/>
              <a:gd name="connsiteY6901" fmla="*/ 1663625 h 4749526"/>
              <a:gd name="connsiteX6902" fmla="*/ 2122031 w 7402822"/>
              <a:gd name="connsiteY6902" fmla="*/ 1654517 h 4749526"/>
              <a:gd name="connsiteX6903" fmla="*/ 2125066 w 7402822"/>
              <a:gd name="connsiteY6903" fmla="*/ 1666660 h 4749526"/>
              <a:gd name="connsiteX6904" fmla="*/ 2128102 w 7402822"/>
              <a:gd name="connsiteY6904" fmla="*/ 1678804 h 4749526"/>
              <a:gd name="connsiteX6905" fmla="*/ 2128102 w 7402822"/>
              <a:gd name="connsiteY6905" fmla="*/ 1681839 h 4749526"/>
              <a:gd name="connsiteX6906" fmla="*/ 2131138 w 7402822"/>
              <a:gd name="connsiteY6906" fmla="*/ 1687911 h 4749526"/>
              <a:gd name="connsiteX6907" fmla="*/ 2131138 w 7402822"/>
              <a:gd name="connsiteY6907" fmla="*/ 1693983 h 4749526"/>
              <a:gd name="connsiteX6908" fmla="*/ 2118994 w 7402822"/>
              <a:gd name="connsiteY6908" fmla="*/ 1706125 h 4749526"/>
              <a:gd name="connsiteX6909" fmla="*/ 2109887 w 7402822"/>
              <a:gd name="connsiteY6909" fmla="*/ 1690946 h 4749526"/>
              <a:gd name="connsiteX6910" fmla="*/ 2103815 w 7402822"/>
              <a:gd name="connsiteY6910" fmla="*/ 1687911 h 4749526"/>
              <a:gd name="connsiteX6911" fmla="*/ 2100780 w 7402822"/>
              <a:gd name="connsiteY6911" fmla="*/ 1687911 h 4749526"/>
              <a:gd name="connsiteX6912" fmla="*/ 2088636 w 7402822"/>
              <a:gd name="connsiteY6912" fmla="*/ 1681839 h 4749526"/>
              <a:gd name="connsiteX6913" fmla="*/ 2076494 w 7402822"/>
              <a:gd name="connsiteY6913" fmla="*/ 1669696 h 4749526"/>
              <a:gd name="connsiteX6914" fmla="*/ 2070422 w 7402822"/>
              <a:gd name="connsiteY6914" fmla="*/ 1666660 h 4749526"/>
              <a:gd name="connsiteX6915" fmla="*/ 2067386 w 7402822"/>
              <a:gd name="connsiteY6915" fmla="*/ 1669696 h 4749526"/>
              <a:gd name="connsiteX6916" fmla="*/ 2064350 w 7402822"/>
              <a:gd name="connsiteY6916" fmla="*/ 1663625 h 4749526"/>
              <a:gd name="connsiteX6917" fmla="*/ 2055243 w 7402822"/>
              <a:gd name="connsiteY6917" fmla="*/ 1654517 h 4749526"/>
              <a:gd name="connsiteX6918" fmla="*/ 2043100 w 7402822"/>
              <a:gd name="connsiteY6918" fmla="*/ 1654517 h 4749526"/>
              <a:gd name="connsiteX6919" fmla="*/ 2052207 w 7402822"/>
              <a:gd name="connsiteY6919" fmla="*/ 1666660 h 4749526"/>
              <a:gd name="connsiteX6920" fmla="*/ 2064350 w 7402822"/>
              <a:gd name="connsiteY6920" fmla="*/ 1681839 h 4749526"/>
              <a:gd name="connsiteX6921" fmla="*/ 2070422 w 7402822"/>
              <a:gd name="connsiteY6921" fmla="*/ 1684876 h 4749526"/>
              <a:gd name="connsiteX6922" fmla="*/ 2070422 w 7402822"/>
              <a:gd name="connsiteY6922" fmla="*/ 1690946 h 4749526"/>
              <a:gd name="connsiteX6923" fmla="*/ 2076494 w 7402822"/>
              <a:gd name="connsiteY6923" fmla="*/ 1687911 h 4749526"/>
              <a:gd name="connsiteX6924" fmla="*/ 2082565 w 7402822"/>
              <a:gd name="connsiteY6924" fmla="*/ 1697018 h 4749526"/>
              <a:gd name="connsiteX6925" fmla="*/ 2094708 w 7402822"/>
              <a:gd name="connsiteY6925" fmla="*/ 1712197 h 4749526"/>
              <a:gd name="connsiteX6926" fmla="*/ 2097744 w 7402822"/>
              <a:gd name="connsiteY6926" fmla="*/ 1712197 h 4749526"/>
              <a:gd name="connsiteX6927" fmla="*/ 2103815 w 7402822"/>
              <a:gd name="connsiteY6927" fmla="*/ 1721305 h 4749526"/>
              <a:gd name="connsiteX6928" fmla="*/ 2106852 w 7402822"/>
              <a:gd name="connsiteY6928" fmla="*/ 1733448 h 4749526"/>
              <a:gd name="connsiteX6929" fmla="*/ 2103815 w 7402822"/>
              <a:gd name="connsiteY6929" fmla="*/ 1736484 h 4749526"/>
              <a:gd name="connsiteX6930" fmla="*/ 2079529 w 7402822"/>
              <a:gd name="connsiteY6930" fmla="*/ 1727376 h 4749526"/>
              <a:gd name="connsiteX6931" fmla="*/ 2052207 w 7402822"/>
              <a:gd name="connsiteY6931" fmla="*/ 1718269 h 4749526"/>
              <a:gd name="connsiteX6932" fmla="*/ 2043100 w 7402822"/>
              <a:gd name="connsiteY6932" fmla="*/ 1715233 h 4749526"/>
              <a:gd name="connsiteX6933" fmla="*/ 2033992 w 7402822"/>
              <a:gd name="connsiteY6933" fmla="*/ 1703090 h 4749526"/>
              <a:gd name="connsiteX6934" fmla="*/ 2030956 w 7402822"/>
              <a:gd name="connsiteY6934" fmla="*/ 1703090 h 4749526"/>
              <a:gd name="connsiteX6935" fmla="*/ 2030956 w 7402822"/>
              <a:gd name="connsiteY6935" fmla="*/ 1700054 h 4749526"/>
              <a:gd name="connsiteX6936" fmla="*/ 2024884 w 7402822"/>
              <a:gd name="connsiteY6936" fmla="*/ 1697018 h 4749526"/>
              <a:gd name="connsiteX6937" fmla="*/ 2015777 w 7402822"/>
              <a:gd name="connsiteY6937" fmla="*/ 1697018 h 4749526"/>
              <a:gd name="connsiteX6938" fmla="*/ 2003635 w 7402822"/>
              <a:gd name="connsiteY6938" fmla="*/ 1690946 h 4749526"/>
              <a:gd name="connsiteX6939" fmla="*/ 1994526 w 7402822"/>
              <a:gd name="connsiteY6939" fmla="*/ 1684876 h 4749526"/>
              <a:gd name="connsiteX6940" fmla="*/ 1985419 w 7402822"/>
              <a:gd name="connsiteY6940" fmla="*/ 1678804 h 4749526"/>
              <a:gd name="connsiteX6941" fmla="*/ 1976312 w 7402822"/>
              <a:gd name="connsiteY6941" fmla="*/ 1666660 h 4749526"/>
              <a:gd name="connsiteX6942" fmla="*/ 1988455 w 7402822"/>
              <a:gd name="connsiteY6942" fmla="*/ 1666660 h 4749526"/>
              <a:gd name="connsiteX6943" fmla="*/ 1982384 w 7402822"/>
              <a:gd name="connsiteY6943" fmla="*/ 1654517 h 4749526"/>
              <a:gd name="connsiteX6944" fmla="*/ 1979347 w 7402822"/>
              <a:gd name="connsiteY6944" fmla="*/ 1654517 h 4749526"/>
              <a:gd name="connsiteX6945" fmla="*/ 1967205 w 7402822"/>
              <a:gd name="connsiteY6945" fmla="*/ 1648446 h 4749526"/>
              <a:gd name="connsiteX6946" fmla="*/ 1967205 w 7402822"/>
              <a:gd name="connsiteY6946" fmla="*/ 1639338 h 4749526"/>
              <a:gd name="connsiteX6947" fmla="*/ 1964168 w 7402822"/>
              <a:gd name="connsiteY6947" fmla="*/ 1633266 h 4749526"/>
              <a:gd name="connsiteX6948" fmla="*/ 1958097 w 7402822"/>
              <a:gd name="connsiteY6948" fmla="*/ 1627195 h 4749526"/>
              <a:gd name="connsiteX6949" fmla="*/ 1952025 w 7402822"/>
              <a:gd name="connsiteY6949" fmla="*/ 1618087 h 4749526"/>
              <a:gd name="connsiteX6950" fmla="*/ 1945954 w 7402822"/>
              <a:gd name="connsiteY6950" fmla="*/ 1618087 h 4749526"/>
              <a:gd name="connsiteX6951" fmla="*/ 1939882 w 7402822"/>
              <a:gd name="connsiteY6951" fmla="*/ 1621123 h 4749526"/>
              <a:gd name="connsiteX6952" fmla="*/ 1927739 w 7402822"/>
              <a:gd name="connsiteY6952" fmla="*/ 1621123 h 4749526"/>
              <a:gd name="connsiteX6953" fmla="*/ 1921667 w 7402822"/>
              <a:gd name="connsiteY6953" fmla="*/ 1621123 h 4749526"/>
              <a:gd name="connsiteX6954" fmla="*/ 1918632 w 7402822"/>
              <a:gd name="connsiteY6954" fmla="*/ 1618087 h 4749526"/>
              <a:gd name="connsiteX6955" fmla="*/ 1903453 w 7402822"/>
              <a:gd name="connsiteY6955" fmla="*/ 1612015 h 4749526"/>
              <a:gd name="connsiteX6956" fmla="*/ 1894345 w 7402822"/>
              <a:gd name="connsiteY6956" fmla="*/ 1621123 h 4749526"/>
              <a:gd name="connsiteX6957" fmla="*/ 1888274 w 7402822"/>
              <a:gd name="connsiteY6957" fmla="*/ 1624159 h 4749526"/>
              <a:gd name="connsiteX6958" fmla="*/ 1882202 w 7402822"/>
              <a:gd name="connsiteY6958" fmla="*/ 1627195 h 4749526"/>
              <a:gd name="connsiteX6959" fmla="*/ 1857915 w 7402822"/>
              <a:gd name="connsiteY6959" fmla="*/ 1621123 h 4749526"/>
              <a:gd name="connsiteX6960" fmla="*/ 1854879 w 7402822"/>
              <a:gd name="connsiteY6960" fmla="*/ 1615052 h 4749526"/>
              <a:gd name="connsiteX6961" fmla="*/ 1851844 w 7402822"/>
              <a:gd name="connsiteY6961" fmla="*/ 1605944 h 4749526"/>
              <a:gd name="connsiteX6962" fmla="*/ 1854879 w 7402822"/>
              <a:gd name="connsiteY6962" fmla="*/ 1593801 h 4749526"/>
              <a:gd name="connsiteX6963" fmla="*/ 1857915 w 7402822"/>
              <a:gd name="connsiteY6963" fmla="*/ 1590765 h 4749526"/>
              <a:gd name="connsiteX6964" fmla="*/ 1867023 w 7402822"/>
              <a:gd name="connsiteY6964" fmla="*/ 1584694 h 4749526"/>
              <a:gd name="connsiteX6965" fmla="*/ 1870058 w 7402822"/>
              <a:gd name="connsiteY6965" fmla="*/ 1581657 h 4749526"/>
              <a:gd name="connsiteX6966" fmla="*/ 1870058 w 7402822"/>
              <a:gd name="connsiteY6966" fmla="*/ 1572550 h 4749526"/>
              <a:gd name="connsiteX6967" fmla="*/ 1903453 w 7402822"/>
              <a:gd name="connsiteY6967" fmla="*/ 1584694 h 4749526"/>
              <a:gd name="connsiteX6968" fmla="*/ 1906488 w 7402822"/>
              <a:gd name="connsiteY6968" fmla="*/ 1578622 h 4749526"/>
              <a:gd name="connsiteX6969" fmla="*/ 1912560 w 7402822"/>
              <a:gd name="connsiteY6969" fmla="*/ 1578622 h 4749526"/>
              <a:gd name="connsiteX6970" fmla="*/ 1924703 w 7402822"/>
              <a:gd name="connsiteY6970" fmla="*/ 1572550 h 4749526"/>
              <a:gd name="connsiteX6971" fmla="*/ 1924703 w 7402822"/>
              <a:gd name="connsiteY6971" fmla="*/ 1569515 h 4749526"/>
              <a:gd name="connsiteX6972" fmla="*/ 1930774 w 7402822"/>
              <a:gd name="connsiteY6972" fmla="*/ 1572550 h 4749526"/>
              <a:gd name="connsiteX6973" fmla="*/ 1936846 w 7402822"/>
              <a:gd name="connsiteY6973" fmla="*/ 1569515 h 4749526"/>
              <a:gd name="connsiteX6974" fmla="*/ 1948990 w 7402822"/>
              <a:gd name="connsiteY6974" fmla="*/ 1566478 h 4749526"/>
              <a:gd name="connsiteX6975" fmla="*/ 1939882 w 7402822"/>
              <a:gd name="connsiteY6975" fmla="*/ 1551299 h 4749526"/>
              <a:gd name="connsiteX6976" fmla="*/ 1930774 w 7402822"/>
              <a:gd name="connsiteY6976" fmla="*/ 1536120 h 4749526"/>
              <a:gd name="connsiteX6977" fmla="*/ 1933811 w 7402822"/>
              <a:gd name="connsiteY6977" fmla="*/ 1530049 h 4749526"/>
              <a:gd name="connsiteX6978" fmla="*/ 1942918 w 7402822"/>
              <a:gd name="connsiteY6978" fmla="*/ 1520941 h 4749526"/>
              <a:gd name="connsiteX6979" fmla="*/ 1952025 w 7402822"/>
              <a:gd name="connsiteY6979" fmla="*/ 1508798 h 4749526"/>
              <a:gd name="connsiteX6980" fmla="*/ 1958097 w 7402822"/>
              <a:gd name="connsiteY6980" fmla="*/ 1502726 h 4749526"/>
              <a:gd name="connsiteX6981" fmla="*/ 1961133 w 7402822"/>
              <a:gd name="connsiteY6981" fmla="*/ 1496655 h 4749526"/>
              <a:gd name="connsiteX6982" fmla="*/ 1967205 w 7402822"/>
              <a:gd name="connsiteY6982" fmla="*/ 1487547 h 4749526"/>
              <a:gd name="connsiteX6983" fmla="*/ 1976312 w 7402822"/>
              <a:gd name="connsiteY6983" fmla="*/ 1475405 h 4749526"/>
              <a:gd name="connsiteX6984" fmla="*/ 1973276 w 7402822"/>
              <a:gd name="connsiteY6984" fmla="*/ 1469333 h 4749526"/>
              <a:gd name="connsiteX6985" fmla="*/ 1967205 w 7402822"/>
              <a:gd name="connsiteY6985" fmla="*/ 1451117 h 4749526"/>
              <a:gd name="connsiteX6986" fmla="*/ 1961133 w 7402822"/>
              <a:gd name="connsiteY6986" fmla="*/ 1442010 h 4749526"/>
              <a:gd name="connsiteX6987" fmla="*/ 1958097 w 7402822"/>
              <a:gd name="connsiteY6987" fmla="*/ 1432903 h 4749526"/>
              <a:gd name="connsiteX6988" fmla="*/ 1955061 w 7402822"/>
              <a:gd name="connsiteY6988" fmla="*/ 1414688 h 4749526"/>
              <a:gd name="connsiteX6989" fmla="*/ 1948990 w 7402822"/>
              <a:gd name="connsiteY6989" fmla="*/ 1420760 h 4749526"/>
              <a:gd name="connsiteX6990" fmla="*/ 1942918 w 7402822"/>
              <a:gd name="connsiteY6990" fmla="*/ 1414688 h 4749526"/>
              <a:gd name="connsiteX6991" fmla="*/ 1936846 w 7402822"/>
              <a:gd name="connsiteY6991" fmla="*/ 1408616 h 4749526"/>
              <a:gd name="connsiteX6992" fmla="*/ 1927739 w 7402822"/>
              <a:gd name="connsiteY6992" fmla="*/ 1399509 h 4749526"/>
              <a:gd name="connsiteX6993" fmla="*/ 1921667 w 7402822"/>
              <a:gd name="connsiteY6993" fmla="*/ 1390402 h 4749526"/>
              <a:gd name="connsiteX6994" fmla="*/ 1915595 w 7402822"/>
              <a:gd name="connsiteY6994" fmla="*/ 1387366 h 4749526"/>
              <a:gd name="connsiteX6995" fmla="*/ 1912560 w 7402822"/>
              <a:gd name="connsiteY6995" fmla="*/ 1384330 h 4749526"/>
              <a:gd name="connsiteX6996" fmla="*/ 1912560 w 7402822"/>
              <a:gd name="connsiteY6996" fmla="*/ 1381294 h 4749526"/>
              <a:gd name="connsiteX6997" fmla="*/ 1906488 w 7402822"/>
              <a:gd name="connsiteY6997" fmla="*/ 1387366 h 4749526"/>
              <a:gd name="connsiteX6998" fmla="*/ 1894345 w 7402822"/>
              <a:gd name="connsiteY6998" fmla="*/ 1393437 h 4749526"/>
              <a:gd name="connsiteX6999" fmla="*/ 1885237 w 7402822"/>
              <a:gd name="connsiteY6999" fmla="*/ 1399509 h 4749526"/>
              <a:gd name="connsiteX7000" fmla="*/ 1885237 w 7402822"/>
              <a:gd name="connsiteY7000" fmla="*/ 1396473 h 4749526"/>
              <a:gd name="connsiteX7001" fmla="*/ 1885237 w 7402822"/>
              <a:gd name="connsiteY7001" fmla="*/ 1381294 h 4749526"/>
              <a:gd name="connsiteX7002" fmla="*/ 1894345 w 7402822"/>
              <a:gd name="connsiteY7002" fmla="*/ 1378258 h 4749526"/>
              <a:gd name="connsiteX7003" fmla="*/ 1906488 w 7402822"/>
              <a:gd name="connsiteY7003" fmla="*/ 1375223 h 4749526"/>
              <a:gd name="connsiteX7004" fmla="*/ 1906488 w 7402822"/>
              <a:gd name="connsiteY7004" fmla="*/ 1369151 h 4749526"/>
              <a:gd name="connsiteX7005" fmla="*/ 1903453 w 7402822"/>
              <a:gd name="connsiteY7005" fmla="*/ 1363079 h 4749526"/>
              <a:gd name="connsiteX7006" fmla="*/ 1891309 w 7402822"/>
              <a:gd name="connsiteY7006" fmla="*/ 1353972 h 4749526"/>
              <a:gd name="connsiteX7007" fmla="*/ 1879166 w 7402822"/>
              <a:gd name="connsiteY7007" fmla="*/ 1344865 h 4749526"/>
              <a:gd name="connsiteX7008" fmla="*/ 1873095 w 7402822"/>
              <a:gd name="connsiteY7008" fmla="*/ 1341828 h 4749526"/>
              <a:gd name="connsiteX7009" fmla="*/ 1873095 w 7402822"/>
              <a:gd name="connsiteY7009" fmla="*/ 1326649 h 4749526"/>
              <a:gd name="connsiteX7010" fmla="*/ 1863987 w 7402822"/>
              <a:gd name="connsiteY7010" fmla="*/ 1335757 h 4749526"/>
              <a:gd name="connsiteX7011" fmla="*/ 1860951 w 7402822"/>
              <a:gd name="connsiteY7011" fmla="*/ 1308435 h 4749526"/>
              <a:gd name="connsiteX7012" fmla="*/ 1839700 w 7402822"/>
              <a:gd name="connsiteY7012" fmla="*/ 1308435 h 4749526"/>
              <a:gd name="connsiteX7013" fmla="*/ 1842736 w 7402822"/>
              <a:gd name="connsiteY7013" fmla="*/ 1326649 h 4749526"/>
              <a:gd name="connsiteX7014" fmla="*/ 1827557 w 7402822"/>
              <a:gd name="connsiteY7014" fmla="*/ 1329686 h 4749526"/>
              <a:gd name="connsiteX7015" fmla="*/ 1818450 w 7402822"/>
              <a:gd name="connsiteY7015" fmla="*/ 1323614 h 4749526"/>
              <a:gd name="connsiteX7016" fmla="*/ 1806306 w 7402822"/>
              <a:gd name="connsiteY7016" fmla="*/ 1320578 h 4749526"/>
              <a:gd name="connsiteX7017" fmla="*/ 1788092 w 7402822"/>
              <a:gd name="connsiteY7017" fmla="*/ 1314506 h 4749526"/>
              <a:gd name="connsiteX7018" fmla="*/ 1778985 w 7402822"/>
              <a:gd name="connsiteY7018" fmla="*/ 1314506 h 4749526"/>
              <a:gd name="connsiteX7019" fmla="*/ 1778985 w 7402822"/>
              <a:gd name="connsiteY7019" fmla="*/ 1329686 h 4749526"/>
              <a:gd name="connsiteX7020" fmla="*/ 1775948 w 7402822"/>
              <a:gd name="connsiteY7020" fmla="*/ 1332721 h 4749526"/>
              <a:gd name="connsiteX7021" fmla="*/ 1760769 w 7402822"/>
              <a:gd name="connsiteY7021" fmla="*/ 1329686 h 4749526"/>
              <a:gd name="connsiteX7022" fmla="*/ 1727375 w 7402822"/>
              <a:gd name="connsiteY7022" fmla="*/ 1323614 h 4749526"/>
              <a:gd name="connsiteX7023" fmla="*/ 1700054 w 7402822"/>
              <a:gd name="connsiteY7023" fmla="*/ 1314506 h 4749526"/>
              <a:gd name="connsiteX7024" fmla="*/ 1706124 w 7402822"/>
              <a:gd name="connsiteY7024" fmla="*/ 1323614 h 4749526"/>
              <a:gd name="connsiteX7025" fmla="*/ 1690946 w 7402822"/>
              <a:gd name="connsiteY7025" fmla="*/ 1317542 h 4749526"/>
              <a:gd name="connsiteX7026" fmla="*/ 1681839 w 7402822"/>
              <a:gd name="connsiteY7026" fmla="*/ 1311470 h 4749526"/>
              <a:gd name="connsiteX7027" fmla="*/ 1678803 w 7402822"/>
              <a:gd name="connsiteY7027" fmla="*/ 1302363 h 4749526"/>
              <a:gd name="connsiteX7028" fmla="*/ 1681839 w 7402822"/>
              <a:gd name="connsiteY7028" fmla="*/ 1296291 h 4749526"/>
              <a:gd name="connsiteX7029" fmla="*/ 1678803 w 7402822"/>
              <a:gd name="connsiteY7029" fmla="*/ 1299327 h 4749526"/>
              <a:gd name="connsiteX7030" fmla="*/ 1678803 w 7402822"/>
              <a:gd name="connsiteY7030" fmla="*/ 1302363 h 4749526"/>
              <a:gd name="connsiteX7031" fmla="*/ 1663624 w 7402822"/>
              <a:gd name="connsiteY7031" fmla="*/ 1305399 h 4749526"/>
              <a:gd name="connsiteX7032" fmla="*/ 1651480 w 7402822"/>
              <a:gd name="connsiteY7032" fmla="*/ 1308435 h 4749526"/>
              <a:gd name="connsiteX7033" fmla="*/ 1639337 w 7402822"/>
              <a:gd name="connsiteY7033" fmla="*/ 1296291 h 4749526"/>
              <a:gd name="connsiteX7034" fmla="*/ 1627194 w 7402822"/>
              <a:gd name="connsiteY7034" fmla="*/ 1284148 h 4749526"/>
              <a:gd name="connsiteX7035" fmla="*/ 1621122 w 7402822"/>
              <a:gd name="connsiteY7035" fmla="*/ 1272005 h 4749526"/>
              <a:gd name="connsiteX7036" fmla="*/ 1621122 w 7402822"/>
              <a:gd name="connsiteY7036" fmla="*/ 1259862 h 4749526"/>
              <a:gd name="connsiteX7037" fmla="*/ 1636301 w 7402822"/>
              <a:gd name="connsiteY7037" fmla="*/ 1256826 h 4749526"/>
              <a:gd name="connsiteX7038" fmla="*/ 1660588 w 7402822"/>
              <a:gd name="connsiteY7038" fmla="*/ 1262897 h 4749526"/>
              <a:gd name="connsiteX7039" fmla="*/ 1666659 w 7402822"/>
              <a:gd name="connsiteY7039" fmla="*/ 1259862 h 4749526"/>
              <a:gd name="connsiteX7040" fmla="*/ 1654516 w 7402822"/>
              <a:gd name="connsiteY7040" fmla="*/ 1247718 h 4749526"/>
              <a:gd name="connsiteX7041" fmla="*/ 1645409 w 7402822"/>
              <a:gd name="connsiteY7041" fmla="*/ 1244683 h 4749526"/>
              <a:gd name="connsiteX7042" fmla="*/ 1624158 w 7402822"/>
              <a:gd name="connsiteY7042" fmla="*/ 1241646 h 4749526"/>
              <a:gd name="connsiteX7043" fmla="*/ 1608979 w 7402822"/>
              <a:gd name="connsiteY7043" fmla="*/ 1229504 h 4749526"/>
              <a:gd name="connsiteX7044" fmla="*/ 1608979 w 7402822"/>
              <a:gd name="connsiteY7044" fmla="*/ 1199146 h 4749526"/>
              <a:gd name="connsiteX7045" fmla="*/ 1615051 w 7402822"/>
              <a:gd name="connsiteY7045" fmla="*/ 1183966 h 4749526"/>
              <a:gd name="connsiteX7046" fmla="*/ 1612015 w 7402822"/>
              <a:gd name="connsiteY7046" fmla="*/ 1165752 h 4749526"/>
              <a:gd name="connsiteX7047" fmla="*/ 1621122 w 7402822"/>
              <a:gd name="connsiteY7047" fmla="*/ 1144501 h 4749526"/>
              <a:gd name="connsiteX7048" fmla="*/ 1621122 w 7402822"/>
              <a:gd name="connsiteY7048" fmla="*/ 1129322 h 4749526"/>
              <a:gd name="connsiteX7049" fmla="*/ 1627194 w 7402822"/>
              <a:gd name="connsiteY7049" fmla="*/ 1114143 h 4749526"/>
              <a:gd name="connsiteX7050" fmla="*/ 1648445 w 7402822"/>
              <a:gd name="connsiteY7050" fmla="*/ 1080749 h 4749526"/>
              <a:gd name="connsiteX7051" fmla="*/ 6030637 w 7402822"/>
              <a:gd name="connsiteY7051" fmla="*/ 1062534 h 4749526"/>
              <a:gd name="connsiteX7052" fmla="*/ 6042779 w 7402822"/>
              <a:gd name="connsiteY7052" fmla="*/ 1068606 h 4749526"/>
              <a:gd name="connsiteX7053" fmla="*/ 6051887 w 7402822"/>
              <a:gd name="connsiteY7053" fmla="*/ 1077713 h 4749526"/>
              <a:gd name="connsiteX7054" fmla="*/ 6064031 w 7402822"/>
              <a:gd name="connsiteY7054" fmla="*/ 1080749 h 4749526"/>
              <a:gd name="connsiteX7055" fmla="*/ 6073137 w 7402822"/>
              <a:gd name="connsiteY7055" fmla="*/ 1083785 h 4749526"/>
              <a:gd name="connsiteX7056" fmla="*/ 6070102 w 7402822"/>
              <a:gd name="connsiteY7056" fmla="*/ 1123250 h 4749526"/>
              <a:gd name="connsiteX7057" fmla="*/ 6067066 w 7402822"/>
              <a:gd name="connsiteY7057" fmla="*/ 1156644 h 4749526"/>
              <a:gd name="connsiteX7058" fmla="*/ 6070102 w 7402822"/>
              <a:gd name="connsiteY7058" fmla="*/ 1162716 h 4749526"/>
              <a:gd name="connsiteX7059" fmla="*/ 6067066 w 7402822"/>
              <a:gd name="connsiteY7059" fmla="*/ 1165752 h 4749526"/>
              <a:gd name="connsiteX7060" fmla="*/ 6060994 w 7402822"/>
              <a:gd name="connsiteY7060" fmla="*/ 1165752 h 4749526"/>
              <a:gd name="connsiteX7061" fmla="*/ 6048851 w 7402822"/>
              <a:gd name="connsiteY7061" fmla="*/ 1156644 h 4749526"/>
              <a:gd name="connsiteX7062" fmla="*/ 6045816 w 7402822"/>
              <a:gd name="connsiteY7062" fmla="*/ 1150573 h 4749526"/>
              <a:gd name="connsiteX7063" fmla="*/ 6039744 w 7402822"/>
              <a:gd name="connsiteY7063" fmla="*/ 1147536 h 4749526"/>
              <a:gd name="connsiteX7064" fmla="*/ 6015457 w 7402822"/>
              <a:gd name="connsiteY7064" fmla="*/ 1132357 h 4749526"/>
              <a:gd name="connsiteX7065" fmla="*/ 6006351 w 7402822"/>
              <a:gd name="connsiteY7065" fmla="*/ 1126287 h 4749526"/>
              <a:gd name="connsiteX7066" fmla="*/ 6012421 w 7402822"/>
              <a:gd name="connsiteY7066" fmla="*/ 1108071 h 4749526"/>
              <a:gd name="connsiteX7067" fmla="*/ 6006351 w 7402822"/>
              <a:gd name="connsiteY7067" fmla="*/ 1089856 h 4749526"/>
              <a:gd name="connsiteX7068" fmla="*/ 6012421 w 7402822"/>
              <a:gd name="connsiteY7068" fmla="*/ 1068606 h 4749526"/>
              <a:gd name="connsiteX7069" fmla="*/ 6021529 w 7402822"/>
              <a:gd name="connsiteY7069" fmla="*/ 1065570 h 4749526"/>
              <a:gd name="connsiteX7070" fmla="*/ 6391897 w 7402822"/>
              <a:gd name="connsiteY7070" fmla="*/ 1059498 h 4749526"/>
              <a:gd name="connsiteX7071" fmla="*/ 6419219 w 7402822"/>
              <a:gd name="connsiteY7071" fmla="*/ 1080749 h 4749526"/>
              <a:gd name="connsiteX7072" fmla="*/ 6428327 w 7402822"/>
              <a:gd name="connsiteY7072" fmla="*/ 1098964 h 4749526"/>
              <a:gd name="connsiteX7073" fmla="*/ 6422256 w 7402822"/>
              <a:gd name="connsiteY7073" fmla="*/ 1111107 h 4749526"/>
              <a:gd name="connsiteX7074" fmla="*/ 6419219 w 7402822"/>
              <a:gd name="connsiteY7074" fmla="*/ 1111107 h 4749526"/>
              <a:gd name="connsiteX7075" fmla="*/ 6388862 w 7402822"/>
              <a:gd name="connsiteY7075" fmla="*/ 1105036 h 4749526"/>
              <a:gd name="connsiteX7076" fmla="*/ 6376719 w 7402822"/>
              <a:gd name="connsiteY7076" fmla="*/ 1098964 h 4749526"/>
              <a:gd name="connsiteX7077" fmla="*/ 6364576 w 7402822"/>
              <a:gd name="connsiteY7077" fmla="*/ 1089856 h 4749526"/>
              <a:gd name="connsiteX7078" fmla="*/ 6379754 w 7402822"/>
              <a:gd name="connsiteY7078" fmla="*/ 1062534 h 4749526"/>
              <a:gd name="connsiteX7079" fmla="*/ 1402544 w 7402822"/>
              <a:gd name="connsiteY7079" fmla="*/ 1056463 h 4749526"/>
              <a:gd name="connsiteX7080" fmla="*/ 1414687 w 7402822"/>
              <a:gd name="connsiteY7080" fmla="*/ 1068606 h 4749526"/>
              <a:gd name="connsiteX7081" fmla="*/ 1420759 w 7402822"/>
              <a:gd name="connsiteY7081" fmla="*/ 1074677 h 4749526"/>
              <a:gd name="connsiteX7082" fmla="*/ 1426831 w 7402822"/>
              <a:gd name="connsiteY7082" fmla="*/ 1071642 h 4749526"/>
              <a:gd name="connsiteX7083" fmla="*/ 1438974 w 7402822"/>
              <a:gd name="connsiteY7083" fmla="*/ 1065570 h 4749526"/>
              <a:gd name="connsiteX7084" fmla="*/ 1445046 w 7402822"/>
              <a:gd name="connsiteY7084" fmla="*/ 1062534 h 4749526"/>
              <a:gd name="connsiteX7085" fmla="*/ 1448082 w 7402822"/>
              <a:gd name="connsiteY7085" fmla="*/ 1059498 h 4749526"/>
              <a:gd name="connsiteX7086" fmla="*/ 1454153 w 7402822"/>
              <a:gd name="connsiteY7086" fmla="*/ 1062534 h 4749526"/>
              <a:gd name="connsiteX7087" fmla="*/ 1460225 w 7402822"/>
              <a:gd name="connsiteY7087" fmla="*/ 1065570 h 4749526"/>
              <a:gd name="connsiteX7088" fmla="*/ 1466297 w 7402822"/>
              <a:gd name="connsiteY7088" fmla="*/ 1080749 h 4749526"/>
              <a:gd name="connsiteX7089" fmla="*/ 1460225 w 7402822"/>
              <a:gd name="connsiteY7089" fmla="*/ 1098964 h 4749526"/>
              <a:gd name="connsiteX7090" fmla="*/ 1454153 w 7402822"/>
              <a:gd name="connsiteY7090" fmla="*/ 1101999 h 4749526"/>
              <a:gd name="connsiteX7091" fmla="*/ 1445046 w 7402822"/>
              <a:gd name="connsiteY7091" fmla="*/ 1108071 h 4749526"/>
              <a:gd name="connsiteX7092" fmla="*/ 1438974 w 7402822"/>
              <a:gd name="connsiteY7092" fmla="*/ 1120215 h 4749526"/>
              <a:gd name="connsiteX7093" fmla="*/ 1432902 w 7402822"/>
              <a:gd name="connsiteY7093" fmla="*/ 1126287 h 4749526"/>
              <a:gd name="connsiteX7094" fmla="*/ 1435938 w 7402822"/>
              <a:gd name="connsiteY7094" fmla="*/ 1135394 h 4749526"/>
              <a:gd name="connsiteX7095" fmla="*/ 1435938 w 7402822"/>
              <a:gd name="connsiteY7095" fmla="*/ 1129322 h 4749526"/>
              <a:gd name="connsiteX7096" fmla="*/ 1448082 w 7402822"/>
              <a:gd name="connsiteY7096" fmla="*/ 1123250 h 4749526"/>
              <a:gd name="connsiteX7097" fmla="*/ 1457188 w 7402822"/>
              <a:gd name="connsiteY7097" fmla="*/ 1126287 h 4749526"/>
              <a:gd name="connsiteX7098" fmla="*/ 1460225 w 7402822"/>
              <a:gd name="connsiteY7098" fmla="*/ 1135394 h 4749526"/>
              <a:gd name="connsiteX7099" fmla="*/ 1463260 w 7402822"/>
              <a:gd name="connsiteY7099" fmla="*/ 1153608 h 4749526"/>
              <a:gd name="connsiteX7100" fmla="*/ 1472368 w 7402822"/>
              <a:gd name="connsiteY7100" fmla="*/ 1144501 h 4749526"/>
              <a:gd name="connsiteX7101" fmla="*/ 1478439 w 7402822"/>
              <a:gd name="connsiteY7101" fmla="*/ 1159680 h 4749526"/>
              <a:gd name="connsiteX7102" fmla="*/ 1475404 w 7402822"/>
              <a:gd name="connsiteY7102" fmla="*/ 1177895 h 4749526"/>
              <a:gd name="connsiteX7103" fmla="*/ 1475404 w 7402822"/>
              <a:gd name="connsiteY7103" fmla="*/ 1187002 h 4749526"/>
              <a:gd name="connsiteX7104" fmla="*/ 1475404 w 7402822"/>
              <a:gd name="connsiteY7104" fmla="*/ 1199146 h 4749526"/>
              <a:gd name="connsiteX7105" fmla="*/ 1472368 w 7402822"/>
              <a:gd name="connsiteY7105" fmla="*/ 1208253 h 4749526"/>
              <a:gd name="connsiteX7106" fmla="*/ 1460225 w 7402822"/>
              <a:gd name="connsiteY7106" fmla="*/ 1217360 h 4749526"/>
              <a:gd name="connsiteX7107" fmla="*/ 1451117 w 7402822"/>
              <a:gd name="connsiteY7107" fmla="*/ 1220396 h 4749526"/>
              <a:gd name="connsiteX7108" fmla="*/ 1442009 w 7402822"/>
              <a:gd name="connsiteY7108" fmla="*/ 1229504 h 4749526"/>
              <a:gd name="connsiteX7109" fmla="*/ 1429867 w 7402822"/>
              <a:gd name="connsiteY7109" fmla="*/ 1241646 h 4749526"/>
              <a:gd name="connsiteX7110" fmla="*/ 1423795 w 7402822"/>
              <a:gd name="connsiteY7110" fmla="*/ 1235576 h 4749526"/>
              <a:gd name="connsiteX7111" fmla="*/ 1420759 w 7402822"/>
              <a:gd name="connsiteY7111" fmla="*/ 1235576 h 4749526"/>
              <a:gd name="connsiteX7112" fmla="*/ 1417723 w 7402822"/>
              <a:gd name="connsiteY7112" fmla="*/ 1232539 h 4749526"/>
              <a:gd name="connsiteX7113" fmla="*/ 1405580 w 7402822"/>
              <a:gd name="connsiteY7113" fmla="*/ 1208253 h 4749526"/>
              <a:gd name="connsiteX7114" fmla="*/ 1399508 w 7402822"/>
              <a:gd name="connsiteY7114" fmla="*/ 1202181 h 4749526"/>
              <a:gd name="connsiteX7115" fmla="*/ 1396473 w 7402822"/>
              <a:gd name="connsiteY7115" fmla="*/ 1196110 h 4749526"/>
              <a:gd name="connsiteX7116" fmla="*/ 1384329 w 7402822"/>
              <a:gd name="connsiteY7116" fmla="*/ 1180931 h 4749526"/>
              <a:gd name="connsiteX7117" fmla="*/ 1381294 w 7402822"/>
              <a:gd name="connsiteY7117" fmla="*/ 1180931 h 4749526"/>
              <a:gd name="connsiteX7118" fmla="*/ 1375222 w 7402822"/>
              <a:gd name="connsiteY7118" fmla="*/ 1174859 h 4749526"/>
              <a:gd name="connsiteX7119" fmla="*/ 1360043 w 7402822"/>
              <a:gd name="connsiteY7119" fmla="*/ 1165752 h 4749526"/>
              <a:gd name="connsiteX7120" fmla="*/ 1347899 w 7402822"/>
              <a:gd name="connsiteY7120" fmla="*/ 1150573 h 4749526"/>
              <a:gd name="connsiteX7121" fmla="*/ 1344864 w 7402822"/>
              <a:gd name="connsiteY7121" fmla="*/ 1141466 h 4749526"/>
              <a:gd name="connsiteX7122" fmla="*/ 1350936 w 7402822"/>
              <a:gd name="connsiteY7122" fmla="*/ 1126287 h 4749526"/>
              <a:gd name="connsiteX7123" fmla="*/ 1366115 w 7402822"/>
              <a:gd name="connsiteY7123" fmla="*/ 1126287 h 4749526"/>
              <a:gd name="connsiteX7124" fmla="*/ 1366115 w 7402822"/>
              <a:gd name="connsiteY7124" fmla="*/ 1129322 h 4749526"/>
              <a:gd name="connsiteX7125" fmla="*/ 1384329 w 7402822"/>
              <a:gd name="connsiteY7125" fmla="*/ 1147536 h 4749526"/>
              <a:gd name="connsiteX7126" fmla="*/ 1393436 w 7402822"/>
              <a:gd name="connsiteY7126" fmla="*/ 1144501 h 4749526"/>
              <a:gd name="connsiteX7127" fmla="*/ 1396473 w 7402822"/>
              <a:gd name="connsiteY7127" fmla="*/ 1138429 h 4749526"/>
              <a:gd name="connsiteX7128" fmla="*/ 1402544 w 7402822"/>
              <a:gd name="connsiteY7128" fmla="*/ 1129322 h 4749526"/>
              <a:gd name="connsiteX7129" fmla="*/ 1396473 w 7402822"/>
              <a:gd name="connsiteY7129" fmla="*/ 1117178 h 4749526"/>
              <a:gd name="connsiteX7130" fmla="*/ 1393436 w 7402822"/>
              <a:gd name="connsiteY7130" fmla="*/ 1120215 h 4749526"/>
              <a:gd name="connsiteX7131" fmla="*/ 1387365 w 7402822"/>
              <a:gd name="connsiteY7131" fmla="*/ 1108071 h 4749526"/>
              <a:gd name="connsiteX7132" fmla="*/ 1378257 w 7402822"/>
              <a:gd name="connsiteY7132" fmla="*/ 1101999 h 4749526"/>
              <a:gd name="connsiteX7133" fmla="*/ 1369151 w 7402822"/>
              <a:gd name="connsiteY7133" fmla="*/ 1089856 h 4749526"/>
              <a:gd name="connsiteX7134" fmla="*/ 1378257 w 7402822"/>
              <a:gd name="connsiteY7134" fmla="*/ 1074677 h 4749526"/>
              <a:gd name="connsiteX7135" fmla="*/ 1390401 w 7402822"/>
              <a:gd name="connsiteY7135" fmla="*/ 1062534 h 4749526"/>
              <a:gd name="connsiteX7136" fmla="*/ 1451117 w 7402822"/>
              <a:gd name="connsiteY7136" fmla="*/ 1047355 h 4749526"/>
              <a:gd name="connsiteX7137" fmla="*/ 1432902 w 7402822"/>
              <a:gd name="connsiteY7137" fmla="*/ 1065570 h 4749526"/>
              <a:gd name="connsiteX7138" fmla="*/ 1414687 w 7402822"/>
              <a:gd name="connsiteY7138" fmla="*/ 1062534 h 4749526"/>
              <a:gd name="connsiteX7139" fmla="*/ 1423795 w 7402822"/>
              <a:gd name="connsiteY7139" fmla="*/ 1053426 h 4749526"/>
              <a:gd name="connsiteX7140" fmla="*/ 1432902 w 7402822"/>
              <a:gd name="connsiteY7140" fmla="*/ 1050391 h 4749526"/>
              <a:gd name="connsiteX7141" fmla="*/ 1542190 w 7402822"/>
              <a:gd name="connsiteY7141" fmla="*/ 1041284 h 4749526"/>
              <a:gd name="connsiteX7142" fmla="*/ 1566477 w 7402822"/>
              <a:gd name="connsiteY7142" fmla="*/ 1056463 h 4749526"/>
              <a:gd name="connsiteX7143" fmla="*/ 1584692 w 7402822"/>
              <a:gd name="connsiteY7143" fmla="*/ 1053426 h 4749526"/>
              <a:gd name="connsiteX7144" fmla="*/ 1605943 w 7402822"/>
              <a:gd name="connsiteY7144" fmla="*/ 1059498 h 4749526"/>
              <a:gd name="connsiteX7145" fmla="*/ 1593799 w 7402822"/>
              <a:gd name="connsiteY7145" fmla="*/ 1086820 h 4749526"/>
              <a:gd name="connsiteX7146" fmla="*/ 1575584 w 7402822"/>
              <a:gd name="connsiteY7146" fmla="*/ 1123250 h 4749526"/>
              <a:gd name="connsiteX7147" fmla="*/ 1554334 w 7402822"/>
              <a:gd name="connsiteY7147" fmla="*/ 1144501 h 4749526"/>
              <a:gd name="connsiteX7148" fmla="*/ 1542190 w 7402822"/>
              <a:gd name="connsiteY7148" fmla="*/ 1141466 h 4749526"/>
              <a:gd name="connsiteX7149" fmla="*/ 1539154 w 7402822"/>
              <a:gd name="connsiteY7149" fmla="*/ 1141466 h 4749526"/>
              <a:gd name="connsiteX7150" fmla="*/ 1533083 w 7402822"/>
              <a:gd name="connsiteY7150" fmla="*/ 1141466 h 4749526"/>
              <a:gd name="connsiteX7151" fmla="*/ 1523976 w 7402822"/>
              <a:gd name="connsiteY7151" fmla="*/ 1141466 h 4749526"/>
              <a:gd name="connsiteX7152" fmla="*/ 1520940 w 7402822"/>
              <a:gd name="connsiteY7152" fmla="*/ 1141466 h 4749526"/>
              <a:gd name="connsiteX7153" fmla="*/ 1520940 w 7402822"/>
              <a:gd name="connsiteY7153" fmla="*/ 1147536 h 4749526"/>
              <a:gd name="connsiteX7154" fmla="*/ 1527011 w 7402822"/>
              <a:gd name="connsiteY7154" fmla="*/ 1147536 h 4749526"/>
              <a:gd name="connsiteX7155" fmla="*/ 1533083 w 7402822"/>
              <a:gd name="connsiteY7155" fmla="*/ 1153608 h 4749526"/>
              <a:gd name="connsiteX7156" fmla="*/ 1539154 w 7402822"/>
              <a:gd name="connsiteY7156" fmla="*/ 1162716 h 4749526"/>
              <a:gd name="connsiteX7157" fmla="*/ 1533083 w 7402822"/>
              <a:gd name="connsiteY7157" fmla="*/ 1174859 h 4749526"/>
              <a:gd name="connsiteX7158" fmla="*/ 1523976 w 7402822"/>
              <a:gd name="connsiteY7158" fmla="*/ 1190038 h 4749526"/>
              <a:gd name="connsiteX7159" fmla="*/ 1517904 w 7402822"/>
              <a:gd name="connsiteY7159" fmla="*/ 1193074 h 4749526"/>
              <a:gd name="connsiteX7160" fmla="*/ 1502725 w 7402822"/>
              <a:gd name="connsiteY7160" fmla="*/ 1196110 h 4749526"/>
              <a:gd name="connsiteX7161" fmla="*/ 1502725 w 7402822"/>
              <a:gd name="connsiteY7161" fmla="*/ 1174859 h 4749526"/>
              <a:gd name="connsiteX7162" fmla="*/ 1502725 w 7402822"/>
              <a:gd name="connsiteY7162" fmla="*/ 1159680 h 4749526"/>
              <a:gd name="connsiteX7163" fmla="*/ 1496654 w 7402822"/>
              <a:gd name="connsiteY7163" fmla="*/ 1147536 h 4749526"/>
              <a:gd name="connsiteX7164" fmla="*/ 1493617 w 7402822"/>
              <a:gd name="connsiteY7164" fmla="*/ 1147536 h 4749526"/>
              <a:gd name="connsiteX7165" fmla="*/ 1490582 w 7402822"/>
              <a:gd name="connsiteY7165" fmla="*/ 1108071 h 4749526"/>
              <a:gd name="connsiteX7166" fmla="*/ 1493617 w 7402822"/>
              <a:gd name="connsiteY7166" fmla="*/ 1071642 h 4749526"/>
              <a:gd name="connsiteX7167" fmla="*/ 1499689 w 7402822"/>
              <a:gd name="connsiteY7167" fmla="*/ 1062534 h 4749526"/>
              <a:gd name="connsiteX7168" fmla="*/ 1502725 w 7402822"/>
              <a:gd name="connsiteY7168" fmla="*/ 1053426 h 4749526"/>
              <a:gd name="connsiteX7169" fmla="*/ 1517904 w 7402822"/>
              <a:gd name="connsiteY7169" fmla="*/ 1044319 h 4749526"/>
              <a:gd name="connsiteX7170" fmla="*/ 6367611 w 7402822"/>
              <a:gd name="connsiteY7170" fmla="*/ 1032176 h 4749526"/>
              <a:gd name="connsiteX7171" fmla="*/ 6376719 w 7402822"/>
              <a:gd name="connsiteY7171" fmla="*/ 1050391 h 4749526"/>
              <a:gd name="connsiteX7172" fmla="*/ 6370647 w 7402822"/>
              <a:gd name="connsiteY7172" fmla="*/ 1056463 h 4749526"/>
              <a:gd name="connsiteX7173" fmla="*/ 6364576 w 7402822"/>
              <a:gd name="connsiteY7173" fmla="*/ 1059498 h 4749526"/>
              <a:gd name="connsiteX7174" fmla="*/ 6355469 w 7402822"/>
              <a:gd name="connsiteY7174" fmla="*/ 1041284 h 4749526"/>
              <a:gd name="connsiteX7175" fmla="*/ 3026704 w 7402822"/>
              <a:gd name="connsiteY7175" fmla="*/ 1023068 h 4749526"/>
              <a:gd name="connsiteX7176" fmla="*/ 3032774 w 7402822"/>
              <a:gd name="connsiteY7176" fmla="*/ 1023068 h 4749526"/>
              <a:gd name="connsiteX7177" fmla="*/ 3044918 w 7402822"/>
              <a:gd name="connsiteY7177" fmla="*/ 1029139 h 4749526"/>
              <a:gd name="connsiteX7178" fmla="*/ 3047953 w 7402822"/>
              <a:gd name="connsiteY7178" fmla="*/ 1041283 h 4749526"/>
              <a:gd name="connsiteX7179" fmla="*/ 3044918 w 7402822"/>
              <a:gd name="connsiteY7179" fmla="*/ 1047355 h 4749526"/>
              <a:gd name="connsiteX7180" fmla="*/ 3032774 w 7402822"/>
              <a:gd name="connsiteY7180" fmla="*/ 1050390 h 4749526"/>
              <a:gd name="connsiteX7181" fmla="*/ 3014560 w 7402822"/>
              <a:gd name="connsiteY7181" fmla="*/ 1041283 h 4749526"/>
              <a:gd name="connsiteX7182" fmla="*/ 3017595 w 7402822"/>
              <a:gd name="connsiteY7182" fmla="*/ 1029139 h 4749526"/>
              <a:gd name="connsiteX7183" fmla="*/ 944137 w 7402822"/>
              <a:gd name="connsiteY7183" fmla="*/ 1016996 h 4749526"/>
              <a:gd name="connsiteX7184" fmla="*/ 968424 w 7402822"/>
              <a:gd name="connsiteY7184" fmla="*/ 1016996 h 4749526"/>
              <a:gd name="connsiteX7185" fmla="*/ 998782 w 7402822"/>
              <a:gd name="connsiteY7185" fmla="*/ 1035212 h 4749526"/>
              <a:gd name="connsiteX7186" fmla="*/ 1023068 w 7402822"/>
              <a:gd name="connsiteY7186" fmla="*/ 1032176 h 4749526"/>
              <a:gd name="connsiteX7187" fmla="*/ 1047355 w 7402822"/>
              <a:gd name="connsiteY7187" fmla="*/ 1041284 h 4749526"/>
              <a:gd name="connsiteX7188" fmla="*/ 1074677 w 7402822"/>
              <a:gd name="connsiteY7188" fmla="*/ 1071642 h 4749526"/>
              <a:gd name="connsiteX7189" fmla="*/ 1083784 w 7402822"/>
              <a:gd name="connsiteY7189" fmla="*/ 1086820 h 4749526"/>
              <a:gd name="connsiteX7190" fmla="*/ 1077713 w 7402822"/>
              <a:gd name="connsiteY7190" fmla="*/ 1098964 h 4749526"/>
              <a:gd name="connsiteX7191" fmla="*/ 1056462 w 7402822"/>
              <a:gd name="connsiteY7191" fmla="*/ 1114143 h 4749526"/>
              <a:gd name="connsiteX7192" fmla="*/ 1023068 w 7402822"/>
              <a:gd name="connsiteY7192" fmla="*/ 1138429 h 4749526"/>
              <a:gd name="connsiteX7193" fmla="*/ 1013960 w 7402822"/>
              <a:gd name="connsiteY7193" fmla="*/ 1147536 h 4749526"/>
              <a:gd name="connsiteX7194" fmla="*/ 1007889 w 7402822"/>
              <a:gd name="connsiteY7194" fmla="*/ 1150573 h 4749526"/>
              <a:gd name="connsiteX7195" fmla="*/ 1004853 w 7402822"/>
              <a:gd name="connsiteY7195" fmla="*/ 1162716 h 4749526"/>
              <a:gd name="connsiteX7196" fmla="*/ 1004853 w 7402822"/>
              <a:gd name="connsiteY7196" fmla="*/ 1171823 h 4749526"/>
              <a:gd name="connsiteX7197" fmla="*/ 992710 w 7402822"/>
              <a:gd name="connsiteY7197" fmla="*/ 1180931 h 4749526"/>
              <a:gd name="connsiteX7198" fmla="*/ 983602 w 7402822"/>
              <a:gd name="connsiteY7198" fmla="*/ 1196110 h 4749526"/>
              <a:gd name="connsiteX7199" fmla="*/ 980566 w 7402822"/>
              <a:gd name="connsiteY7199" fmla="*/ 1208253 h 4749526"/>
              <a:gd name="connsiteX7200" fmla="*/ 980566 w 7402822"/>
              <a:gd name="connsiteY7200" fmla="*/ 1223432 h 4749526"/>
              <a:gd name="connsiteX7201" fmla="*/ 968424 w 7402822"/>
              <a:gd name="connsiteY7201" fmla="*/ 1232539 h 4749526"/>
              <a:gd name="connsiteX7202" fmla="*/ 956280 w 7402822"/>
              <a:gd name="connsiteY7202" fmla="*/ 1235576 h 4749526"/>
              <a:gd name="connsiteX7203" fmla="*/ 944137 w 7402822"/>
              <a:gd name="connsiteY7203" fmla="*/ 1241646 h 4749526"/>
              <a:gd name="connsiteX7204" fmla="*/ 922886 w 7402822"/>
              <a:gd name="connsiteY7204" fmla="*/ 1250755 h 4749526"/>
              <a:gd name="connsiteX7205" fmla="*/ 916815 w 7402822"/>
              <a:gd name="connsiteY7205" fmla="*/ 1232539 h 4749526"/>
              <a:gd name="connsiteX7206" fmla="*/ 907707 w 7402822"/>
              <a:gd name="connsiteY7206" fmla="*/ 1217360 h 4749526"/>
              <a:gd name="connsiteX7207" fmla="*/ 886456 w 7402822"/>
              <a:gd name="connsiteY7207" fmla="*/ 1202181 h 4749526"/>
              <a:gd name="connsiteX7208" fmla="*/ 871277 w 7402822"/>
              <a:gd name="connsiteY7208" fmla="*/ 1196110 h 4749526"/>
              <a:gd name="connsiteX7209" fmla="*/ 874313 w 7402822"/>
              <a:gd name="connsiteY7209" fmla="*/ 1177895 h 4749526"/>
              <a:gd name="connsiteX7210" fmla="*/ 877349 w 7402822"/>
              <a:gd name="connsiteY7210" fmla="*/ 1165752 h 4749526"/>
              <a:gd name="connsiteX7211" fmla="*/ 886456 w 7402822"/>
              <a:gd name="connsiteY7211" fmla="*/ 1156645 h 4749526"/>
              <a:gd name="connsiteX7212" fmla="*/ 889493 w 7402822"/>
              <a:gd name="connsiteY7212" fmla="*/ 1135394 h 4749526"/>
              <a:gd name="connsiteX7213" fmla="*/ 889493 w 7402822"/>
              <a:gd name="connsiteY7213" fmla="*/ 1123250 h 4749526"/>
              <a:gd name="connsiteX7214" fmla="*/ 889493 w 7402822"/>
              <a:gd name="connsiteY7214" fmla="*/ 1120215 h 4749526"/>
              <a:gd name="connsiteX7215" fmla="*/ 895564 w 7402822"/>
              <a:gd name="connsiteY7215" fmla="*/ 1105036 h 4749526"/>
              <a:gd name="connsiteX7216" fmla="*/ 907707 w 7402822"/>
              <a:gd name="connsiteY7216" fmla="*/ 1083785 h 4749526"/>
              <a:gd name="connsiteX7217" fmla="*/ 898600 w 7402822"/>
              <a:gd name="connsiteY7217" fmla="*/ 1050391 h 4749526"/>
              <a:gd name="connsiteX7218" fmla="*/ 892528 w 7402822"/>
              <a:gd name="connsiteY7218" fmla="*/ 1032176 h 4749526"/>
              <a:gd name="connsiteX7219" fmla="*/ 892528 w 7402822"/>
              <a:gd name="connsiteY7219" fmla="*/ 1026105 h 4749526"/>
              <a:gd name="connsiteX7220" fmla="*/ 919850 w 7402822"/>
              <a:gd name="connsiteY7220" fmla="*/ 1020033 h 4749526"/>
              <a:gd name="connsiteX7221" fmla="*/ 5778664 w 7402822"/>
              <a:gd name="connsiteY7221" fmla="*/ 1010925 h 4749526"/>
              <a:gd name="connsiteX7222" fmla="*/ 5790808 w 7402822"/>
              <a:gd name="connsiteY7222" fmla="*/ 1013960 h 4749526"/>
              <a:gd name="connsiteX7223" fmla="*/ 5802952 w 7402822"/>
              <a:gd name="connsiteY7223" fmla="*/ 1016995 h 4749526"/>
              <a:gd name="connsiteX7224" fmla="*/ 5805987 w 7402822"/>
              <a:gd name="connsiteY7224" fmla="*/ 1020032 h 4749526"/>
              <a:gd name="connsiteX7225" fmla="*/ 5802952 w 7402822"/>
              <a:gd name="connsiteY7225" fmla="*/ 1029139 h 4749526"/>
              <a:gd name="connsiteX7226" fmla="*/ 5793843 w 7402822"/>
              <a:gd name="connsiteY7226" fmla="*/ 1047354 h 4749526"/>
              <a:gd name="connsiteX7227" fmla="*/ 5769557 w 7402822"/>
              <a:gd name="connsiteY7227" fmla="*/ 1035211 h 4749526"/>
              <a:gd name="connsiteX7228" fmla="*/ 5766522 w 7402822"/>
              <a:gd name="connsiteY7228" fmla="*/ 1026104 h 4749526"/>
              <a:gd name="connsiteX7229" fmla="*/ 3057062 w 7402822"/>
              <a:gd name="connsiteY7229" fmla="*/ 974495 h 4749526"/>
              <a:gd name="connsiteX7230" fmla="*/ 3063133 w 7402822"/>
              <a:gd name="connsiteY7230" fmla="*/ 986638 h 4749526"/>
              <a:gd name="connsiteX7231" fmla="*/ 3060097 w 7402822"/>
              <a:gd name="connsiteY7231" fmla="*/ 992710 h 4749526"/>
              <a:gd name="connsiteX7232" fmla="*/ 3050990 w 7402822"/>
              <a:gd name="connsiteY7232" fmla="*/ 998782 h 4749526"/>
              <a:gd name="connsiteX7233" fmla="*/ 3044918 w 7402822"/>
              <a:gd name="connsiteY7233" fmla="*/ 992710 h 4749526"/>
              <a:gd name="connsiteX7234" fmla="*/ 3044918 w 7402822"/>
              <a:gd name="connsiteY7234" fmla="*/ 977531 h 4749526"/>
              <a:gd name="connsiteX7235" fmla="*/ 3096527 w 7402822"/>
              <a:gd name="connsiteY7235" fmla="*/ 944136 h 4749526"/>
              <a:gd name="connsiteX7236" fmla="*/ 3093491 w 7402822"/>
              <a:gd name="connsiteY7236" fmla="*/ 959315 h 4749526"/>
              <a:gd name="connsiteX7237" fmla="*/ 3099563 w 7402822"/>
              <a:gd name="connsiteY7237" fmla="*/ 968424 h 4749526"/>
              <a:gd name="connsiteX7238" fmla="*/ 3093491 w 7402822"/>
              <a:gd name="connsiteY7238" fmla="*/ 974495 h 4749526"/>
              <a:gd name="connsiteX7239" fmla="*/ 3084384 w 7402822"/>
              <a:gd name="connsiteY7239" fmla="*/ 977531 h 4749526"/>
              <a:gd name="connsiteX7240" fmla="*/ 3075276 w 7402822"/>
              <a:gd name="connsiteY7240" fmla="*/ 971459 h 4749526"/>
              <a:gd name="connsiteX7241" fmla="*/ 3084384 w 7402822"/>
              <a:gd name="connsiteY7241" fmla="*/ 947173 h 4749526"/>
              <a:gd name="connsiteX7242" fmla="*/ 1314505 w 7402822"/>
              <a:gd name="connsiteY7242" fmla="*/ 941102 h 4749526"/>
              <a:gd name="connsiteX7243" fmla="*/ 1329685 w 7402822"/>
              <a:gd name="connsiteY7243" fmla="*/ 962352 h 4749526"/>
              <a:gd name="connsiteX7244" fmla="*/ 1314505 w 7402822"/>
              <a:gd name="connsiteY7244" fmla="*/ 974496 h 4749526"/>
              <a:gd name="connsiteX7245" fmla="*/ 1302362 w 7402822"/>
              <a:gd name="connsiteY7245" fmla="*/ 965388 h 4749526"/>
              <a:gd name="connsiteX7246" fmla="*/ 5159360 w 7402822"/>
              <a:gd name="connsiteY7246" fmla="*/ 937458 h 4749526"/>
              <a:gd name="connsiteX7247" fmla="*/ 5159360 w 7402822"/>
              <a:gd name="connsiteY7247" fmla="*/ 956280 h 4749526"/>
              <a:gd name="connsiteX7248" fmla="*/ 5156323 w 7402822"/>
              <a:gd name="connsiteY7248" fmla="*/ 962351 h 4749526"/>
              <a:gd name="connsiteX7249" fmla="*/ 5147216 w 7402822"/>
              <a:gd name="connsiteY7249" fmla="*/ 947172 h 4749526"/>
              <a:gd name="connsiteX7250" fmla="*/ 5159360 w 7402822"/>
              <a:gd name="connsiteY7250" fmla="*/ 935029 h 4749526"/>
              <a:gd name="connsiteX7251" fmla="*/ 5162395 w 7402822"/>
              <a:gd name="connsiteY7251" fmla="*/ 935029 h 4749526"/>
              <a:gd name="connsiteX7252" fmla="*/ 5159360 w 7402822"/>
              <a:gd name="connsiteY7252" fmla="*/ 937458 h 4749526"/>
              <a:gd name="connsiteX7253" fmla="*/ 6489043 w 7402822"/>
              <a:gd name="connsiteY7253" fmla="*/ 928958 h 4749526"/>
              <a:gd name="connsiteX7254" fmla="*/ 6498151 w 7402822"/>
              <a:gd name="connsiteY7254" fmla="*/ 947173 h 4749526"/>
              <a:gd name="connsiteX7255" fmla="*/ 6501187 w 7402822"/>
              <a:gd name="connsiteY7255" fmla="*/ 947173 h 4749526"/>
              <a:gd name="connsiteX7256" fmla="*/ 6522437 w 7402822"/>
              <a:gd name="connsiteY7256" fmla="*/ 944137 h 4749526"/>
              <a:gd name="connsiteX7257" fmla="*/ 6528509 w 7402822"/>
              <a:gd name="connsiteY7257" fmla="*/ 953245 h 4749526"/>
              <a:gd name="connsiteX7258" fmla="*/ 6537617 w 7402822"/>
              <a:gd name="connsiteY7258" fmla="*/ 959316 h 4749526"/>
              <a:gd name="connsiteX7259" fmla="*/ 6546724 w 7402822"/>
              <a:gd name="connsiteY7259" fmla="*/ 953245 h 4749526"/>
              <a:gd name="connsiteX7260" fmla="*/ 6552796 w 7402822"/>
              <a:gd name="connsiteY7260" fmla="*/ 956281 h 4749526"/>
              <a:gd name="connsiteX7261" fmla="*/ 6574047 w 7402822"/>
              <a:gd name="connsiteY7261" fmla="*/ 965388 h 4749526"/>
              <a:gd name="connsiteX7262" fmla="*/ 6567975 w 7402822"/>
              <a:gd name="connsiteY7262" fmla="*/ 986639 h 4749526"/>
              <a:gd name="connsiteX7263" fmla="*/ 6519401 w 7402822"/>
              <a:gd name="connsiteY7263" fmla="*/ 989675 h 4749526"/>
              <a:gd name="connsiteX7264" fmla="*/ 6486007 w 7402822"/>
              <a:gd name="connsiteY7264" fmla="*/ 962352 h 4749526"/>
              <a:gd name="connsiteX7265" fmla="*/ 6479935 w 7402822"/>
              <a:gd name="connsiteY7265" fmla="*/ 956281 h 4749526"/>
              <a:gd name="connsiteX7266" fmla="*/ 1505762 w 7402822"/>
              <a:gd name="connsiteY7266" fmla="*/ 925923 h 4749526"/>
              <a:gd name="connsiteX7267" fmla="*/ 1530048 w 7402822"/>
              <a:gd name="connsiteY7267" fmla="*/ 944137 h 4749526"/>
              <a:gd name="connsiteX7268" fmla="*/ 1533084 w 7402822"/>
              <a:gd name="connsiteY7268" fmla="*/ 950209 h 4749526"/>
              <a:gd name="connsiteX7269" fmla="*/ 1539155 w 7402822"/>
              <a:gd name="connsiteY7269" fmla="*/ 965388 h 4749526"/>
              <a:gd name="connsiteX7270" fmla="*/ 1536119 w 7402822"/>
              <a:gd name="connsiteY7270" fmla="*/ 1001818 h 4749526"/>
              <a:gd name="connsiteX7271" fmla="*/ 1517905 w 7402822"/>
              <a:gd name="connsiteY7271" fmla="*/ 1004854 h 4749526"/>
              <a:gd name="connsiteX7272" fmla="*/ 1505762 w 7402822"/>
              <a:gd name="connsiteY7272" fmla="*/ 998782 h 4749526"/>
              <a:gd name="connsiteX7273" fmla="*/ 1493618 w 7402822"/>
              <a:gd name="connsiteY7273" fmla="*/ 989675 h 4749526"/>
              <a:gd name="connsiteX7274" fmla="*/ 1478439 w 7402822"/>
              <a:gd name="connsiteY7274" fmla="*/ 983603 h 4749526"/>
              <a:gd name="connsiteX7275" fmla="*/ 1472368 w 7402822"/>
              <a:gd name="connsiteY7275" fmla="*/ 968424 h 4749526"/>
              <a:gd name="connsiteX7276" fmla="*/ 1484511 w 7402822"/>
              <a:gd name="connsiteY7276" fmla="*/ 953245 h 4749526"/>
              <a:gd name="connsiteX7277" fmla="*/ 1487546 w 7402822"/>
              <a:gd name="connsiteY7277" fmla="*/ 938066 h 4749526"/>
              <a:gd name="connsiteX7278" fmla="*/ 1493618 w 7402822"/>
              <a:gd name="connsiteY7278" fmla="*/ 931995 h 4749526"/>
              <a:gd name="connsiteX7279" fmla="*/ 1481476 w 7402822"/>
              <a:gd name="connsiteY7279" fmla="*/ 925923 h 4749526"/>
              <a:gd name="connsiteX7280" fmla="*/ 1484511 w 7402822"/>
              <a:gd name="connsiteY7280" fmla="*/ 931995 h 4749526"/>
              <a:gd name="connsiteX7281" fmla="*/ 1478439 w 7402822"/>
              <a:gd name="connsiteY7281" fmla="*/ 941102 h 4749526"/>
              <a:gd name="connsiteX7282" fmla="*/ 1463260 w 7402822"/>
              <a:gd name="connsiteY7282" fmla="*/ 935030 h 4749526"/>
              <a:gd name="connsiteX7283" fmla="*/ 6264394 w 7402822"/>
              <a:gd name="connsiteY7283" fmla="*/ 910744 h 4749526"/>
              <a:gd name="connsiteX7284" fmla="*/ 6270465 w 7402822"/>
              <a:gd name="connsiteY7284" fmla="*/ 913779 h 4749526"/>
              <a:gd name="connsiteX7285" fmla="*/ 6273501 w 7402822"/>
              <a:gd name="connsiteY7285" fmla="*/ 925923 h 4749526"/>
              <a:gd name="connsiteX7286" fmla="*/ 6261357 w 7402822"/>
              <a:gd name="connsiteY7286" fmla="*/ 947173 h 4749526"/>
              <a:gd name="connsiteX7287" fmla="*/ 1514869 w 7402822"/>
              <a:gd name="connsiteY7287" fmla="*/ 895565 h 4749526"/>
              <a:gd name="connsiteX7288" fmla="*/ 1520941 w 7402822"/>
              <a:gd name="connsiteY7288" fmla="*/ 910744 h 4749526"/>
              <a:gd name="connsiteX7289" fmla="*/ 1514869 w 7402822"/>
              <a:gd name="connsiteY7289" fmla="*/ 913779 h 4749526"/>
              <a:gd name="connsiteX7290" fmla="*/ 1508797 w 7402822"/>
              <a:gd name="connsiteY7290" fmla="*/ 907707 h 4749526"/>
              <a:gd name="connsiteX7291" fmla="*/ 1511833 w 7402822"/>
              <a:gd name="connsiteY7291" fmla="*/ 898600 h 4749526"/>
              <a:gd name="connsiteX7292" fmla="*/ 1344864 w 7402822"/>
              <a:gd name="connsiteY7292" fmla="*/ 895565 h 4749526"/>
              <a:gd name="connsiteX7293" fmla="*/ 1360043 w 7402822"/>
              <a:gd name="connsiteY7293" fmla="*/ 895565 h 4749526"/>
              <a:gd name="connsiteX7294" fmla="*/ 1344864 w 7402822"/>
              <a:gd name="connsiteY7294" fmla="*/ 910744 h 4749526"/>
              <a:gd name="connsiteX7295" fmla="*/ 1332720 w 7402822"/>
              <a:gd name="connsiteY7295" fmla="*/ 910744 h 4749526"/>
              <a:gd name="connsiteX7296" fmla="*/ 1839700 w 7402822"/>
              <a:gd name="connsiteY7296" fmla="*/ 883421 h 4749526"/>
              <a:gd name="connsiteX7297" fmla="*/ 1827557 w 7402822"/>
              <a:gd name="connsiteY7297" fmla="*/ 907707 h 4749526"/>
              <a:gd name="connsiteX7298" fmla="*/ 1821485 w 7402822"/>
              <a:gd name="connsiteY7298" fmla="*/ 904672 h 4749526"/>
              <a:gd name="connsiteX7299" fmla="*/ 1038248 w 7402822"/>
              <a:gd name="connsiteY7299" fmla="*/ 883421 h 4749526"/>
              <a:gd name="connsiteX7300" fmla="*/ 1041283 w 7402822"/>
              <a:gd name="connsiteY7300" fmla="*/ 886457 h 4749526"/>
              <a:gd name="connsiteX7301" fmla="*/ 1032176 w 7402822"/>
              <a:gd name="connsiteY7301" fmla="*/ 916816 h 4749526"/>
              <a:gd name="connsiteX7302" fmla="*/ 1023068 w 7402822"/>
              <a:gd name="connsiteY7302" fmla="*/ 931995 h 4749526"/>
              <a:gd name="connsiteX7303" fmla="*/ 1013960 w 7402822"/>
              <a:gd name="connsiteY7303" fmla="*/ 935030 h 4749526"/>
              <a:gd name="connsiteX7304" fmla="*/ 1001817 w 7402822"/>
              <a:gd name="connsiteY7304" fmla="*/ 928958 h 4749526"/>
              <a:gd name="connsiteX7305" fmla="*/ 1007889 w 7402822"/>
              <a:gd name="connsiteY7305" fmla="*/ 916816 h 4749526"/>
              <a:gd name="connsiteX7306" fmla="*/ 1020032 w 7402822"/>
              <a:gd name="connsiteY7306" fmla="*/ 901636 h 4749526"/>
              <a:gd name="connsiteX7307" fmla="*/ 1032176 w 7402822"/>
              <a:gd name="connsiteY7307" fmla="*/ 889493 h 4749526"/>
              <a:gd name="connsiteX7308" fmla="*/ 1335756 w 7402822"/>
              <a:gd name="connsiteY7308" fmla="*/ 880386 h 4749526"/>
              <a:gd name="connsiteX7309" fmla="*/ 1350936 w 7402822"/>
              <a:gd name="connsiteY7309" fmla="*/ 880386 h 4749526"/>
              <a:gd name="connsiteX7310" fmla="*/ 1347899 w 7402822"/>
              <a:gd name="connsiteY7310" fmla="*/ 886457 h 4749526"/>
              <a:gd name="connsiteX7311" fmla="*/ 1338792 w 7402822"/>
              <a:gd name="connsiteY7311" fmla="*/ 889493 h 4749526"/>
              <a:gd name="connsiteX7312" fmla="*/ 1326649 w 7402822"/>
              <a:gd name="connsiteY7312" fmla="*/ 895565 h 4749526"/>
              <a:gd name="connsiteX7313" fmla="*/ 1317542 w 7402822"/>
              <a:gd name="connsiteY7313" fmla="*/ 889493 h 4749526"/>
              <a:gd name="connsiteX7314" fmla="*/ 6325111 w 7402822"/>
              <a:gd name="connsiteY7314" fmla="*/ 877349 h 4749526"/>
              <a:gd name="connsiteX7315" fmla="*/ 6334217 w 7402822"/>
              <a:gd name="connsiteY7315" fmla="*/ 877349 h 4749526"/>
              <a:gd name="connsiteX7316" fmla="*/ 6355469 w 7402822"/>
              <a:gd name="connsiteY7316" fmla="*/ 913779 h 4749526"/>
              <a:gd name="connsiteX7317" fmla="*/ 6376719 w 7402822"/>
              <a:gd name="connsiteY7317" fmla="*/ 922886 h 4749526"/>
              <a:gd name="connsiteX7318" fmla="*/ 6373683 w 7402822"/>
              <a:gd name="connsiteY7318" fmla="*/ 901636 h 4749526"/>
              <a:gd name="connsiteX7319" fmla="*/ 6376719 w 7402822"/>
              <a:gd name="connsiteY7319" fmla="*/ 886457 h 4749526"/>
              <a:gd name="connsiteX7320" fmla="*/ 6385825 w 7402822"/>
              <a:gd name="connsiteY7320" fmla="*/ 880386 h 4749526"/>
              <a:gd name="connsiteX7321" fmla="*/ 6394934 w 7402822"/>
              <a:gd name="connsiteY7321" fmla="*/ 889493 h 4749526"/>
              <a:gd name="connsiteX7322" fmla="*/ 6404041 w 7402822"/>
              <a:gd name="connsiteY7322" fmla="*/ 898600 h 4749526"/>
              <a:gd name="connsiteX7323" fmla="*/ 6407077 w 7402822"/>
              <a:gd name="connsiteY7323" fmla="*/ 904672 h 4749526"/>
              <a:gd name="connsiteX7324" fmla="*/ 6425291 w 7402822"/>
              <a:gd name="connsiteY7324" fmla="*/ 907707 h 4749526"/>
              <a:gd name="connsiteX7325" fmla="*/ 6434399 w 7402822"/>
              <a:gd name="connsiteY7325" fmla="*/ 907707 h 4749526"/>
              <a:gd name="connsiteX7326" fmla="*/ 6461721 w 7402822"/>
              <a:gd name="connsiteY7326" fmla="*/ 935030 h 4749526"/>
              <a:gd name="connsiteX7327" fmla="*/ 6452614 w 7402822"/>
              <a:gd name="connsiteY7327" fmla="*/ 962352 h 4749526"/>
              <a:gd name="connsiteX7328" fmla="*/ 6440471 w 7402822"/>
              <a:gd name="connsiteY7328" fmla="*/ 974496 h 4749526"/>
              <a:gd name="connsiteX7329" fmla="*/ 6431363 w 7402822"/>
              <a:gd name="connsiteY7329" fmla="*/ 980567 h 4749526"/>
              <a:gd name="connsiteX7330" fmla="*/ 6410112 w 7402822"/>
              <a:gd name="connsiteY7330" fmla="*/ 989675 h 4749526"/>
              <a:gd name="connsiteX7331" fmla="*/ 6401005 w 7402822"/>
              <a:gd name="connsiteY7331" fmla="*/ 989675 h 4749526"/>
              <a:gd name="connsiteX7332" fmla="*/ 6394934 w 7402822"/>
              <a:gd name="connsiteY7332" fmla="*/ 983603 h 4749526"/>
              <a:gd name="connsiteX7333" fmla="*/ 6397969 w 7402822"/>
              <a:gd name="connsiteY7333" fmla="*/ 980567 h 4749526"/>
              <a:gd name="connsiteX7334" fmla="*/ 6352432 w 7402822"/>
              <a:gd name="connsiteY7334" fmla="*/ 992710 h 4749526"/>
              <a:gd name="connsiteX7335" fmla="*/ 6355469 w 7402822"/>
              <a:gd name="connsiteY7335" fmla="*/ 989675 h 4749526"/>
              <a:gd name="connsiteX7336" fmla="*/ 6346361 w 7402822"/>
              <a:gd name="connsiteY7336" fmla="*/ 986639 h 4749526"/>
              <a:gd name="connsiteX7337" fmla="*/ 6316002 w 7402822"/>
              <a:gd name="connsiteY7337" fmla="*/ 995746 h 4749526"/>
              <a:gd name="connsiteX7338" fmla="*/ 6303859 w 7402822"/>
              <a:gd name="connsiteY7338" fmla="*/ 977531 h 4749526"/>
              <a:gd name="connsiteX7339" fmla="*/ 6288681 w 7402822"/>
              <a:gd name="connsiteY7339" fmla="*/ 947173 h 4749526"/>
              <a:gd name="connsiteX7340" fmla="*/ 6297787 w 7402822"/>
              <a:gd name="connsiteY7340" fmla="*/ 950209 h 4749526"/>
              <a:gd name="connsiteX7341" fmla="*/ 6294752 w 7402822"/>
              <a:gd name="connsiteY7341" fmla="*/ 922886 h 4749526"/>
              <a:gd name="connsiteX7342" fmla="*/ 6294752 w 7402822"/>
              <a:gd name="connsiteY7342" fmla="*/ 913779 h 4749526"/>
              <a:gd name="connsiteX7343" fmla="*/ 6300823 w 7402822"/>
              <a:gd name="connsiteY7343" fmla="*/ 898600 h 4749526"/>
              <a:gd name="connsiteX7344" fmla="*/ 6312967 w 7402822"/>
              <a:gd name="connsiteY7344" fmla="*/ 886457 h 4749526"/>
              <a:gd name="connsiteX7345" fmla="*/ 5447762 w 7402822"/>
              <a:gd name="connsiteY7345" fmla="*/ 862170 h 4749526"/>
              <a:gd name="connsiteX7346" fmla="*/ 5459904 w 7402822"/>
              <a:gd name="connsiteY7346" fmla="*/ 868241 h 4749526"/>
              <a:gd name="connsiteX7347" fmla="*/ 5444725 w 7402822"/>
              <a:gd name="connsiteY7347" fmla="*/ 877348 h 4749526"/>
              <a:gd name="connsiteX7348" fmla="*/ 5432583 w 7402822"/>
              <a:gd name="connsiteY7348" fmla="*/ 871277 h 4749526"/>
              <a:gd name="connsiteX7349" fmla="*/ 5435618 w 7402822"/>
              <a:gd name="connsiteY7349" fmla="*/ 865205 h 4749526"/>
              <a:gd name="connsiteX7350" fmla="*/ 1326649 w 7402822"/>
              <a:gd name="connsiteY7350" fmla="*/ 856099 h 4749526"/>
              <a:gd name="connsiteX7351" fmla="*/ 1344864 w 7402822"/>
              <a:gd name="connsiteY7351" fmla="*/ 856099 h 4749526"/>
              <a:gd name="connsiteX7352" fmla="*/ 1344864 w 7402822"/>
              <a:gd name="connsiteY7352" fmla="*/ 868242 h 4749526"/>
              <a:gd name="connsiteX7353" fmla="*/ 1341828 w 7402822"/>
              <a:gd name="connsiteY7353" fmla="*/ 874314 h 4749526"/>
              <a:gd name="connsiteX7354" fmla="*/ 1329685 w 7402822"/>
              <a:gd name="connsiteY7354" fmla="*/ 877350 h 4749526"/>
              <a:gd name="connsiteX7355" fmla="*/ 1317542 w 7402822"/>
              <a:gd name="connsiteY7355" fmla="*/ 877350 h 4749526"/>
              <a:gd name="connsiteX7356" fmla="*/ 1305398 w 7402822"/>
              <a:gd name="connsiteY7356" fmla="*/ 868242 h 4749526"/>
              <a:gd name="connsiteX7357" fmla="*/ 1314505 w 7402822"/>
              <a:gd name="connsiteY7357" fmla="*/ 859135 h 4749526"/>
              <a:gd name="connsiteX7358" fmla="*/ 1393436 w 7402822"/>
              <a:gd name="connsiteY7358" fmla="*/ 840920 h 4749526"/>
              <a:gd name="connsiteX7359" fmla="*/ 1405580 w 7402822"/>
              <a:gd name="connsiteY7359" fmla="*/ 840920 h 4749526"/>
              <a:gd name="connsiteX7360" fmla="*/ 1417723 w 7402822"/>
              <a:gd name="connsiteY7360" fmla="*/ 850027 h 4749526"/>
              <a:gd name="connsiteX7361" fmla="*/ 1420759 w 7402822"/>
              <a:gd name="connsiteY7361" fmla="*/ 859135 h 4749526"/>
              <a:gd name="connsiteX7362" fmla="*/ 1420759 w 7402822"/>
              <a:gd name="connsiteY7362" fmla="*/ 840920 h 4749526"/>
              <a:gd name="connsiteX7363" fmla="*/ 1448082 w 7402822"/>
              <a:gd name="connsiteY7363" fmla="*/ 846992 h 4749526"/>
              <a:gd name="connsiteX7364" fmla="*/ 1451117 w 7402822"/>
              <a:gd name="connsiteY7364" fmla="*/ 853063 h 4749526"/>
              <a:gd name="connsiteX7365" fmla="*/ 1454153 w 7402822"/>
              <a:gd name="connsiteY7365" fmla="*/ 880386 h 4749526"/>
              <a:gd name="connsiteX7366" fmla="*/ 1451117 w 7402822"/>
              <a:gd name="connsiteY7366" fmla="*/ 895565 h 4749526"/>
              <a:gd name="connsiteX7367" fmla="*/ 1448082 w 7402822"/>
              <a:gd name="connsiteY7367" fmla="*/ 913779 h 4749526"/>
              <a:gd name="connsiteX7368" fmla="*/ 1445046 w 7402822"/>
              <a:gd name="connsiteY7368" fmla="*/ 965388 h 4749526"/>
              <a:gd name="connsiteX7369" fmla="*/ 1442009 w 7402822"/>
              <a:gd name="connsiteY7369" fmla="*/ 974496 h 4749526"/>
              <a:gd name="connsiteX7370" fmla="*/ 1420759 w 7402822"/>
              <a:gd name="connsiteY7370" fmla="*/ 977531 h 4749526"/>
              <a:gd name="connsiteX7371" fmla="*/ 1399508 w 7402822"/>
              <a:gd name="connsiteY7371" fmla="*/ 977531 h 4749526"/>
              <a:gd name="connsiteX7372" fmla="*/ 1393436 w 7402822"/>
              <a:gd name="connsiteY7372" fmla="*/ 965388 h 4749526"/>
              <a:gd name="connsiteX7373" fmla="*/ 1390401 w 7402822"/>
              <a:gd name="connsiteY7373" fmla="*/ 953245 h 4749526"/>
              <a:gd name="connsiteX7374" fmla="*/ 1387365 w 7402822"/>
              <a:gd name="connsiteY7374" fmla="*/ 947173 h 4749526"/>
              <a:gd name="connsiteX7375" fmla="*/ 1390401 w 7402822"/>
              <a:gd name="connsiteY7375" fmla="*/ 941102 h 4749526"/>
              <a:gd name="connsiteX7376" fmla="*/ 1384329 w 7402822"/>
              <a:gd name="connsiteY7376" fmla="*/ 925923 h 4749526"/>
              <a:gd name="connsiteX7377" fmla="*/ 1378257 w 7402822"/>
              <a:gd name="connsiteY7377" fmla="*/ 928958 h 4749526"/>
              <a:gd name="connsiteX7378" fmla="*/ 1366115 w 7402822"/>
              <a:gd name="connsiteY7378" fmla="*/ 928958 h 4749526"/>
              <a:gd name="connsiteX7379" fmla="*/ 1350936 w 7402822"/>
              <a:gd name="connsiteY7379" fmla="*/ 935030 h 4749526"/>
              <a:gd name="connsiteX7380" fmla="*/ 1341828 w 7402822"/>
              <a:gd name="connsiteY7380" fmla="*/ 925923 h 4749526"/>
              <a:gd name="connsiteX7381" fmla="*/ 1357007 w 7402822"/>
              <a:gd name="connsiteY7381" fmla="*/ 904672 h 4749526"/>
              <a:gd name="connsiteX7382" fmla="*/ 1369151 w 7402822"/>
              <a:gd name="connsiteY7382" fmla="*/ 907707 h 4749526"/>
              <a:gd name="connsiteX7383" fmla="*/ 1366115 w 7402822"/>
              <a:gd name="connsiteY7383" fmla="*/ 880386 h 4749526"/>
              <a:gd name="connsiteX7384" fmla="*/ 1357007 w 7402822"/>
              <a:gd name="connsiteY7384" fmla="*/ 874314 h 4749526"/>
              <a:gd name="connsiteX7385" fmla="*/ 1363079 w 7402822"/>
              <a:gd name="connsiteY7385" fmla="*/ 856099 h 4749526"/>
              <a:gd name="connsiteX7386" fmla="*/ 1369151 w 7402822"/>
              <a:gd name="connsiteY7386" fmla="*/ 856099 h 4749526"/>
              <a:gd name="connsiteX7387" fmla="*/ 1375222 w 7402822"/>
              <a:gd name="connsiteY7387" fmla="*/ 856099 h 4749526"/>
              <a:gd name="connsiteX7388" fmla="*/ 1381294 w 7402822"/>
              <a:gd name="connsiteY7388" fmla="*/ 850027 h 4749526"/>
              <a:gd name="connsiteX7389" fmla="*/ 1387365 w 7402822"/>
              <a:gd name="connsiteY7389" fmla="*/ 846992 h 4749526"/>
              <a:gd name="connsiteX7390" fmla="*/ 3075276 w 7402822"/>
              <a:gd name="connsiteY7390" fmla="*/ 828776 h 4749526"/>
              <a:gd name="connsiteX7391" fmla="*/ 3081348 w 7402822"/>
              <a:gd name="connsiteY7391" fmla="*/ 837884 h 4749526"/>
              <a:gd name="connsiteX7392" fmla="*/ 3081348 w 7402822"/>
              <a:gd name="connsiteY7392" fmla="*/ 868242 h 4749526"/>
              <a:gd name="connsiteX7393" fmla="*/ 3084384 w 7402822"/>
              <a:gd name="connsiteY7393" fmla="*/ 895564 h 4749526"/>
              <a:gd name="connsiteX7394" fmla="*/ 3081348 w 7402822"/>
              <a:gd name="connsiteY7394" fmla="*/ 901635 h 4749526"/>
              <a:gd name="connsiteX7395" fmla="*/ 3075276 w 7402822"/>
              <a:gd name="connsiteY7395" fmla="*/ 871277 h 4749526"/>
              <a:gd name="connsiteX7396" fmla="*/ 3072241 w 7402822"/>
              <a:gd name="connsiteY7396" fmla="*/ 850026 h 4749526"/>
              <a:gd name="connsiteX7397" fmla="*/ 1396473 w 7402822"/>
              <a:gd name="connsiteY7397" fmla="*/ 828776 h 4749526"/>
              <a:gd name="connsiteX7398" fmla="*/ 1396473 w 7402822"/>
              <a:gd name="connsiteY7398" fmla="*/ 831813 h 4749526"/>
              <a:gd name="connsiteX7399" fmla="*/ 1366115 w 7402822"/>
              <a:gd name="connsiteY7399" fmla="*/ 843956 h 4749526"/>
              <a:gd name="connsiteX7400" fmla="*/ 1314505 w 7402822"/>
              <a:gd name="connsiteY7400" fmla="*/ 822705 h 4749526"/>
              <a:gd name="connsiteX7401" fmla="*/ 1335756 w 7402822"/>
              <a:gd name="connsiteY7401" fmla="*/ 837884 h 4749526"/>
              <a:gd name="connsiteX7402" fmla="*/ 1335756 w 7402822"/>
              <a:gd name="connsiteY7402" fmla="*/ 846992 h 4749526"/>
              <a:gd name="connsiteX7403" fmla="*/ 1326649 w 7402822"/>
              <a:gd name="connsiteY7403" fmla="*/ 853063 h 4749526"/>
              <a:gd name="connsiteX7404" fmla="*/ 1317542 w 7402822"/>
              <a:gd name="connsiteY7404" fmla="*/ 853063 h 4749526"/>
              <a:gd name="connsiteX7405" fmla="*/ 1308434 w 7402822"/>
              <a:gd name="connsiteY7405" fmla="*/ 850027 h 4749526"/>
              <a:gd name="connsiteX7406" fmla="*/ 1305398 w 7402822"/>
              <a:gd name="connsiteY7406" fmla="*/ 825741 h 4749526"/>
              <a:gd name="connsiteX7407" fmla="*/ 1214324 w 7402822"/>
              <a:gd name="connsiteY7407" fmla="*/ 822705 h 4749526"/>
              <a:gd name="connsiteX7408" fmla="*/ 1223431 w 7402822"/>
              <a:gd name="connsiteY7408" fmla="*/ 822705 h 4749526"/>
              <a:gd name="connsiteX7409" fmla="*/ 1226467 w 7402822"/>
              <a:gd name="connsiteY7409" fmla="*/ 837884 h 4749526"/>
              <a:gd name="connsiteX7410" fmla="*/ 1226467 w 7402822"/>
              <a:gd name="connsiteY7410" fmla="*/ 859135 h 4749526"/>
              <a:gd name="connsiteX7411" fmla="*/ 1235575 w 7402822"/>
              <a:gd name="connsiteY7411" fmla="*/ 877350 h 4749526"/>
              <a:gd name="connsiteX7412" fmla="*/ 1244682 w 7402822"/>
              <a:gd name="connsiteY7412" fmla="*/ 895565 h 4749526"/>
              <a:gd name="connsiteX7413" fmla="*/ 1259861 w 7402822"/>
              <a:gd name="connsiteY7413" fmla="*/ 898600 h 4749526"/>
              <a:gd name="connsiteX7414" fmla="*/ 1272005 w 7402822"/>
              <a:gd name="connsiteY7414" fmla="*/ 889493 h 4749526"/>
              <a:gd name="connsiteX7415" fmla="*/ 1290219 w 7402822"/>
              <a:gd name="connsiteY7415" fmla="*/ 913779 h 4749526"/>
              <a:gd name="connsiteX7416" fmla="*/ 1290219 w 7402822"/>
              <a:gd name="connsiteY7416" fmla="*/ 931995 h 4749526"/>
              <a:gd name="connsiteX7417" fmla="*/ 1284147 w 7402822"/>
              <a:gd name="connsiteY7417" fmla="*/ 950209 h 4749526"/>
              <a:gd name="connsiteX7418" fmla="*/ 1278075 w 7402822"/>
              <a:gd name="connsiteY7418" fmla="*/ 968424 h 4749526"/>
              <a:gd name="connsiteX7419" fmla="*/ 1272005 w 7402822"/>
              <a:gd name="connsiteY7419" fmla="*/ 974496 h 4749526"/>
              <a:gd name="connsiteX7420" fmla="*/ 1250754 w 7402822"/>
              <a:gd name="connsiteY7420" fmla="*/ 983603 h 4749526"/>
              <a:gd name="connsiteX7421" fmla="*/ 1244682 w 7402822"/>
              <a:gd name="connsiteY7421" fmla="*/ 977531 h 4749526"/>
              <a:gd name="connsiteX7422" fmla="*/ 1229503 w 7402822"/>
              <a:gd name="connsiteY7422" fmla="*/ 983603 h 4749526"/>
              <a:gd name="connsiteX7423" fmla="*/ 1223431 w 7402822"/>
              <a:gd name="connsiteY7423" fmla="*/ 971460 h 4749526"/>
              <a:gd name="connsiteX7424" fmla="*/ 1214324 w 7402822"/>
              <a:gd name="connsiteY7424" fmla="*/ 977531 h 4749526"/>
              <a:gd name="connsiteX7425" fmla="*/ 1205216 w 7402822"/>
              <a:gd name="connsiteY7425" fmla="*/ 986639 h 4749526"/>
              <a:gd name="connsiteX7426" fmla="*/ 1193073 w 7402822"/>
              <a:gd name="connsiteY7426" fmla="*/ 989675 h 4749526"/>
              <a:gd name="connsiteX7427" fmla="*/ 1187002 w 7402822"/>
              <a:gd name="connsiteY7427" fmla="*/ 992710 h 4749526"/>
              <a:gd name="connsiteX7428" fmla="*/ 1180930 w 7402822"/>
              <a:gd name="connsiteY7428" fmla="*/ 1001818 h 4749526"/>
              <a:gd name="connsiteX7429" fmla="*/ 1165751 w 7402822"/>
              <a:gd name="connsiteY7429" fmla="*/ 1010926 h 4749526"/>
              <a:gd name="connsiteX7430" fmla="*/ 1141465 w 7402822"/>
              <a:gd name="connsiteY7430" fmla="*/ 1023068 h 4749526"/>
              <a:gd name="connsiteX7431" fmla="*/ 1117178 w 7402822"/>
              <a:gd name="connsiteY7431" fmla="*/ 1016996 h 4749526"/>
              <a:gd name="connsiteX7432" fmla="*/ 1108071 w 7402822"/>
              <a:gd name="connsiteY7432" fmla="*/ 1004854 h 4749526"/>
              <a:gd name="connsiteX7433" fmla="*/ 1101999 w 7402822"/>
              <a:gd name="connsiteY7433" fmla="*/ 986639 h 4749526"/>
              <a:gd name="connsiteX7434" fmla="*/ 1095927 w 7402822"/>
              <a:gd name="connsiteY7434" fmla="*/ 977531 h 4749526"/>
              <a:gd name="connsiteX7435" fmla="*/ 1086820 w 7402822"/>
              <a:gd name="connsiteY7435" fmla="*/ 977531 h 4749526"/>
              <a:gd name="connsiteX7436" fmla="*/ 1080748 w 7402822"/>
              <a:gd name="connsiteY7436" fmla="*/ 974496 h 4749526"/>
              <a:gd name="connsiteX7437" fmla="*/ 1077713 w 7402822"/>
              <a:gd name="connsiteY7437" fmla="*/ 977531 h 4749526"/>
              <a:gd name="connsiteX7438" fmla="*/ 1068606 w 7402822"/>
              <a:gd name="connsiteY7438" fmla="*/ 968424 h 4749526"/>
              <a:gd name="connsiteX7439" fmla="*/ 1059497 w 7402822"/>
              <a:gd name="connsiteY7439" fmla="*/ 965388 h 4749526"/>
              <a:gd name="connsiteX7440" fmla="*/ 1041283 w 7402822"/>
              <a:gd name="connsiteY7440" fmla="*/ 959316 h 4749526"/>
              <a:gd name="connsiteX7441" fmla="*/ 1041283 w 7402822"/>
              <a:gd name="connsiteY7441" fmla="*/ 947173 h 4749526"/>
              <a:gd name="connsiteX7442" fmla="*/ 1044319 w 7402822"/>
              <a:gd name="connsiteY7442" fmla="*/ 941102 h 4749526"/>
              <a:gd name="connsiteX7443" fmla="*/ 1047355 w 7402822"/>
              <a:gd name="connsiteY7443" fmla="*/ 928958 h 4749526"/>
              <a:gd name="connsiteX7444" fmla="*/ 1053427 w 7402822"/>
              <a:gd name="connsiteY7444" fmla="*/ 913779 h 4749526"/>
              <a:gd name="connsiteX7445" fmla="*/ 1056462 w 7402822"/>
              <a:gd name="connsiteY7445" fmla="*/ 904672 h 4749526"/>
              <a:gd name="connsiteX7446" fmla="*/ 1059497 w 7402822"/>
              <a:gd name="connsiteY7446" fmla="*/ 883421 h 4749526"/>
              <a:gd name="connsiteX7447" fmla="*/ 1065569 w 7402822"/>
              <a:gd name="connsiteY7447" fmla="*/ 877350 h 4749526"/>
              <a:gd name="connsiteX7448" fmla="*/ 1074677 w 7402822"/>
              <a:gd name="connsiteY7448" fmla="*/ 865206 h 4749526"/>
              <a:gd name="connsiteX7449" fmla="*/ 1083784 w 7402822"/>
              <a:gd name="connsiteY7449" fmla="*/ 853063 h 4749526"/>
              <a:gd name="connsiteX7450" fmla="*/ 1111107 w 7402822"/>
              <a:gd name="connsiteY7450" fmla="*/ 853063 h 4749526"/>
              <a:gd name="connsiteX7451" fmla="*/ 1111107 w 7402822"/>
              <a:gd name="connsiteY7451" fmla="*/ 859135 h 4749526"/>
              <a:gd name="connsiteX7452" fmla="*/ 1111107 w 7402822"/>
              <a:gd name="connsiteY7452" fmla="*/ 868242 h 4749526"/>
              <a:gd name="connsiteX7453" fmla="*/ 1114142 w 7402822"/>
              <a:gd name="connsiteY7453" fmla="*/ 877350 h 4749526"/>
              <a:gd name="connsiteX7454" fmla="*/ 1123249 w 7402822"/>
              <a:gd name="connsiteY7454" fmla="*/ 874314 h 4749526"/>
              <a:gd name="connsiteX7455" fmla="*/ 1147536 w 7402822"/>
              <a:gd name="connsiteY7455" fmla="*/ 883421 h 4749526"/>
              <a:gd name="connsiteX7456" fmla="*/ 1159679 w 7402822"/>
              <a:gd name="connsiteY7456" fmla="*/ 901636 h 4749526"/>
              <a:gd name="connsiteX7457" fmla="*/ 1165751 w 7402822"/>
              <a:gd name="connsiteY7457" fmla="*/ 919851 h 4749526"/>
              <a:gd name="connsiteX7458" fmla="*/ 1168787 w 7402822"/>
              <a:gd name="connsiteY7458" fmla="*/ 928958 h 4749526"/>
              <a:gd name="connsiteX7459" fmla="*/ 1177894 w 7402822"/>
              <a:gd name="connsiteY7459" fmla="*/ 931995 h 4749526"/>
              <a:gd name="connsiteX7460" fmla="*/ 1183965 w 7402822"/>
              <a:gd name="connsiteY7460" fmla="*/ 928958 h 4749526"/>
              <a:gd name="connsiteX7461" fmla="*/ 1187002 w 7402822"/>
              <a:gd name="connsiteY7461" fmla="*/ 931995 h 4749526"/>
              <a:gd name="connsiteX7462" fmla="*/ 1211288 w 7402822"/>
              <a:gd name="connsiteY7462" fmla="*/ 935030 h 4749526"/>
              <a:gd name="connsiteX7463" fmla="*/ 1220396 w 7402822"/>
              <a:gd name="connsiteY7463" fmla="*/ 935030 h 4749526"/>
              <a:gd name="connsiteX7464" fmla="*/ 1220396 w 7402822"/>
              <a:gd name="connsiteY7464" fmla="*/ 919851 h 4749526"/>
              <a:gd name="connsiteX7465" fmla="*/ 1214324 w 7402822"/>
              <a:gd name="connsiteY7465" fmla="*/ 913779 h 4749526"/>
              <a:gd name="connsiteX7466" fmla="*/ 1196109 w 7402822"/>
              <a:gd name="connsiteY7466" fmla="*/ 901636 h 4749526"/>
              <a:gd name="connsiteX7467" fmla="*/ 1202181 w 7402822"/>
              <a:gd name="connsiteY7467" fmla="*/ 898600 h 4749526"/>
              <a:gd name="connsiteX7468" fmla="*/ 1211288 w 7402822"/>
              <a:gd name="connsiteY7468" fmla="*/ 886457 h 4749526"/>
              <a:gd name="connsiteX7469" fmla="*/ 1199145 w 7402822"/>
              <a:gd name="connsiteY7469" fmla="*/ 874314 h 4749526"/>
              <a:gd name="connsiteX7470" fmla="*/ 1199145 w 7402822"/>
              <a:gd name="connsiteY7470" fmla="*/ 850027 h 4749526"/>
              <a:gd name="connsiteX7471" fmla="*/ 1205216 w 7402822"/>
              <a:gd name="connsiteY7471" fmla="*/ 834848 h 4749526"/>
              <a:gd name="connsiteX7472" fmla="*/ 1608979 w 7402822"/>
              <a:gd name="connsiteY7472" fmla="*/ 819669 h 4749526"/>
              <a:gd name="connsiteX7473" fmla="*/ 1615051 w 7402822"/>
              <a:gd name="connsiteY7473" fmla="*/ 828776 h 4749526"/>
              <a:gd name="connsiteX7474" fmla="*/ 1615051 w 7402822"/>
              <a:gd name="connsiteY7474" fmla="*/ 850027 h 4749526"/>
              <a:gd name="connsiteX7475" fmla="*/ 1605944 w 7402822"/>
              <a:gd name="connsiteY7475" fmla="*/ 846992 h 4749526"/>
              <a:gd name="connsiteX7476" fmla="*/ 1599872 w 7402822"/>
              <a:gd name="connsiteY7476" fmla="*/ 834848 h 4749526"/>
              <a:gd name="connsiteX7477" fmla="*/ 1596835 w 7402822"/>
              <a:gd name="connsiteY7477" fmla="*/ 825741 h 4749526"/>
              <a:gd name="connsiteX7478" fmla="*/ 1602907 w 7402822"/>
              <a:gd name="connsiteY7478" fmla="*/ 822705 h 4749526"/>
              <a:gd name="connsiteX7479" fmla="*/ 1111107 w 7402822"/>
              <a:gd name="connsiteY7479" fmla="*/ 816634 h 4749526"/>
              <a:gd name="connsiteX7480" fmla="*/ 1126286 w 7402822"/>
              <a:gd name="connsiteY7480" fmla="*/ 825741 h 4749526"/>
              <a:gd name="connsiteX7481" fmla="*/ 1111107 w 7402822"/>
              <a:gd name="connsiteY7481" fmla="*/ 831813 h 4749526"/>
              <a:gd name="connsiteX7482" fmla="*/ 1095927 w 7402822"/>
              <a:gd name="connsiteY7482" fmla="*/ 828776 h 4749526"/>
              <a:gd name="connsiteX7483" fmla="*/ 4861851 w 7402822"/>
              <a:gd name="connsiteY7483" fmla="*/ 804489 h 4749526"/>
              <a:gd name="connsiteX7484" fmla="*/ 4877030 w 7402822"/>
              <a:gd name="connsiteY7484" fmla="*/ 807526 h 4749526"/>
              <a:gd name="connsiteX7485" fmla="*/ 4889173 w 7402822"/>
              <a:gd name="connsiteY7485" fmla="*/ 825740 h 4749526"/>
              <a:gd name="connsiteX7486" fmla="*/ 4886137 w 7402822"/>
              <a:gd name="connsiteY7486" fmla="*/ 850026 h 4749526"/>
              <a:gd name="connsiteX7487" fmla="*/ 4880065 w 7402822"/>
              <a:gd name="connsiteY7487" fmla="*/ 856098 h 4749526"/>
              <a:gd name="connsiteX7488" fmla="*/ 4867922 w 7402822"/>
              <a:gd name="connsiteY7488" fmla="*/ 874313 h 4749526"/>
              <a:gd name="connsiteX7489" fmla="*/ 4840600 w 7402822"/>
              <a:gd name="connsiteY7489" fmla="*/ 889492 h 4749526"/>
              <a:gd name="connsiteX7490" fmla="*/ 4822385 w 7402822"/>
              <a:gd name="connsiteY7490" fmla="*/ 901635 h 4749526"/>
              <a:gd name="connsiteX7491" fmla="*/ 4767741 w 7402822"/>
              <a:gd name="connsiteY7491" fmla="*/ 928958 h 4749526"/>
              <a:gd name="connsiteX7492" fmla="*/ 4716132 w 7402822"/>
              <a:gd name="connsiteY7492" fmla="*/ 980566 h 4749526"/>
              <a:gd name="connsiteX7493" fmla="*/ 4719167 w 7402822"/>
              <a:gd name="connsiteY7493" fmla="*/ 983603 h 4749526"/>
              <a:gd name="connsiteX7494" fmla="*/ 4688809 w 7402822"/>
              <a:gd name="connsiteY7494" fmla="*/ 1016996 h 4749526"/>
              <a:gd name="connsiteX7495" fmla="*/ 4676666 w 7402822"/>
              <a:gd name="connsiteY7495" fmla="*/ 1029139 h 4749526"/>
              <a:gd name="connsiteX7496" fmla="*/ 4667559 w 7402822"/>
              <a:gd name="connsiteY7496" fmla="*/ 1053426 h 4749526"/>
              <a:gd name="connsiteX7497" fmla="*/ 4646308 w 7402822"/>
              <a:gd name="connsiteY7497" fmla="*/ 1095927 h 4749526"/>
              <a:gd name="connsiteX7498" fmla="*/ 4634164 w 7402822"/>
              <a:gd name="connsiteY7498" fmla="*/ 1108071 h 4749526"/>
              <a:gd name="connsiteX7499" fmla="*/ 4603806 w 7402822"/>
              <a:gd name="connsiteY7499" fmla="*/ 1089855 h 4749526"/>
              <a:gd name="connsiteX7500" fmla="*/ 4585592 w 7402822"/>
              <a:gd name="connsiteY7500" fmla="*/ 1095927 h 4749526"/>
              <a:gd name="connsiteX7501" fmla="*/ 4576484 w 7402822"/>
              <a:gd name="connsiteY7501" fmla="*/ 1089855 h 4749526"/>
              <a:gd name="connsiteX7502" fmla="*/ 4573449 w 7402822"/>
              <a:gd name="connsiteY7502" fmla="*/ 1071641 h 4749526"/>
              <a:gd name="connsiteX7503" fmla="*/ 4573449 w 7402822"/>
              <a:gd name="connsiteY7503" fmla="*/ 1065569 h 4749526"/>
              <a:gd name="connsiteX7504" fmla="*/ 4588628 w 7402822"/>
              <a:gd name="connsiteY7504" fmla="*/ 1056462 h 4749526"/>
              <a:gd name="connsiteX7505" fmla="*/ 4603806 w 7402822"/>
              <a:gd name="connsiteY7505" fmla="*/ 1044318 h 4749526"/>
              <a:gd name="connsiteX7506" fmla="*/ 4615950 w 7402822"/>
              <a:gd name="connsiteY7506" fmla="*/ 1047355 h 4749526"/>
              <a:gd name="connsiteX7507" fmla="*/ 4618985 w 7402822"/>
              <a:gd name="connsiteY7507" fmla="*/ 1038247 h 4749526"/>
              <a:gd name="connsiteX7508" fmla="*/ 4618985 w 7402822"/>
              <a:gd name="connsiteY7508" fmla="*/ 1013960 h 4749526"/>
              <a:gd name="connsiteX7509" fmla="*/ 4612914 w 7402822"/>
              <a:gd name="connsiteY7509" fmla="*/ 1010925 h 4749526"/>
              <a:gd name="connsiteX7510" fmla="*/ 4612914 w 7402822"/>
              <a:gd name="connsiteY7510" fmla="*/ 1001817 h 4749526"/>
              <a:gd name="connsiteX7511" fmla="*/ 4618985 w 7402822"/>
              <a:gd name="connsiteY7511" fmla="*/ 989674 h 4749526"/>
              <a:gd name="connsiteX7512" fmla="*/ 4615950 w 7402822"/>
              <a:gd name="connsiteY7512" fmla="*/ 974495 h 4749526"/>
              <a:gd name="connsiteX7513" fmla="*/ 4622022 w 7402822"/>
              <a:gd name="connsiteY7513" fmla="*/ 959315 h 4749526"/>
              <a:gd name="connsiteX7514" fmla="*/ 4628094 w 7402822"/>
              <a:gd name="connsiteY7514" fmla="*/ 962352 h 4749526"/>
              <a:gd name="connsiteX7515" fmla="*/ 4631129 w 7402822"/>
              <a:gd name="connsiteY7515" fmla="*/ 956280 h 4749526"/>
              <a:gd name="connsiteX7516" fmla="*/ 4661487 w 7402822"/>
              <a:gd name="connsiteY7516" fmla="*/ 928958 h 4749526"/>
              <a:gd name="connsiteX7517" fmla="*/ 4667559 w 7402822"/>
              <a:gd name="connsiteY7517" fmla="*/ 919850 h 4749526"/>
              <a:gd name="connsiteX7518" fmla="*/ 4673630 w 7402822"/>
              <a:gd name="connsiteY7518" fmla="*/ 913779 h 4749526"/>
              <a:gd name="connsiteX7519" fmla="*/ 4685774 w 7402822"/>
              <a:gd name="connsiteY7519" fmla="*/ 904671 h 4749526"/>
              <a:gd name="connsiteX7520" fmla="*/ 4697917 w 7402822"/>
              <a:gd name="connsiteY7520" fmla="*/ 898600 h 4749526"/>
              <a:gd name="connsiteX7521" fmla="*/ 4737383 w 7402822"/>
              <a:gd name="connsiteY7521" fmla="*/ 868242 h 4749526"/>
              <a:gd name="connsiteX7522" fmla="*/ 4752562 w 7402822"/>
              <a:gd name="connsiteY7522" fmla="*/ 874313 h 4749526"/>
              <a:gd name="connsiteX7523" fmla="*/ 4788991 w 7402822"/>
              <a:gd name="connsiteY7523" fmla="*/ 862170 h 4749526"/>
              <a:gd name="connsiteX7524" fmla="*/ 4816314 w 7402822"/>
              <a:gd name="connsiteY7524" fmla="*/ 843956 h 4749526"/>
              <a:gd name="connsiteX7525" fmla="*/ 4825421 w 7402822"/>
              <a:gd name="connsiteY7525" fmla="*/ 828776 h 4749526"/>
              <a:gd name="connsiteX7526" fmla="*/ 4837563 w 7402822"/>
              <a:gd name="connsiteY7526" fmla="*/ 816633 h 4749526"/>
              <a:gd name="connsiteX7527" fmla="*/ 1484511 w 7402822"/>
              <a:gd name="connsiteY7527" fmla="*/ 801455 h 4749526"/>
              <a:gd name="connsiteX7528" fmla="*/ 1508797 w 7402822"/>
              <a:gd name="connsiteY7528" fmla="*/ 807527 h 4749526"/>
              <a:gd name="connsiteX7529" fmla="*/ 1527012 w 7402822"/>
              <a:gd name="connsiteY7529" fmla="*/ 813597 h 4749526"/>
              <a:gd name="connsiteX7530" fmla="*/ 1536119 w 7402822"/>
              <a:gd name="connsiteY7530" fmla="*/ 816634 h 4749526"/>
              <a:gd name="connsiteX7531" fmla="*/ 1542191 w 7402822"/>
              <a:gd name="connsiteY7531" fmla="*/ 834848 h 4749526"/>
              <a:gd name="connsiteX7532" fmla="*/ 1557370 w 7402822"/>
              <a:gd name="connsiteY7532" fmla="*/ 837884 h 4749526"/>
              <a:gd name="connsiteX7533" fmla="*/ 1572549 w 7402822"/>
              <a:gd name="connsiteY7533" fmla="*/ 834848 h 4749526"/>
              <a:gd name="connsiteX7534" fmla="*/ 1587728 w 7402822"/>
              <a:gd name="connsiteY7534" fmla="*/ 837884 h 4749526"/>
              <a:gd name="connsiteX7535" fmla="*/ 1599872 w 7402822"/>
              <a:gd name="connsiteY7535" fmla="*/ 853063 h 4749526"/>
              <a:gd name="connsiteX7536" fmla="*/ 1587728 w 7402822"/>
              <a:gd name="connsiteY7536" fmla="*/ 853063 h 4749526"/>
              <a:gd name="connsiteX7537" fmla="*/ 1602907 w 7402822"/>
              <a:gd name="connsiteY7537" fmla="*/ 859135 h 4749526"/>
              <a:gd name="connsiteX7538" fmla="*/ 1612015 w 7402822"/>
              <a:gd name="connsiteY7538" fmla="*/ 865206 h 4749526"/>
              <a:gd name="connsiteX7539" fmla="*/ 1624158 w 7402822"/>
              <a:gd name="connsiteY7539" fmla="*/ 871278 h 4749526"/>
              <a:gd name="connsiteX7540" fmla="*/ 1627194 w 7402822"/>
              <a:gd name="connsiteY7540" fmla="*/ 910744 h 4749526"/>
              <a:gd name="connsiteX7541" fmla="*/ 1618086 w 7402822"/>
              <a:gd name="connsiteY7541" fmla="*/ 925923 h 4749526"/>
              <a:gd name="connsiteX7542" fmla="*/ 1624158 w 7402822"/>
              <a:gd name="connsiteY7542" fmla="*/ 935030 h 4749526"/>
              <a:gd name="connsiteX7543" fmla="*/ 1630230 w 7402822"/>
              <a:gd name="connsiteY7543" fmla="*/ 941102 h 4749526"/>
              <a:gd name="connsiteX7544" fmla="*/ 1636301 w 7402822"/>
              <a:gd name="connsiteY7544" fmla="*/ 938066 h 4749526"/>
              <a:gd name="connsiteX7545" fmla="*/ 1639337 w 7402822"/>
              <a:gd name="connsiteY7545" fmla="*/ 922886 h 4749526"/>
              <a:gd name="connsiteX7546" fmla="*/ 1654516 w 7402822"/>
              <a:gd name="connsiteY7546" fmla="*/ 928958 h 4749526"/>
              <a:gd name="connsiteX7547" fmla="*/ 1666659 w 7402822"/>
              <a:gd name="connsiteY7547" fmla="*/ 925923 h 4749526"/>
              <a:gd name="connsiteX7548" fmla="*/ 1697017 w 7402822"/>
              <a:gd name="connsiteY7548" fmla="*/ 928958 h 4749526"/>
              <a:gd name="connsiteX7549" fmla="*/ 1706124 w 7402822"/>
              <a:gd name="connsiteY7549" fmla="*/ 928958 h 4749526"/>
              <a:gd name="connsiteX7550" fmla="*/ 1721304 w 7402822"/>
              <a:gd name="connsiteY7550" fmla="*/ 925923 h 4749526"/>
              <a:gd name="connsiteX7551" fmla="*/ 1733447 w 7402822"/>
              <a:gd name="connsiteY7551" fmla="*/ 913779 h 4749526"/>
              <a:gd name="connsiteX7552" fmla="*/ 1736483 w 7402822"/>
              <a:gd name="connsiteY7552" fmla="*/ 913779 h 4749526"/>
              <a:gd name="connsiteX7553" fmla="*/ 1745590 w 7402822"/>
              <a:gd name="connsiteY7553" fmla="*/ 916816 h 4749526"/>
              <a:gd name="connsiteX7554" fmla="*/ 1769877 w 7402822"/>
              <a:gd name="connsiteY7554" fmla="*/ 907707 h 4749526"/>
              <a:gd name="connsiteX7555" fmla="*/ 1821485 w 7402822"/>
              <a:gd name="connsiteY7555" fmla="*/ 935030 h 4749526"/>
              <a:gd name="connsiteX7556" fmla="*/ 1827557 w 7402822"/>
              <a:gd name="connsiteY7556" fmla="*/ 959316 h 4749526"/>
              <a:gd name="connsiteX7557" fmla="*/ 1827557 w 7402822"/>
              <a:gd name="connsiteY7557" fmla="*/ 983603 h 4749526"/>
              <a:gd name="connsiteX7558" fmla="*/ 1824522 w 7402822"/>
              <a:gd name="connsiteY7558" fmla="*/ 986639 h 4749526"/>
              <a:gd name="connsiteX7559" fmla="*/ 1818450 w 7402822"/>
              <a:gd name="connsiteY7559" fmla="*/ 989675 h 4749526"/>
              <a:gd name="connsiteX7560" fmla="*/ 1812378 w 7402822"/>
              <a:gd name="connsiteY7560" fmla="*/ 1004854 h 4749526"/>
              <a:gd name="connsiteX7561" fmla="*/ 1803271 w 7402822"/>
              <a:gd name="connsiteY7561" fmla="*/ 1010926 h 4749526"/>
              <a:gd name="connsiteX7562" fmla="*/ 1772913 w 7402822"/>
              <a:gd name="connsiteY7562" fmla="*/ 1016996 h 4749526"/>
              <a:gd name="connsiteX7563" fmla="*/ 1760769 w 7402822"/>
              <a:gd name="connsiteY7563" fmla="*/ 1013961 h 4749526"/>
              <a:gd name="connsiteX7564" fmla="*/ 1754698 w 7402822"/>
              <a:gd name="connsiteY7564" fmla="*/ 1010926 h 4749526"/>
              <a:gd name="connsiteX7565" fmla="*/ 1751662 w 7402822"/>
              <a:gd name="connsiteY7565" fmla="*/ 1007889 h 4749526"/>
              <a:gd name="connsiteX7566" fmla="*/ 1724340 w 7402822"/>
              <a:gd name="connsiteY7566" fmla="*/ 1013961 h 4749526"/>
              <a:gd name="connsiteX7567" fmla="*/ 1697017 w 7402822"/>
              <a:gd name="connsiteY7567" fmla="*/ 1016996 h 4749526"/>
              <a:gd name="connsiteX7568" fmla="*/ 1642373 w 7402822"/>
              <a:gd name="connsiteY7568" fmla="*/ 1016996 h 4749526"/>
              <a:gd name="connsiteX7569" fmla="*/ 1639337 w 7402822"/>
              <a:gd name="connsiteY7569" fmla="*/ 1010926 h 4749526"/>
              <a:gd name="connsiteX7570" fmla="*/ 1642373 w 7402822"/>
              <a:gd name="connsiteY7570" fmla="*/ 992710 h 4749526"/>
              <a:gd name="connsiteX7571" fmla="*/ 1639337 w 7402822"/>
              <a:gd name="connsiteY7571" fmla="*/ 983603 h 4749526"/>
              <a:gd name="connsiteX7572" fmla="*/ 1630230 w 7402822"/>
              <a:gd name="connsiteY7572" fmla="*/ 992710 h 4749526"/>
              <a:gd name="connsiteX7573" fmla="*/ 1627194 w 7402822"/>
              <a:gd name="connsiteY7573" fmla="*/ 1004854 h 4749526"/>
              <a:gd name="connsiteX7574" fmla="*/ 1624158 w 7402822"/>
              <a:gd name="connsiteY7574" fmla="*/ 1010926 h 4749526"/>
              <a:gd name="connsiteX7575" fmla="*/ 1599872 w 7402822"/>
              <a:gd name="connsiteY7575" fmla="*/ 1007889 h 4749526"/>
              <a:gd name="connsiteX7576" fmla="*/ 1587728 w 7402822"/>
              <a:gd name="connsiteY7576" fmla="*/ 1001818 h 4749526"/>
              <a:gd name="connsiteX7577" fmla="*/ 1578621 w 7402822"/>
              <a:gd name="connsiteY7577" fmla="*/ 1004854 h 4749526"/>
              <a:gd name="connsiteX7578" fmla="*/ 1572549 w 7402822"/>
              <a:gd name="connsiteY7578" fmla="*/ 998782 h 4749526"/>
              <a:gd name="connsiteX7579" fmla="*/ 1566478 w 7402822"/>
              <a:gd name="connsiteY7579" fmla="*/ 992710 h 4749526"/>
              <a:gd name="connsiteX7580" fmla="*/ 1557370 w 7402822"/>
              <a:gd name="connsiteY7580" fmla="*/ 953245 h 4749526"/>
              <a:gd name="connsiteX7581" fmla="*/ 1566478 w 7402822"/>
              <a:gd name="connsiteY7581" fmla="*/ 928958 h 4749526"/>
              <a:gd name="connsiteX7582" fmla="*/ 1566478 w 7402822"/>
              <a:gd name="connsiteY7582" fmla="*/ 907707 h 4749526"/>
              <a:gd name="connsiteX7583" fmla="*/ 1563442 w 7402822"/>
              <a:gd name="connsiteY7583" fmla="*/ 901636 h 4749526"/>
              <a:gd name="connsiteX7584" fmla="*/ 1557370 w 7402822"/>
              <a:gd name="connsiteY7584" fmla="*/ 895565 h 4749526"/>
              <a:gd name="connsiteX7585" fmla="*/ 1554335 w 7402822"/>
              <a:gd name="connsiteY7585" fmla="*/ 886457 h 4749526"/>
              <a:gd name="connsiteX7586" fmla="*/ 1554335 w 7402822"/>
              <a:gd name="connsiteY7586" fmla="*/ 883421 h 4749526"/>
              <a:gd name="connsiteX7587" fmla="*/ 1545227 w 7402822"/>
              <a:gd name="connsiteY7587" fmla="*/ 865206 h 4749526"/>
              <a:gd name="connsiteX7588" fmla="*/ 1539155 w 7402822"/>
              <a:gd name="connsiteY7588" fmla="*/ 862171 h 4749526"/>
              <a:gd name="connsiteX7589" fmla="*/ 1527012 w 7402822"/>
              <a:gd name="connsiteY7589" fmla="*/ 871278 h 4749526"/>
              <a:gd name="connsiteX7590" fmla="*/ 1508797 w 7402822"/>
              <a:gd name="connsiteY7590" fmla="*/ 868242 h 4749526"/>
              <a:gd name="connsiteX7591" fmla="*/ 1499690 w 7402822"/>
              <a:gd name="connsiteY7591" fmla="*/ 874314 h 4749526"/>
              <a:gd name="connsiteX7592" fmla="*/ 1496654 w 7402822"/>
              <a:gd name="connsiteY7592" fmla="*/ 868242 h 4749526"/>
              <a:gd name="connsiteX7593" fmla="*/ 1487546 w 7402822"/>
              <a:gd name="connsiteY7593" fmla="*/ 856099 h 4749526"/>
              <a:gd name="connsiteX7594" fmla="*/ 1466297 w 7402822"/>
              <a:gd name="connsiteY7594" fmla="*/ 828776 h 4749526"/>
              <a:gd name="connsiteX7595" fmla="*/ 1466297 w 7402822"/>
              <a:gd name="connsiteY7595" fmla="*/ 813597 h 4749526"/>
              <a:gd name="connsiteX7596" fmla="*/ 1472368 w 7402822"/>
              <a:gd name="connsiteY7596" fmla="*/ 804490 h 4749526"/>
              <a:gd name="connsiteX7597" fmla="*/ 5456869 w 7402822"/>
              <a:gd name="connsiteY7597" fmla="*/ 786275 h 4749526"/>
              <a:gd name="connsiteX7598" fmla="*/ 5459904 w 7402822"/>
              <a:gd name="connsiteY7598" fmla="*/ 792346 h 4749526"/>
              <a:gd name="connsiteX7599" fmla="*/ 5444725 w 7402822"/>
              <a:gd name="connsiteY7599" fmla="*/ 807525 h 4749526"/>
              <a:gd name="connsiteX7600" fmla="*/ 5429547 w 7402822"/>
              <a:gd name="connsiteY7600" fmla="*/ 807525 h 4749526"/>
              <a:gd name="connsiteX7601" fmla="*/ 5441690 w 7402822"/>
              <a:gd name="connsiteY7601" fmla="*/ 798417 h 4749526"/>
              <a:gd name="connsiteX7602" fmla="*/ 5681519 w 7402822"/>
              <a:gd name="connsiteY7602" fmla="*/ 774131 h 4749526"/>
              <a:gd name="connsiteX7603" fmla="*/ 5687591 w 7402822"/>
              <a:gd name="connsiteY7603" fmla="*/ 774131 h 4749526"/>
              <a:gd name="connsiteX7604" fmla="*/ 5687591 w 7402822"/>
              <a:gd name="connsiteY7604" fmla="*/ 780203 h 4749526"/>
              <a:gd name="connsiteX7605" fmla="*/ 5684554 w 7402822"/>
              <a:gd name="connsiteY7605" fmla="*/ 783238 h 4749526"/>
              <a:gd name="connsiteX7606" fmla="*/ 5678483 w 7402822"/>
              <a:gd name="connsiteY7606" fmla="*/ 783238 h 4749526"/>
              <a:gd name="connsiteX7607" fmla="*/ 1994528 w 7402822"/>
              <a:gd name="connsiteY7607" fmla="*/ 761988 h 4749526"/>
              <a:gd name="connsiteX7608" fmla="*/ 2006672 w 7402822"/>
              <a:gd name="connsiteY7608" fmla="*/ 761988 h 4749526"/>
              <a:gd name="connsiteX7609" fmla="*/ 2021851 w 7402822"/>
              <a:gd name="connsiteY7609" fmla="*/ 768060 h 4749526"/>
              <a:gd name="connsiteX7610" fmla="*/ 2006672 w 7402822"/>
              <a:gd name="connsiteY7610" fmla="*/ 771095 h 4749526"/>
              <a:gd name="connsiteX7611" fmla="*/ 1976314 w 7402822"/>
              <a:gd name="connsiteY7611" fmla="*/ 761988 h 4749526"/>
              <a:gd name="connsiteX7612" fmla="*/ 1988456 w 7402822"/>
              <a:gd name="connsiteY7612" fmla="*/ 768060 h 4749526"/>
              <a:gd name="connsiteX7613" fmla="*/ 1994528 w 7402822"/>
              <a:gd name="connsiteY7613" fmla="*/ 771095 h 4749526"/>
              <a:gd name="connsiteX7614" fmla="*/ 1988456 w 7402822"/>
              <a:gd name="connsiteY7614" fmla="*/ 774132 h 4749526"/>
              <a:gd name="connsiteX7615" fmla="*/ 1979349 w 7402822"/>
              <a:gd name="connsiteY7615" fmla="*/ 777167 h 4749526"/>
              <a:gd name="connsiteX7616" fmla="*/ 1967207 w 7402822"/>
              <a:gd name="connsiteY7616" fmla="*/ 768060 h 4749526"/>
              <a:gd name="connsiteX7617" fmla="*/ 1068606 w 7402822"/>
              <a:gd name="connsiteY7617" fmla="*/ 755917 h 4749526"/>
              <a:gd name="connsiteX7618" fmla="*/ 1077713 w 7402822"/>
              <a:gd name="connsiteY7618" fmla="*/ 768060 h 4749526"/>
              <a:gd name="connsiteX7619" fmla="*/ 1083784 w 7402822"/>
              <a:gd name="connsiteY7619" fmla="*/ 777168 h 4749526"/>
              <a:gd name="connsiteX7620" fmla="*/ 1068606 w 7402822"/>
              <a:gd name="connsiteY7620" fmla="*/ 786276 h 4749526"/>
              <a:gd name="connsiteX7621" fmla="*/ 1074677 w 7402822"/>
              <a:gd name="connsiteY7621" fmla="*/ 810562 h 4749526"/>
              <a:gd name="connsiteX7622" fmla="*/ 1074677 w 7402822"/>
              <a:gd name="connsiteY7622" fmla="*/ 822705 h 4749526"/>
              <a:gd name="connsiteX7623" fmla="*/ 1074677 w 7402822"/>
              <a:gd name="connsiteY7623" fmla="*/ 834848 h 4749526"/>
              <a:gd name="connsiteX7624" fmla="*/ 1056462 w 7402822"/>
              <a:gd name="connsiteY7624" fmla="*/ 859135 h 4749526"/>
              <a:gd name="connsiteX7625" fmla="*/ 1044319 w 7402822"/>
              <a:gd name="connsiteY7625" fmla="*/ 871278 h 4749526"/>
              <a:gd name="connsiteX7626" fmla="*/ 1029140 w 7402822"/>
              <a:gd name="connsiteY7626" fmla="*/ 859135 h 4749526"/>
              <a:gd name="connsiteX7627" fmla="*/ 1032176 w 7402822"/>
              <a:gd name="connsiteY7627" fmla="*/ 825741 h 4749526"/>
              <a:gd name="connsiteX7628" fmla="*/ 1020032 w 7402822"/>
              <a:gd name="connsiteY7628" fmla="*/ 831813 h 4749526"/>
              <a:gd name="connsiteX7629" fmla="*/ 1023068 w 7402822"/>
              <a:gd name="connsiteY7629" fmla="*/ 834848 h 4749526"/>
              <a:gd name="connsiteX7630" fmla="*/ 1016997 w 7402822"/>
              <a:gd name="connsiteY7630" fmla="*/ 868242 h 4749526"/>
              <a:gd name="connsiteX7631" fmla="*/ 1007889 w 7402822"/>
              <a:gd name="connsiteY7631" fmla="*/ 889493 h 4749526"/>
              <a:gd name="connsiteX7632" fmla="*/ 983602 w 7402822"/>
              <a:gd name="connsiteY7632" fmla="*/ 910744 h 4749526"/>
              <a:gd name="connsiteX7633" fmla="*/ 977531 w 7402822"/>
              <a:gd name="connsiteY7633" fmla="*/ 892528 h 4749526"/>
              <a:gd name="connsiteX7634" fmla="*/ 971459 w 7402822"/>
              <a:gd name="connsiteY7634" fmla="*/ 886457 h 4749526"/>
              <a:gd name="connsiteX7635" fmla="*/ 968424 w 7402822"/>
              <a:gd name="connsiteY7635" fmla="*/ 889493 h 4749526"/>
              <a:gd name="connsiteX7636" fmla="*/ 953245 w 7402822"/>
              <a:gd name="connsiteY7636" fmla="*/ 892528 h 4749526"/>
              <a:gd name="connsiteX7637" fmla="*/ 947173 w 7402822"/>
              <a:gd name="connsiteY7637" fmla="*/ 889493 h 4749526"/>
              <a:gd name="connsiteX7638" fmla="*/ 947173 w 7402822"/>
              <a:gd name="connsiteY7638" fmla="*/ 895565 h 4749526"/>
              <a:gd name="connsiteX7639" fmla="*/ 944137 w 7402822"/>
              <a:gd name="connsiteY7639" fmla="*/ 895565 h 4749526"/>
              <a:gd name="connsiteX7640" fmla="*/ 925922 w 7402822"/>
              <a:gd name="connsiteY7640" fmla="*/ 886457 h 4749526"/>
              <a:gd name="connsiteX7641" fmla="*/ 938066 w 7402822"/>
              <a:gd name="connsiteY7641" fmla="*/ 862171 h 4749526"/>
              <a:gd name="connsiteX7642" fmla="*/ 950208 w 7402822"/>
              <a:gd name="connsiteY7642" fmla="*/ 856099 h 4749526"/>
              <a:gd name="connsiteX7643" fmla="*/ 959317 w 7402822"/>
              <a:gd name="connsiteY7643" fmla="*/ 853063 h 4749526"/>
              <a:gd name="connsiteX7644" fmla="*/ 965387 w 7402822"/>
              <a:gd name="connsiteY7644" fmla="*/ 840920 h 4749526"/>
              <a:gd name="connsiteX7645" fmla="*/ 971459 w 7402822"/>
              <a:gd name="connsiteY7645" fmla="*/ 834848 h 4749526"/>
              <a:gd name="connsiteX7646" fmla="*/ 983602 w 7402822"/>
              <a:gd name="connsiteY7646" fmla="*/ 816634 h 4749526"/>
              <a:gd name="connsiteX7647" fmla="*/ 995746 w 7402822"/>
              <a:gd name="connsiteY7647" fmla="*/ 792347 h 4749526"/>
              <a:gd name="connsiteX7648" fmla="*/ 1007889 w 7402822"/>
              <a:gd name="connsiteY7648" fmla="*/ 774132 h 4749526"/>
              <a:gd name="connsiteX7649" fmla="*/ 1020032 w 7402822"/>
              <a:gd name="connsiteY7649" fmla="*/ 771096 h 4749526"/>
              <a:gd name="connsiteX7650" fmla="*/ 1032176 w 7402822"/>
              <a:gd name="connsiteY7650" fmla="*/ 768060 h 4749526"/>
              <a:gd name="connsiteX7651" fmla="*/ 1035211 w 7402822"/>
              <a:gd name="connsiteY7651" fmla="*/ 771096 h 4749526"/>
              <a:gd name="connsiteX7652" fmla="*/ 1050390 w 7402822"/>
              <a:gd name="connsiteY7652" fmla="*/ 758953 h 4749526"/>
              <a:gd name="connsiteX7653" fmla="*/ 1590765 w 7402822"/>
              <a:gd name="connsiteY7653" fmla="*/ 743774 h 4749526"/>
              <a:gd name="connsiteX7654" fmla="*/ 1599872 w 7402822"/>
              <a:gd name="connsiteY7654" fmla="*/ 746810 h 4749526"/>
              <a:gd name="connsiteX7655" fmla="*/ 1615051 w 7402822"/>
              <a:gd name="connsiteY7655" fmla="*/ 768060 h 4749526"/>
              <a:gd name="connsiteX7656" fmla="*/ 1615051 w 7402822"/>
              <a:gd name="connsiteY7656" fmla="*/ 777168 h 4749526"/>
              <a:gd name="connsiteX7657" fmla="*/ 1612015 w 7402822"/>
              <a:gd name="connsiteY7657" fmla="*/ 783239 h 4749526"/>
              <a:gd name="connsiteX7658" fmla="*/ 1599872 w 7402822"/>
              <a:gd name="connsiteY7658" fmla="*/ 786276 h 4749526"/>
              <a:gd name="connsiteX7659" fmla="*/ 1584693 w 7402822"/>
              <a:gd name="connsiteY7659" fmla="*/ 768060 h 4749526"/>
              <a:gd name="connsiteX7660" fmla="*/ 5617767 w 7402822"/>
              <a:gd name="connsiteY7660" fmla="*/ 737701 h 4749526"/>
              <a:gd name="connsiteX7661" fmla="*/ 5642053 w 7402822"/>
              <a:gd name="connsiteY7661" fmla="*/ 752880 h 4749526"/>
              <a:gd name="connsiteX7662" fmla="*/ 5660268 w 7402822"/>
              <a:gd name="connsiteY7662" fmla="*/ 771095 h 4749526"/>
              <a:gd name="connsiteX7663" fmla="*/ 5666340 w 7402822"/>
              <a:gd name="connsiteY7663" fmla="*/ 801454 h 4749526"/>
              <a:gd name="connsiteX7664" fmla="*/ 5681519 w 7402822"/>
              <a:gd name="connsiteY7664" fmla="*/ 810561 h 4749526"/>
              <a:gd name="connsiteX7665" fmla="*/ 5669375 w 7402822"/>
              <a:gd name="connsiteY7665" fmla="*/ 834847 h 4749526"/>
              <a:gd name="connsiteX7666" fmla="*/ 5663304 w 7402822"/>
              <a:gd name="connsiteY7666" fmla="*/ 843955 h 4749526"/>
              <a:gd name="connsiteX7667" fmla="*/ 5660268 w 7402822"/>
              <a:gd name="connsiteY7667" fmla="*/ 840919 h 4749526"/>
              <a:gd name="connsiteX7668" fmla="*/ 5660268 w 7402822"/>
              <a:gd name="connsiteY7668" fmla="*/ 850026 h 4749526"/>
              <a:gd name="connsiteX7669" fmla="*/ 5666340 w 7402822"/>
              <a:gd name="connsiteY7669" fmla="*/ 850026 h 4749526"/>
              <a:gd name="connsiteX7670" fmla="*/ 5681519 w 7402822"/>
              <a:gd name="connsiteY7670" fmla="*/ 850026 h 4749526"/>
              <a:gd name="connsiteX7671" fmla="*/ 5693662 w 7402822"/>
              <a:gd name="connsiteY7671" fmla="*/ 843955 h 4749526"/>
              <a:gd name="connsiteX7672" fmla="*/ 5696698 w 7402822"/>
              <a:gd name="connsiteY7672" fmla="*/ 834847 h 4749526"/>
              <a:gd name="connsiteX7673" fmla="*/ 5705805 w 7402822"/>
              <a:gd name="connsiteY7673" fmla="*/ 831812 h 4749526"/>
              <a:gd name="connsiteX7674" fmla="*/ 5730092 w 7402822"/>
              <a:gd name="connsiteY7674" fmla="*/ 828775 h 4749526"/>
              <a:gd name="connsiteX7675" fmla="*/ 5757414 w 7402822"/>
              <a:gd name="connsiteY7675" fmla="*/ 828775 h 4749526"/>
              <a:gd name="connsiteX7676" fmla="*/ 5769557 w 7402822"/>
              <a:gd name="connsiteY7676" fmla="*/ 834847 h 4749526"/>
              <a:gd name="connsiteX7677" fmla="*/ 5781701 w 7402822"/>
              <a:gd name="connsiteY7677" fmla="*/ 853062 h 4749526"/>
              <a:gd name="connsiteX7678" fmla="*/ 5781701 w 7402822"/>
              <a:gd name="connsiteY7678" fmla="*/ 856098 h 4749526"/>
              <a:gd name="connsiteX7679" fmla="*/ 5790808 w 7402822"/>
              <a:gd name="connsiteY7679" fmla="*/ 862170 h 4749526"/>
              <a:gd name="connsiteX7680" fmla="*/ 5802952 w 7402822"/>
              <a:gd name="connsiteY7680" fmla="*/ 871277 h 4749526"/>
              <a:gd name="connsiteX7681" fmla="*/ 5805987 w 7402822"/>
              <a:gd name="connsiteY7681" fmla="*/ 880385 h 4749526"/>
              <a:gd name="connsiteX7682" fmla="*/ 5805987 w 7402822"/>
              <a:gd name="connsiteY7682" fmla="*/ 886456 h 4749526"/>
              <a:gd name="connsiteX7683" fmla="*/ 5809022 w 7402822"/>
              <a:gd name="connsiteY7683" fmla="*/ 892527 h 4749526"/>
              <a:gd name="connsiteX7684" fmla="*/ 5809022 w 7402822"/>
              <a:gd name="connsiteY7684" fmla="*/ 901635 h 4749526"/>
              <a:gd name="connsiteX7685" fmla="*/ 5815094 w 7402822"/>
              <a:gd name="connsiteY7685" fmla="*/ 898599 h 4749526"/>
              <a:gd name="connsiteX7686" fmla="*/ 5812059 w 7402822"/>
              <a:gd name="connsiteY7686" fmla="*/ 922885 h 4749526"/>
              <a:gd name="connsiteX7687" fmla="*/ 5809022 w 7402822"/>
              <a:gd name="connsiteY7687" fmla="*/ 941101 h 4749526"/>
              <a:gd name="connsiteX7688" fmla="*/ 5809022 w 7402822"/>
              <a:gd name="connsiteY7688" fmla="*/ 953244 h 4749526"/>
              <a:gd name="connsiteX7689" fmla="*/ 5802952 w 7402822"/>
              <a:gd name="connsiteY7689" fmla="*/ 965387 h 4749526"/>
              <a:gd name="connsiteX7690" fmla="*/ 5793843 w 7402822"/>
              <a:gd name="connsiteY7690" fmla="*/ 977530 h 4749526"/>
              <a:gd name="connsiteX7691" fmla="*/ 5787773 w 7402822"/>
              <a:gd name="connsiteY7691" fmla="*/ 983602 h 4749526"/>
              <a:gd name="connsiteX7692" fmla="*/ 5778664 w 7402822"/>
              <a:gd name="connsiteY7692" fmla="*/ 992709 h 4749526"/>
              <a:gd name="connsiteX7693" fmla="*/ 5748307 w 7402822"/>
              <a:gd name="connsiteY7693" fmla="*/ 1016995 h 4749526"/>
              <a:gd name="connsiteX7694" fmla="*/ 5736163 w 7402822"/>
              <a:gd name="connsiteY7694" fmla="*/ 1032175 h 4749526"/>
              <a:gd name="connsiteX7695" fmla="*/ 5733128 w 7402822"/>
              <a:gd name="connsiteY7695" fmla="*/ 1038246 h 4749526"/>
              <a:gd name="connsiteX7696" fmla="*/ 5733128 w 7402822"/>
              <a:gd name="connsiteY7696" fmla="*/ 1041283 h 4749526"/>
              <a:gd name="connsiteX7697" fmla="*/ 5724020 w 7402822"/>
              <a:gd name="connsiteY7697" fmla="*/ 1047354 h 4749526"/>
              <a:gd name="connsiteX7698" fmla="*/ 5714912 w 7402822"/>
              <a:gd name="connsiteY7698" fmla="*/ 1053425 h 4749526"/>
              <a:gd name="connsiteX7699" fmla="*/ 5708841 w 7402822"/>
              <a:gd name="connsiteY7699" fmla="*/ 1062533 h 4749526"/>
              <a:gd name="connsiteX7700" fmla="*/ 5705805 w 7402822"/>
              <a:gd name="connsiteY7700" fmla="*/ 1071641 h 4749526"/>
              <a:gd name="connsiteX7701" fmla="*/ 5678483 w 7402822"/>
              <a:gd name="connsiteY7701" fmla="*/ 1080748 h 4749526"/>
              <a:gd name="connsiteX7702" fmla="*/ 5675447 w 7402822"/>
              <a:gd name="connsiteY7702" fmla="*/ 1086819 h 4749526"/>
              <a:gd name="connsiteX7703" fmla="*/ 5669375 w 7402822"/>
              <a:gd name="connsiteY7703" fmla="*/ 1101998 h 4749526"/>
              <a:gd name="connsiteX7704" fmla="*/ 5675447 w 7402822"/>
              <a:gd name="connsiteY7704" fmla="*/ 1114142 h 4749526"/>
              <a:gd name="connsiteX7705" fmla="*/ 5702770 w 7402822"/>
              <a:gd name="connsiteY7705" fmla="*/ 1108070 h 4749526"/>
              <a:gd name="connsiteX7706" fmla="*/ 5730092 w 7402822"/>
              <a:gd name="connsiteY7706" fmla="*/ 1092891 h 4749526"/>
              <a:gd name="connsiteX7707" fmla="*/ 5742235 w 7402822"/>
              <a:gd name="connsiteY7707" fmla="*/ 1086819 h 4749526"/>
              <a:gd name="connsiteX7708" fmla="*/ 5751342 w 7402822"/>
              <a:gd name="connsiteY7708" fmla="*/ 1080748 h 4749526"/>
              <a:gd name="connsiteX7709" fmla="*/ 5754378 w 7402822"/>
              <a:gd name="connsiteY7709" fmla="*/ 1074676 h 4749526"/>
              <a:gd name="connsiteX7710" fmla="*/ 5748307 w 7402822"/>
              <a:gd name="connsiteY7710" fmla="*/ 1071641 h 4749526"/>
              <a:gd name="connsiteX7711" fmla="*/ 5736163 w 7402822"/>
              <a:gd name="connsiteY7711" fmla="*/ 1077712 h 4749526"/>
              <a:gd name="connsiteX7712" fmla="*/ 5727056 w 7402822"/>
              <a:gd name="connsiteY7712" fmla="*/ 1071641 h 4749526"/>
              <a:gd name="connsiteX7713" fmla="*/ 5733128 w 7402822"/>
              <a:gd name="connsiteY7713" fmla="*/ 1056462 h 4749526"/>
              <a:gd name="connsiteX7714" fmla="*/ 5742235 w 7402822"/>
              <a:gd name="connsiteY7714" fmla="*/ 1053425 h 4749526"/>
              <a:gd name="connsiteX7715" fmla="*/ 5757414 w 7402822"/>
              <a:gd name="connsiteY7715" fmla="*/ 1053425 h 4749526"/>
              <a:gd name="connsiteX7716" fmla="*/ 5760450 w 7402822"/>
              <a:gd name="connsiteY7716" fmla="*/ 1059497 h 4749526"/>
              <a:gd name="connsiteX7717" fmla="*/ 5766522 w 7402822"/>
              <a:gd name="connsiteY7717" fmla="*/ 1068605 h 4749526"/>
              <a:gd name="connsiteX7718" fmla="*/ 5778664 w 7402822"/>
              <a:gd name="connsiteY7718" fmla="*/ 1074676 h 4749526"/>
              <a:gd name="connsiteX7719" fmla="*/ 5790808 w 7402822"/>
              <a:gd name="connsiteY7719" fmla="*/ 1074676 h 4749526"/>
              <a:gd name="connsiteX7720" fmla="*/ 5796880 w 7402822"/>
              <a:gd name="connsiteY7720" fmla="*/ 1068605 h 4749526"/>
              <a:gd name="connsiteX7721" fmla="*/ 5796880 w 7402822"/>
              <a:gd name="connsiteY7721" fmla="*/ 1056462 h 4749526"/>
              <a:gd name="connsiteX7722" fmla="*/ 5802952 w 7402822"/>
              <a:gd name="connsiteY7722" fmla="*/ 1071641 h 4749526"/>
              <a:gd name="connsiteX7723" fmla="*/ 5805987 w 7402822"/>
              <a:gd name="connsiteY7723" fmla="*/ 1092891 h 4749526"/>
              <a:gd name="connsiteX7724" fmla="*/ 5805987 w 7402822"/>
              <a:gd name="connsiteY7724" fmla="*/ 1089855 h 4749526"/>
              <a:gd name="connsiteX7725" fmla="*/ 5818130 w 7402822"/>
              <a:gd name="connsiteY7725" fmla="*/ 1083784 h 4749526"/>
              <a:gd name="connsiteX7726" fmla="*/ 5842417 w 7402822"/>
              <a:gd name="connsiteY7726" fmla="*/ 1074676 h 4749526"/>
              <a:gd name="connsiteX7727" fmla="*/ 5869739 w 7402822"/>
              <a:gd name="connsiteY7727" fmla="*/ 1077712 h 4749526"/>
              <a:gd name="connsiteX7728" fmla="*/ 5897062 w 7402822"/>
              <a:gd name="connsiteY7728" fmla="*/ 1083784 h 4749526"/>
              <a:gd name="connsiteX7729" fmla="*/ 5909204 w 7402822"/>
              <a:gd name="connsiteY7729" fmla="*/ 1092891 h 4749526"/>
              <a:gd name="connsiteX7730" fmla="*/ 5909204 w 7402822"/>
              <a:gd name="connsiteY7730" fmla="*/ 1111106 h 4749526"/>
              <a:gd name="connsiteX7731" fmla="*/ 5915276 w 7402822"/>
              <a:gd name="connsiteY7731" fmla="*/ 1114142 h 4749526"/>
              <a:gd name="connsiteX7732" fmla="*/ 5936527 w 7402822"/>
              <a:gd name="connsiteY7732" fmla="*/ 1129321 h 4749526"/>
              <a:gd name="connsiteX7733" fmla="*/ 5945634 w 7402822"/>
              <a:gd name="connsiteY7733" fmla="*/ 1126286 h 4749526"/>
              <a:gd name="connsiteX7734" fmla="*/ 5972956 w 7402822"/>
              <a:gd name="connsiteY7734" fmla="*/ 1129321 h 4749526"/>
              <a:gd name="connsiteX7735" fmla="*/ 6003314 w 7402822"/>
              <a:gd name="connsiteY7735" fmla="*/ 1141465 h 4749526"/>
              <a:gd name="connsiteX7736" fmla="*/ 6012421 w 7402822"/>
              <a:gd name="connsiteY7736" fmla="*/ 1144500 h 4749526"/>
              <a:gd name="connsiteX7737" fmla="*/ 6021529 w 7402822"/>
              <a:gd name="connsiteY7737" fmla="*/ 1144500 h 4749526"/>
              <a:gd name="connsiteX7738" fmla="*/ 6039744 w 7402822"/>
              <a:gd name="connsiteY7738" fmla="*/ 1150572 h 4749526"/>
              <a:gd name="connsiteX7739" fmla="*/ 6048851 w 7402822"/>
              <a:gd name="connsiteY7739" fmla="*/ 1159679 h 4749526"/>
              <a:gd name="connsiteX7740" fmla="*/ 6051887 w 7402822"/>
              <a:gd name="connsiteY7740" fmla="*/ 1165751 h 4749526"/>
              <a:gd name="connsiteX7741" fmla="*/ 6057959 w 7402822"/>
              <a:gd name="connsiteY7741" fmla="*/ 1171822 h 4749526"/>
              <a:gd name="connsiteX7742" fmla="*/ 6067066 w 7402822"/>
              <a:gd name="connsiteY7742" fmla="*/ 1177894 h 4749526"/>
              <a:gd name="connsiteX7743" fmla="*/ 6076174 w 7402822"/>
              <a:gd name="connsiteY7743" fmla="*/ 1174858 h 4749526"/>
              <a:gd name="connsiteX7744" fmla="*/ 6082245 w 7402822"/>
              <a:gd name="connsiteY7744" fmla="*/ 1171822 h 4749526"/>
              <a:gd name="connsiteX7745" fmla="*/ 6085281 w 7402822"/>
              <a:gd name="connsiteY7745" fmla="*/ 1168786 h 4749526"/>
              <a:gd name="connsiteX7746" fmla="*/ 6091352 w 7402822"/>
              <a:gd name="connsiteY7746" fmla="*/ 1168786 h 4749526"/>
              <a:gd name="connsiteX7747" fmla="*/ 6100461 w 7402822"/>
              <a:gd name="connsiteY7747" fmla="*/ 1171822 h 4749526"/>
              <a:gd name="connsiteX7748" fmla="*/ 6127782 w 7402822"/>
              <a:gd name="connsiteY7748" fmla="*/ 1211288 h 4749526"/>
              <a:gd name="connsiteX7749" fmla="*/ 6136889 w 7402822"/>
              <a:gd name="connsiteY7749" fmla="*/ 1235575 h 4749526"/>
              <a:gd name="connsiteX7750" fmla="*/ 6149033 w 7402822"/>
              <a:gd name="connsiteY7750" fmla="*/ 1253789 h 4749526"/>
              <a:gd name="connsiteX7751" fmla="*/ 6155105 w 7402822"/>
              <a:gd name="connsiteY7751" fmla="*/ 1262896 h 4749526"/>
              <a:gd name="connsiteX7752" fmla="*/ 6161176 w 7402822"/>
              <a:gd name="connsiteY7752" fmla="*/ 1268968 h 4749526"/>
              <a:gd name="connsiteX7753" fmla="*/ 6173319 w 7402822"/>
              <a:gd name="connsiteY7753" fmla="*/ 1275040 h 4749526"/>
              <a:gd name="connsiteX7754" fmla="*/ 6188499 w 7402822"/>
              <a:gd name="connsiteY7754" fmla="*/ 1235575 h 4749526"/>
              <a:gd name="connsiteX7755" fmla="*/ 6197606 w 7402822"/>
              <a:gd name="connsiteY7755" fmla="*/ 1208252 h 4749526"/>
              <a:gd name="connsiteX7756" fmla="*/ 6206713 w 7402822"/>
              <a:gd name="connsiteY7756" fmla="*/ 1205216 h 4749526"/>
              <a:gd name="connsiteX7757" fmla="*/ 6203677 w 7402822"/>
              <a:gd name="connsiteY7757" fmla="*/ 1211288 h 4749526"/>
              <a:gd name="connsiteX7758" fmla="*/ 6209749 w 7402822"/>
              <a:gd name="connsiteY7758" fmla="*/ 1220395 h 4749526"/>
              <a:gd name="connsiteX7759" fmla="*/ 6221892 w 7402822"/>
              <a:gd name="connsiteY7759" fmla="*/ 1229503 h 4749526"/>
              <a:gd name="connsiteX7760" fmla="*/ 6234036 w 7402822"/>
              <a:gd name="connsiteY7760" fmla="*/ 1235575 h 4749526"/>
              <a:gd name="connsiteX7761" fmla="*/ 6246179 w 7402822"/>
              <a:gd name="connsiteY7761" fmla="*/ 1232538 h 4749526"/>
              <a:gd name="connsiteX7762" fmla="*/ 6267429 w 7402822"/>
              <a:gd name="connsiteY7762" fmla="*/ 1220395 h 4749526"/>
              <a:gd name="connsiteX7763" fmla="*/ 6282609 w 7402822"/>
              <a:gd name="connsiteY7763" fmla="*/ 1226466 h 4749526"/>
              <a:gd name="connsiteX7764" fmla="*/ 6291716 w 7402822"/>
              <a:gd name="connsiteY7764" fmla="*/ 1232538 h 4749526"/>
              <a:gd name="connsiteX7765" fmla="*/ 6300823 w 7402822"/>
              <a:gd name="connsiteY7765" fmla="*/ 1235575 h 4749526"/>
              <a:gd name="connsiteX7766" fmla="*/ 6309931 w 7402822"/>
              <a:gd name="connsiteY7766" fmla="*/ 1253789 h 4749526"/>
              <a:gd name="connsiteX7767" fmla="*/ 6322074 w 7402822"/>
              <a:gd name="connsiteY7767" fmla="*/ 1238610 h 4749526"/>
              <a:gd name="connsiteX7768" fmla="*/ 6316002 w 7402822"/>
              <a:gd name="connsiteY7768" fmla="*/ 1238610 h 4749526"/>
              <a:gd name="connsiteX7769" fmla="*/ 6309931 w 7402822"/>
              <a:gd name="connsiteY7769" fmla="*/ 1235575 h 4749526"/>
              <a:gd name="connsiteX7770" fmla="*/ 6316002 w 7402822"/>
              <a:gd name="connsiteY7770" fmla="*/ 1223431 h 4749526"/>
              <a:gd name="connsiteX7771" fmla="*/ 6319039 w 7402822"/>
              <a:gd name="connsiteY7771" fmla="*/ 1220395 h 4749526"/>
              <a:gd name="connsiteX7772" fmla="*/ 6331181 w 7402822"/>
              <a:gd name="connsiteY7772" fmla="*/ 1220395 h 4749526"/>
              <a:gd name="connsiteX7773" fmla="*/ 6334217 w 7402822"/>
              <a:gd name="connsiteY7773" fmla="*/ 1226466 h 4749526"/>
              <a:gd name="connsiteX7774" fmla="*/ 6340289 w 7402822"/>
              <a:gd name="connsiteY7774" fmla="*/ 1232538 h 4749526"/>
              <a:gd name="connsiteX7775" fmla="*/ 6352432 w 7402822"/>
              <a:gd name="connsiteY7775" fmla="*/ 1223431 h 4749526"/>
              <a:gd name="connsiteX7776" fmla="*/ 6349395 w 7402822"/>
              <a:gd name="connsiteY7776" fmla="*/ 1187001 h 4749526"/>
              <a:gd name="connsiteX7777" fmla="*/ 6349395 w 7402822"/>
              <a:gd name="connsiteY7777" fmla="*/ 1180930 h 4749526"/>
              <a:gd name="connsiteX7778" fmla="*/ 6344843 w 7402822"/>
              <a:gd name="connsiteY7778" fmla="*/ 1183206 h 4749526"/>
              <a:gd name="connsiteX7779" fmla="*/ 6340289 w 7402822"/>
              <a:gd name="connsiteY7779" fmla="*/ 1180930 h 4749526"/>
              <a:gd name="connsiteX7780" fmla="*/ 6340289 w 7402822"/>
              <a:gd name="connsiteY7780" fmla="*/ 1187001 h 4749526"/>
              <a:gd name="connsiteX7781" fmla="*/ 6337253 w 7402822"/>
              <a:gd name="connsiteY7781" fmla="*/ 1180930 h 4749526"/>
              <a:gd name="connsiteX7782" fmla="*/ 6343325 w 7402822"/>
              <a:gd name="connsiteY7782" fmla="*/ 1162715 h 4749526"/>
              <a:gd name="connsiteX7783" fmla="*/ 6361539 w 7402822"/>
              <a:gd name="connsiteY7783" fmla="*/ 1162715 h 4749526"/>
              <a:gd name="connsiteX7784" fmla="*/ 6370647 w 7402822"/>
              <a:gd name="connsiteY7784" fmla="*/ 1159679 h 4749526"/>
              <a:gd name="connsiteX7785" fmla="*/ 6376719 w 7402822"/>
              <a:gd name="connsiteY7785" fmla="*/ 1156643 h 4749526"/>
              <a:gd name="connsiteX7786" fmla="*/ 6373683 w 7402822"/>
              <a:gd name="connsiteY7786" fmla="*/ 1147535 h 4749526"/>
              <a:gd name="connsiteX7787" fmla="*/ 6367611 w 7402822"/>
              <a:gd name="connsiteY7787" fmla="*/ 1135393 h 4749526"/>
              <a:gd name="connsiteX7788" fmla="*/ 6373683 w 7402822"/>
              <a:gd name="connsiteY7788" fmla="*/ 1135393 h 4749526"/>
              <a:gd name="connsiteX7789" fmla="*/ 6382791 w 7402822"/>
              <a:gd name="connsiteY7789" fmla="*/ 1138428 h 4749526"/>
              <a:gd name="connsiteX7790" fmla="*/ 6394934 w 7402822"/>
              <a:gd name="connsiteY7790" fmla="*/ 1144500 h 4749526"/>
              <a:gd name="connsiteX7791" fmla="*/ 6419219 w 7402822"/>
              <a:gd name="connsiteY7791" fmla="*/ 1147535 h 4749526"/>
              <a:gd name="connsiteX7792" fmla="*/ 6446542 w 7402822"/>
              <a:gd name="connsiteY7792" fmla="*/ 1153607 h 4749526"/>
              <a:gd name="connsiteX7793" fmla="*/ 6470829 w 7402822"/>
              <a:gd name="connsiteY7793" fmla="*/ 1159679 h 4749526"/>
              <a:gd name="connsiteX7794" fmla="*/ 6495115 w 7402822"/>
              <a:gd name="connsiteY7794" fmla="*/ 1168786 h 4749526"/>
              <a:gd name="connsiteX7795" fmla="*/ 6504223 w 7402822"/>
              <a:gd name="connsiteY7795" fmla="*/ 1171822 h 4749526"/>
              <a:gd name="connsiteX7796" fmla="*/ 6528509 w 7402822"/>
              <a:gd name="connsiteY7796" fmla="*/ 1174858 h 4749526"/>
              <a:gd name="connsiteX7797" fmla="*/ 6552796 w 7402822"/>
              <a:gd name="connsiteY7797" fmla="*/ 1183965 h 4749526"/>
              <a:gd name="connsiteX7798" fmla="*/ 6561903 w 7402822"/>
              <a:gd name="connsiteY7798" fmla="*/ 1199145 h 4749526"/>
              <a:gd name="connsiteX7799" fmla="*/ 6555831 w 7402822"/>
              <a:gd name="connsiteY7799" fmla="*/ 1211288 h 4749526"/>
              <a:gd name="connsiteX7800" fmla="*/ 6546724 w 7402822"/>
              <a:gd name="connsiteY7800" fmla="*/ 1202180 h 4749526"/>
              <a:gd name="connsiteX7801" fmla="*/ 6540652 w 7402822"/>
              <a:gd name="connsiteY7801" fmla="*/ 1211288 h 4749526"/>
              <a:gd name="connsiteX7802" fmla="*/ 6537617 w 7402822"/>
              <a:gd name="connsiteY7802" fmla="*/ 1217359 h 4749526"/>
              <a:gd name="connsiteX7803" fmla="*/ 6549759 w 7402822"/>
              <a:gd name="connsiteY7803" fmla="*/ 1217359 h 4749526"/>
              <a:gd name="connsiteX7804" fmla="*/ 6558867 w 7402822"/>
              <a:gd name="connsiteY7804" fmla="*/ 1229503 h 4749526"/>
              <a:gd name="connsiteX7805" fmla="*/ 6564939 w 7402822"/>
              <a:gd name="connsiteY7805" fmla="*/ 1226466 h 4749526"/>
              <a:gd name="connsiteX7806" fmla="*/ 6574047 w 7402822"/>
              <a:gd name="connsiteY7806" fmla="*/ 1226466 h 4749526"/>
              <a:gd name="connsiteX7807" fmla="*/ 6574047 w 7402822"/>
              <a:gd name="connsiteY7807" fmla="*/ 1241645 h 4749526"/>
              <a:gd name="connsiteX7808" fmla="*/ 6595297 w 7402822"/>
              <a:gd name="connsiteY7808" fmla="*/ 1241645 h 4749526"/>
              <a:gd name="connsiteX7809" fmla="*/ 6598332 w 7402822"/>
              <a:gd name="connsiteY7809" fmla="*/ 1247717 h 4749526"/>
              <a:gd name="connsiteX7810" fmla="*/ 6616547 w 7402822"/>
              <a:gd name="connsiteY7810" fmla="*/ 1272004 h 4749526"/>
              <a:gd name="connsiteX7811" fmla="*/ 6628690 w 7402822"/>
              <a:gd name="connsiteY7811" fmla="*/ 1268968 h 4749526"/>
              <a:gd name="connsiteX7812" fmla="*/ 6652977 w 7402822"/>
              <a:gd name="connsiteY7812" fmla="*/ 1259861 h 4749526"/>
              <a:gd name="connsiteX7813" fmla="*/ 6704585 w 7402822"/>
              <a:gd name="connsiteY7813" fmla="*/ 1253789 h 4749526"/>
              <a:gd name="connsiteX7814" fmla="*/ 6728872 w 7402822"/>
              <a:gd name="connsiteY7814" fmla="*/ 1256825 h 4749526"/>
              <a:gd name="connsiteX7815" fmla="*/ 6753159 w 7402822"/>
              <a:gd name="connsiteY7815" fmla="*/ 1272004 h 4749526"/>
              <a:gd name="connsiteX7816" fmla="*/ 6762267 w 7402822"/>
              <a:gd name="connsiteY7816" fmla="*/ 1287183 h 4749526"/>
              <a:gd name="connsiteX7817" fmla="*/ 6768337 w 7402822"/>
              <a:gd name="connsiteY7817" fmla="*/ 1308434 h 4749526"/>
              <a:gd name="connsiteX7818" fmla="*/ 6762267 w 7402822"/>
              <a:gd name="connsiteY7818" fmla="*/ 1314505 h 4749526"/>
              <a:gd name="connsiteX7819" fmla="*/ 6762267 w 7402822"/>
              <a:gd name="connsiteY7819" fmla="*/ 1326648 h 4749526"/>
              <a:gd name="connsiteX7820" fmla="*/ 6771374 w 7402822"/>
              <a:gd name="connsiteY7820" fmla="*/ 1338792 h 4749526"/>
              <a:gd name="connsiteX7821" fmla="*/ 6774409 w 7402822"/>
              <a:gd name="connsiteY7821" fmla="*/ 1341827 h 4749526"/>
              <a:gd name="connsiteX7822" fmla="*/ 6780481 w 7402822"/>
              <a:gd name="connsiteY7822" fmla="*/ 1341827 h 4749526"/>
              <a:gd name="connsiteX7823" fmla="*/ 6798695 w 7402822"/>
              <a:gd name="connsiteY7823" fmla="*/ 1357006 h 4749526"/>
              <a:gd name="connsiteX7824" fmla="*/ 6819947 w 7402822"/>
              <a:gd name="connsiteY7824" fmla="*/ 1341827 h 4749526"/>
              <a:gd name="connsiteX7825" fmla="*/ 6847269 w 7402822"/>
              <a:gd name="connsiteY7825" fmla="*/ 1338792 h 4749526"/>
              <a:gd name="connsiteX7826" fmla="*/ 6853340 w 7402822"/>
              <a:gd name="connsiteY7826" fmla="*/ 1341827 h 4749526"/>
              <a:gd name="connsiteX7827" fmla="*/ 6859412 w 7402822"/>
              <a:gd name="connsiteY7827" fmla="*/ 1344864 h 4749526"/>
              <a:gd name="connsiteX7828" fmla="*/ 6868519 w 7402822"/>
              <a:gd name="connsiteY7828" fmla="*/ 1347899 h 4749526"/>
              <a:gd name="connsiteX7829" fmla="*/ 6892807 w 7402822"/>
              <a:gd name="connsiteY7829" fmla="*/ 1350935 h 4749526"/>
              <a:gd name="connsiteX7830" fmla="*/ 6917092 w 7402822"/>
              <a:gd name="connsiteY7830" fmla="*/ 1347899 h 4749526"/>
              <a:gd name="connsiteX7831" fmla="*/ 6926201 w 7402822"/>
              <a:gd name="connsiteY7831" fmla="*/ 1335756 h 4749526"/>
              <a:gd name="connsiteX7832" fmla="*/ 6935307 w 7402822"/>
              <a:gd name="connsiteY7832" fmla="*/ 1341827 h 4749526"/>
              <a:gd name="connsiteX7833" fmla="*/ 6944415 w 7402822"/>
              <a:gd name="connsiteY7833" fmla="*/ 1363078 h 4749526"/>
              <a:gd name="connsiteX7834" fmla="*/ 6956559 w 7402822"/>
              <a:gd name="connsiteY7834" fmla="*/ 1375222 h 4749526"/>
              <a:gd name="connsiteX7835" fmla="*/ 6962631 w 7402822"/>
              <a:gd name="connsiteY7835" fmla="*/ 1375222 h 4749526"/>
              <a:gd name="connsiteX7836" fmla="*/ 6962631 w 7402822"/>
              <a:gd name="connsiteY7836" fmla="*/ 1387365 h 4749526"/>
              <a:gd name="connsiteX7837" fmla="*/ 6968701 w 7402822"/>
              <a:gd name="connsiteY7837" fmla="*/ 1393436 h 4749526"/>
              <a:gd name="connsiteX7838" fmla="*/ 6983880 w 7402822"/>
              <a:gd name="connsiteY7838" fmla="*/ 1390401 h 4749526"/>
              <a:gd name="connsiteX7839" fmla="*/ 6989952 w 7402822"/>
              <a:gd name="connsiteY7839" fmla="*/ 1384329 h 4749526"/>
              <a:gd name="connsiteX7840" fmla="*/ 6996024 w 7402822"/>
              <a:gd name="connsiteY7840" fmla="*/ 1378257 h 4749526"/>
              <a:gd name="connsiteX7841" fmla="*/ 6992987 w 7402822"/>
              <a:gd name="connsiteY7841" fmla="*/ 1363078 h 4749526"/>
              <a:gd name="connsiteX7842" fmla="*/ 6986915 w 7402822"/>
              <a:gd name="connsiteY7842" fmla="*/ 1350935 h 4749526"/>
              <a:gd name="connsiteX7843" fmla="*/ 6986915 w 7402822"/>
              <a:gd name="connsiteY7843" fmla="*/ 1332720 h 4749526"/>
              <a:gd name="connsiteX7844" fmla="*/ 6983880 w 7402822"/>
              <a:gd name="connsiteY7844" fmla="*/ 1314505 h 4749526"/>
              <a:gd name="connsiteX7845" fmla="*/ 7020310 w 7402822"/>
              <a:gd name="connsiteY7845" fmla="*/ 1323613 h 4749526"/>
              <a:gd name="connsiteX7846" fmla="*/ 7038525 w 7402822"/>
              <a:gd name="connsiteY7846" fmla="*/ 1326648 h 4749526"/>
              <a:gd name="connsiteX7847" fmla="*/ 7041561 w 7402822"/>
              <a:gd name="connsiteY7847" fmla="*/ 1326648 h 4749526"/>
              <a:gd name="connsiteX7848" fmla="*/ 7044597 w 7402822"/>
              <a:gd name="connsiteY7848" fmla="*/ 1323613 h 4749526"/>
              <a:gd name="connsiteX7849" fmla="*/ 7050669 w 7402822"/>
              <a:gd name="connsiteY7849" fmla="*/ 1329685 h 4749526"/>
              <a:gd name="connsiteX7850" fmla="*/ 7065847 w 7402822"/>
              <a:gd name="connsiteY7850" fmla="*/ 1329685 h 4749526"/>
              <a:gd name="connsiteX7851" fmla="*/ 7081027 w 7402822"/>
              <a:gd name="connsiteY7851" fmla="*/ 1329685 h 4749526"/>
              <a:gd name="connsiteX7852" fmla="*/ 7090134 w 7402822"/>
              <a:gd name="connsiteY7852" fmla="*/ 1326648 h 4749526"/>
              <a:gd name="connsiteX7853" fmla="*/ 7102277 w 7402822"/>
              <a:gd name="connsiteY7853" fmla="*/ 1329685 h 4749526"/>
              <a:gd name="connsiteX7854" fmla="*/ 7126563 w 7402822"/>
              <a:gd name="connsiteY7854" fmla="*/ 1347899 h 4749526"/>
              <a:gd name="connsiteX7855" fmla="*/ 7141743 w 7402822"/>
              <a:gd name="connsiteY7855" fmla="*/ 1353971 h 4749526"/>
              <a:gd name="connsiteX7856" fmla="*/ 7144779 w 7402822"/>
              <a:gd name="connsiteY7856" fmla="*/ 1353971 h 4749526"/>
              <a:gd name="connsiteX7857" fmla="*/ 7150850 w 7402822"/>
              <a:gd name="connsiteY7857" fmla="*/ 1353971 h 4749526"/>
              <a:gd name="connsiteX7858" fmla="*/ 7175137 w 7402822"/>
              <a:gd name="connsiteY7858" fmla="*/ 1375222 h 4749526"/>
              <a:gd name="connsiteX7859" fmla="*/ 7181209 w 7402822"/>
              <a:gd name="connsiteY7859" fmla="*/ 1381293 h 4749526"/>
              <a:gd name="connsiteX7860" fmla="*/ 7196387 w 7402822"/>
              <a:gd name="connsiteY7860" fmla="*/ 1390401 h 4749526"/>
              <a:gd name="connsiteX7861" fmla="*/ 7211567 w 7402822"/>
              <a:gd name="connsiteY7861" fmla="*/ 1402544 h 4749526"/>
              <a:gd name="connsiteX7862" fmla="*/ 7208530 w 7402822"/>
              <a:gd name="connsiteY7862" fmla="*/ 1402544 h 4749526"/>
              <a:gd name="connsiteX7863" fmla="*/ 7220674 w 7402822"/>
              <a:gd name="connsiteY7863" fmla="*/ 1420759 h 4749526"/>
              <a:gd name="connsiteX7864" fmla="*/ 7226745 w 7402822"/>
              <a:gd name="connsiteY7864" fmla="*/ 1417723 h 4749526"/>
              <a:gd name="connsiteX7865" fmla="*/ 7232817 w 7402822"/>
              <a:gd name="connsiteY7865" fmla="*/ 1420759 h 4749526"/>
              <a:gd name="connsiteX7866" fmla="*/ 7260139 w 7402822"/>
              <a:gd name="connsiteY7866" fmla="*/ 1442010 h 4749526"/>
              <a:gd name="connsiteX7867" fmla="*/ 7269247 w 7402822"/>
              <a:gd name="connsiteY7867" fmla="*/ 1448081 h 4749526"/>
              <a:gd name="connsiteX7868" fmla="*/ 7281391 w 7402822"/>
              <a:gd name="connsiteY7868" fmla="*/ 1463260 h 4749526"/>
              <a:gd name="connsiteX7869" fmla="*/ 7287461 w 7402822"/>
              <a:gd name="connsiteY7869" fmla="*/ 1472368 h 4749526"/>
              <a:gd name="connsiteX7870" fmla="*/ 7287461 w 7402822"/>
              <a:gd name="connsiteY7870" fmla="*/ 1487546 h 4749526"/>
              <a:gd name="connsiteX7871" fmla="*/ 7287461 w 7402822"/>
              <a:gd name="connsiteY7871" fmla="*/ 1502725 h 4749526"/>
              <a:gd name="connsiteX7872" fmla="*/ 7284425 w 7402822"/>
              <a:gd name="connsiteY7872" fmla="*/ 1508797 h 4749526"/>
              <a:gd name="connsiteX7873" fmla="*/ 7290497 w 7402822"/>
              <a:gd name="connsiteY7873" fmla="*/ 1514869 h 4749526"/>
              <a:gd name="connsiteX7874" fmla="*/ 7302640 w 7402822"/>
              <a:gd name="connsiteY7874" fmla="*/ 1517905 h 4749526"/>
              <a:gd name="connsiteX7875" fmla="*/ 7302640 w 7402822"/>
              <a:gd name="connsiteY7875" fmla="*/ 1527013 h 4749526"/>
              <a:gd name="connsiteX7876" fmla="*/ 7302640 w 7402822"/>
              <a:gd name="connsiteY7876" fmla="*/ 1530048 h 4749526"/>
              <a:gd name="connsiteX7877" fmla="*/ 7308712 w 7402822"/>
              <a:gd name="connsiteY7877" fmla="*/ 1523976 h 4749526"/>
              <a:gd name="connsiteX7878" fmla="*/ 7308712 w 7402822"/>
              <a:gd name="connsiteY7878" fmla="*/ 1520941 h 4749526"/>
              <a:gd name="connsiteX7879" fmla="*/ 7302640 w 7402822"/>
              <a:gd name="connsiteY7879" fmla="*/ 1493618 h 4749526"/>
              <a:gd name="connsiteX7880" fmla="*/ 7290497 w 7402822"/>
              <a:gd name="connsiteY7880" fmla="*/ 1487546 h 4749526"/>
              <a:gd name="connsiteX7881" fmla="*/ 7296569 w 7402822"/>
              <a:gd name="connsiteY7881" fmla="*/ 1484511 h 4749526"/>
              <a:gd name="connsiteX7882" fmla="*/ 7305675 w 7402822"/>
              <a:gd name="connsiteY7882" fmla="*/ 1484511 h 4749526"/>
              <a:gd name="connsiteX7883" fmla="*/ 7320855 w 7402822"/>
              <a:gd name="connsiteY7883" fmla="*/ 1487546 h 4749526"/>
              <a:gd name="connsiteX7884" fmla="*/ 7336034 w 7402822"/>
              <a:gd name="connsiteY7884" fmla="*/ 1490583 h 4749526"/>
              <a:gd name="connsiteX7885" fmla="*/ 7351213 w 7402822"/>
              <a:gd name="connsiteY7885" fmla="*/ 1496655 h 4749526"/>
              <a:gd name="connsiteX7886" fmla="*/ 7360321 w 7402822"/>
              <a:gd name="connsiteY7886" fmla="*/ 1508797 h 4749526"/>
              <a:gd name="connsiteX7887" fmla="*/ 7366392 w 7402822"/>
              <a:gd name="connsiteY7887" fmla="*/ 1514869 h 4749526"/>
              <a:gd name="connsiteX7888" fmla="*/ 7378535 w 7402822"/>
              <a:gd name="connsiteY7888" fmla="*/ 1523976 h 4749526"/>
              <a:gd name="connsiteX7889" fmla="*/ 7387643 w 7402822"/>
              <a:gd name="connsiteY7889" fmla="*/ 1533084 h 4749526"/>
              <a:gd name="connsiteX7890" fmla="*/ 7390679 w 7402822"/>
              <a:gd name="connsiteY7890" fmla="*/ 1542192 h 4749526"/>
              <a:gd name="connsiteX7891" fmla="*/ 7384607 w 7402822"/>
              <a:gd name="connsiteY7891" fmla="*/ 1545227 h 4749526"/>
              <a:gd name="connsiteX7892" fmla="*/ 7375499 w 7402822"/>
              <a:gd name="connsiteY7892" fmla="*/ 1551299 h 4749526"/>
              <a:gd name="connsiteX7893" fmla="*/ 7375499 w 7402822"/>
              <a:gd name="connsiteY7893" fmla="*/ 1560406 h 4749526"/>
              <a:gd name="connsiteX7894" fmla="*/ 7372464 w 7402822"/>
              <a:gd name="connsiteY7894" fmla="*/ 1563442 h 4749526"/>
              <a:gd name="connsiteX7895" fmla="*/ 7357285 w 7402822"/>
              <a:gd name="connsiteY7895" fmla="*/ 1566478 h 4749526"/>
              <a:gd name="connsiteX7896" fmla="*/ 7351213 w 7402822"/>
              <a:gd name="connsiteY7896" fmla="*/ 1566478 h 4749526"/>
              <a:gd name="connsiteX7897" fmla="*/ 7345141 w 7402822"/>
              <a:gd name="connsiteY7897" fmla="*/ 1566478 h 4749526"/>
              <a:gd name="connsiteX7898" fmla="*/ 7342105 w 7402822"/>
              <a:gd name="connsiteY7898" fmla="*/ 1578621 h 4749526"/>
              <a:gd name="connsiteX7899" fmla="*/ 7342105 w 7402822"/>
              <a:gd name="connsiteY7899" fmla="*/ 1587728 h 4749526"/>
              <a:gd name="connsiteX7900" fmla="*/ 7329963 w 7402822"/>
              <a:gd name="connsiteY7900" fmla="*/ 1596836 h 4749526"/>
              <a:gd name="connsiteX7901" fmla="*/ 7320855 w 7402822"/>
              <a:gd name="connsiteY7901" fmla="*/ 1602907 h 4749526"/>
              <a:gd name="connsiteX7902" fmla="*/ 7329963 w 7402822"/>
              <a:gd name="connsiteY7902" fmla="*/ 1612015 h 4749526"/>
              <a:gd name="connsiteX7903" fmla="*/ 7336034 w 7402822"/>
              <a:gd name="connsiteY7903" fmla="*/ 1621123 h 4749526"/>
              <a:gd name="connsiteX7904" fmla="*/ 7329963 w 7402822"/>
              <a:gd name="connsiteY7904" fmla="*/ 1624158 h 4749526"/>
              <a:gd name="connsiteX7905" fmla="*/ 7323891 w 7402822"/>
              <a:gd name="connsiteY7905" fmla="*/ 1627194 h 4749526"/>
              <a:gd name="connsiteX7906" fmla="*/ 7314784 w 7402822"/>
              <a:gd name="connsiteY7906" fmla="*/ 1624158 h 4749526"/>
              <a:gd name="connsiteX7907" fmla="*/ 7305675 w 7402822"/>
              <a:gd name="connsiteY7907" fmla="*/ 1621123 h 4749526"/>
              <a:gd name="connsiteX7908" fmla="*/ 7302640 w 7402822"/>
              <a:gd name="connsiteY7908" fmla="*/ 1615051 h 4749526"/>
              <a:gd name="connsiteX7909" fmla="*/ 7296569 w 7402822"/>
              <a:gd name="connsiteY7909" fmla="*/ 1608979 h 4749526"/>
              <a:gd name="connsiteX7910" fmla="*/ 7284425 w 7402822"/>
              <a:gd name="connsiteY7910" fmla="*/ 1602907 h 4749526"/>
              <a:gd name="connsiteX7911" fmla="*/ 7275317 w 7402822"/>
              <a:gd name="connsiteY7911" fmla="*/ 1602907 h 4749526"/>
              <a:gd name="connsiteX7912" fmla="*/ 7269247 w 7402822"/>
              <a:gd name="connsiteY7912" fmla="*/ 1593800 h 4749526"/>
              <a:gd name="connsiteX7913" fmla="*/ 7266210 w 7402822"/>
              <a:gd name="connsiteY7913" fmla="*/ 1581657 h 4749526"/>
              <a:gd name="connsiteX7914" fmla="*/ 7263175 w 7402822"/>
              <a:gd name="connsiteY7914" fmla="*/ 1569514 h 4749526"/>
              <a:gd name="connsiteX7915" fmla="*/ 7257103 w 7402822"/>
              <a:gd name="connsiteY7915" fmla="*/ 1566478 h 4749526"/>
              <a:gd name="connsiteX7916" fmla="*/ 7235852 w 7402822"/>
              <a:gd name="connsiteY7916" fmla="*/ 1566478 h 4749526"/>
              <a:gd name="connsiteX7917" fmla="*/ 7223709 w 7402822"/>
              <a:gd name="connsiteY7917" fmla="*/ 1569514 h 4749526"/>
              <a:gd name="connsiteX7918" fmla="*/ 7211567 w 7402822"/>
              <a:gd name="connsiteY7918" fmla="*/ 1566478 h 4749526"/>
              <a:gd name="connsiteX7919" fmla="*/ 7205495 w 7402822"/>
              <a:gd name="connsiteY7919" fmla="*/ 1545227 h 4749526"/>
              <a:gd name="connsiteX7920" fmla="*/ 7202459 w 7402822"/>
              <a:gd name="connsiteY7920" fmla="*/ 1533084 h 4749526"/>
              <a:gd name="connsiteX7921" fmla="*/ 7193351 w 7402822"/>
              <a:gd name="connsiteY7921" fmla="*/ 1536120 h 4749526"/>
              <a:gd name="connsiteX7922" fmla="*/ 7184244 w 7402822"/>
              <a:gd name="connsiteY7922" fmla="*/ 1545227 h 4749526"/>
              <a:gd name="connsiteX7923" fmla="*/ 7190315 w 7402822"/>
              <a:gd name="connsiteY7923" fmla="*/ 1560406 h 4749526"/>
              <a:gd name="connsiteX7924" fmla="*/ 7190315 w 7402822"/>
              <a:gd name="connsiteY7924" fmla="*/ 1578621 h 4749526"/>
              <a:gd name="connsiteX7925" fmla="*/ 7181209 w 7402822"/>
              <a:gd name="connsiteY7925" fmla="*/ 1587728 h 4749526"/>
              <a:gd name="connsiteX7926" fmla="*/ 7169065 w 7402822"/>
              <a:gd name="connsiteY7926" fmla="*/ 1599872 h 4749526"/>
              <a:gd name="connsiteX7927" fmla="*/ 7162993 w 7402822"/>
              <a:gd name="connsiteY7927" fmla="*/ 1602907 h 4749526"/>
              <a:gd name="connsiteX7928" fmla="*/ 7141743 w 7402822"/>
              <a:gd name="connsiteY7928" fmla="*/ 1608979 h 4749526"/>
              <a:gd name="connsiteX7929" fmla="*/ 7129599 w 7402822"/>
              <a:gd name="connsiteY7929" fmla="*/ 1602907 h 4749526"/>
              <a:gd name="connsiteX7930" fmla="*/ 7126563 w 7402822"/>
              <a:gd name="connsiteY7930" fmla="*/ 1596836 h 4749526"/>
              <a:gd name="connsiteX7931" fmla="*/ 7126563 w 7402822"/>
              <a:gd name="connsiteY7931" fmla="*/ 1602907 h 4749526"/>
              <a:gd name="connsiteX7932" fmla="*/ 7126563 w 7402822"/>
              <a:gd name="connsiteY7932" fmla="*/ 1608979 h 4749526"/>
              <a:gd name="connsiteX7933" fmla="*/ 7126563 w 7402822"/>
              <a:gd name="connsiteY7933" fmla="*/ 1615051 h 4749526"/>
              <a:gd name="connsiteX7934" fmla="*/ 7135671 w 7402822"/>
              <a:gd name="connsiteY7934" fmla="*/ 1630230 h 4749526"/>
              <a:gd name="connsiteX7935" fmla="*/ 7141743 w 7402822"/>
              <a:gd name="connsiteY7935" fmla="*/ 1630230 h 4749526"/>
              <a:gd name="connsiteX7936" fmla="*/ 7144779 w 7402822"/>
              <a:gd name="connsiteY7936" fmla="*/ 1621123 h 4749526"/>
              <a:gd name="connsiteX7937" fmla="*/ 7147814 w 7402822"/>
              <a:gd name="connsiteY7937" fmla="*/ 1630230 h 4749526"/>
              <a:gd name="connsiteX7938" fmla="*/ 7147814 w 7402822"/>
              <a:gd name="connsiteY7938" fmla="*/ 1636302 h 4749526"/>
              <a:gd name="connsiteX7939" fmla="*/ 7153885 w 7402822"/>
              <a:gd name="connsiteY7939" fmla="*/ 1642373 h 4749526"/>
              <a:gd name="connsiteX7940" fmla="*/ 7153885 w 7402822"/>
              <a:gd name="connsiteY7940" fmla="*/ 1657552 h 4749526"/>
              <a:gd name="connsiteX7941" fmla="*/ 7147814 w 7402822"/>
              <a:gd name="connsiteY7941" fmla="*/ 1657552 h 4749526"/>
              <a:gd name="connsiteX7942" fmla="*/ 7144779 w 7402822"/>
              <a:gd name="connsiteY7942" fmla="*/ 1660588 h 4749526"/>
              <a:gd name="connsiteX7943" fmla="*/ 7150850 w 7402822"/>
              <a:gd name="connsiteY7943" fmla="*/ 1666660 h 4749526"/>
              <a:gd name="connsiteX7944" fmla="*/ 7162993 w 7402822"/>
              <a:gd name="connsiteY7944" fmla="*/ 1675767 h 4749526"/>
              <a:gd name="connsiteX7945" fmla="*/ 7169065 w 7402822"/>
              <a:gd name="connsiteY7945" fmla="*/ 1684875 h 4749526"/>
              <a:gd name="connsiteX7946" fmla="*/ 7172100 w 7402822"/>
              <a:gd name="connsiteY7946" fmla="*/ 1700054 h 4749526"/>
              <a:gd name="connsiteX7947" fmla="*/ 7169065 w 7402822"/>
              <a:gd name="connsiteY7947" fmla="*/ 1706125 h 4749526"/>
              <a:gd name="connsiteX7948" fmla="*/ 7159957 w 7402822"/>
              <a:gd name="connsiteY7948" fmla="*/ 1715233 h 4749526"/>
              <a:gd name="connsiteX7949" fmla="*/ 7141743 w 7402822"/>
              <a:gd name="connsiteY7949" fmla="*/ 1709161 h 4749526"/>
              <a:gd name="connsiteX7950" fmla="*/ 7117455 w 7402822"/>
              <a:gd name="connsiteY7950" fmla="*/ 1693982 h 4749526"/>
              <a:gd name="connsiteX7951" fmla="*/ 7114420 w 7402822"/>
              <a:gd name="connsiteY7951" fmla="*/ 1709161 h 4749526"/>
              <a:gd name="connsiteX7952" fmla="*/ 7105313 w 7402822"/>
              <a:gd name="connsiteY7952" fmla="*/ 1715233 h 4749526"/>
              <a:gd name="connsiteX7953" fmla="*/ 7084062 w 7402822"/>
              <a:gd name="connsiteY7953" fmla="*/ 1727375 h 4749526"/>
              <a:gd name="connsiteX7954" fmla="*/ 7062811 w 7402822"/>
              <a:gd name="connsiteY7954" fmla="*/ 1739519 h 4749526"/>
              <a:gd name="connsiteX7955" fmla="*/ 7059775 w 7402822"/>
              <a:gd name="connsiteY7955" fmla="*/ 1739519 h 4749526"/>
              <a:gd name="connsiteX7956" fmla="*/ 7050669 w 7402822"/>
              <a:gd name="connsiteY7956" fmla="*/ 1739519 h 4749526"/>
              <a:gd name="connsiteX7957" fmla="*/ 7041561 w 7402822"/>
              <a:gd name="connsiteY7957" fmla="*/ 1754699 h 4749526"/>
              <a:gd name="connsiteX7958" fmla="*/ 7032454 w 7402822"/>
              <a:gd name="connsiteY7958" fmla="*/ 1763806 h 4749526"/>
              <a:gd name="connsiteX7959" fmla="*/ 7023345 w 7402822"/>
              <a:gd name="connsiteY7959" fmla="*/ 1763806 h 4749526"/>
              <a:gd name="connsiteX7960" fmla="*/ 7023345 w 7402822"/>
              <a:gd name="connsiteY7960" fmla="*/ 1772914 h 4749526"/>
              <a:gd name="connsiteX7961" fmla="*/ 7017274 w 7402822"/>
              <a:gd name="connsiteY7961" fmla="*/ 1775950 h 4749526"/>
              <a:gd name="connsiteX7962" fmla="*/ 7011203 w 7402822"/>
              <a:gd name="connsiteY7962" fmla="*/ 1778986 h 4749526"/>
              <a:gd name="connsiteX7963" fmla="*/ 6996024 w 7402822"/>
              <a:gd name="connsiteY7963" fmla="*/ 1794165 h 4749526"/>
              <a:gd name="connsiteX7964" fmla="*/ 6983880 w 7402822"/>
              <a:gd name="connsiteY7964" fmla="*/ 1806308 h 4749526"/>
              <a:gd name="connsiteX7965" fmla="*/ 6977809 w 7402822"/>
              <a:gd name="connsiteY7965" fmla="*/ 1818451 h 4749526"/>
              <a:gd name="connsiteX7966" fmla="*/ 6968701 w 7402822"/>
              <a:gd name="connsiteY7966" fmla="*/ 1803272 h 4749526"/>
              <a:gd name="connsiteX7967" fmla="*/ 6968701 w 7402822"/>
              <a:gd name="connsiteY7967" fmla="*/ 1797200 h 4749526"/>
              <a:gd name="connsiteX7968" fmla="*/ 6959594 w 7402822"/>
              <a:gd name="connsiteY7968" fmla="*/ 1794165 h 4749526"/>
              <a:gd name="connsiteX7969" fmla="*/ 6947450 w 7402822"/>
              <a:gd name="connsiteY7969" fmla="*/ 1791129 h 4749526"/>
              <a:gd name="connsiteX7970" fmla="*/ 6923164 w 7402822"/>
              <a:gd name="connsiteY7970" fmla="*/ 1797200 h 4749526"/>
              <a:gd name="connsiteX7971" fmla="*/ 6898877 w 7402822"/>
              <a:gd name="connsiteY7971" fmla="*/ 1821487 h 4749526"/>
              <a:gd name="connsiteX7972" fmla="*/ 6895842 w 7402822"/>
              <a:gd name="connsiteY7972" fmla="*/ 1824523 h 4749526"/>
              <a:gd name="connsiteX7973" fmla="*/ 6892807 w 7402822"/>
              <a:gd name="connsiteY7973" fmla="*/ 1815416 h 4749526"/>
              <a:gd name="connsiteX7974" fmla="*/ 6898877 w 7402822"/>
              <a:gd name="connsiteY7974" fmla="*/ 1797200 h 4749526"/>
              <a:gd name="connsiteX7975" fmla="*/ 6892807 w 7402822"/>
              <a:gd name="connsiteY7975" fmla="*/ 1797200 h 4749526"/>
              <a:gd name="connsiteX7976" fmla="*/ 6889770 w 7402822"/>
              <a:gd name="connsiteY7976" fmla="*/ 1800236 h 4749526"/>
              <a:gd name="connsiteX7977" fmla="*/ 6877627 w 7402822"/>
              <a:gd name="connsiteY7977" fmla="*/ 1809344 h 4749526"/>
              <a:gd name="connsiteX7978" fmla="*/ 6868519 w 7402822"/>
              <a:gd name="connsiteY7978" fmla="*/ 1818451 h 4749526"/>
              <a:gd name="connsiteX7979" fmla="*/ 6862449 w 7402822"/>
              <a:gd name="connsiteY7979" fmla="*/ 1815416 h 4749526"/>
              <a:gd name="connsiteX7980" fmla="*/ 6850305 w 7402822"/>
              <a:gd name="connsiteY7980" fmla="*/ 1812379 h 4749526"/>
              <a:gd name="connsiteX7981" fmla="*/ 6841197 w 7402822"/>
              <a:gd name="connsiteY7981" fmla="*/ 1815416 h 4749526"/>
              <a:gd name="connsiteX7982" fmla="*/ 6838161 w 7402822"/>
              <a:gd name="connsiteY7982" fmla="*/ 1824523 h 4749526"/>
              <a:gd name="connsiteX7983" fmla="*/ 6838161 w 7402822"/>
              <a:gd name="connsiteY7983" fmla="*/ 1833630 h 4749526"/>
              <a:gd name="connsiteX7984" fmla="*/ 6835125 w 7402822"/>
              <a:gd name="connsiteY7984" fmla="*/ 1845774 h 4749526"/>
              <a:gd name="connsiteX7985" fmla="*/ 6829054 w 7402822"/>
              <a:gd name="connsiteY7985" fmla="*/ 1854881 h 4749526"/>
              <a:gd name="connsiteX7986" fmla="*/ 6810839 w 7402822"/>
              <a:gd name="connsiteY7986" fmla="*/ 1885239 h 4749526"/>
              <a:gd name="connsiteX7987" fmla="*/ 6810839 w 7402822"/>
              <a:gd name="connsiteY7987" fmla="*/ 1900418 h 4749526"/>
              <a:gd name="connsiteX7988" fmla="*/ 6813875 w 7402822"/>
              <a:gd name="connsiteY7988" fmla="*/ 1903454 h 4749526"/>
              <a:gd name="connsiteX7989" fmla="*/ 6816911 w 7402822"/>
              <a:gd name="connsiteY7989" fmla="*/ 1906489 h 4749526"/>
              <a:gd name="connsiteX7990" fmla="*/ 6819947 w 7402822"/>
              <a:gd name="connsiteY7990" fmla="*/ 1897382 h 4749526"/>
              <a:gd name="connsiteX7991" fmla="*/ 6829054 w 7402822"/>
              <a:gd name="connsiteY7991" fmla="*/ 1900418 h 4749526"/>
              <a:gd name="connsiteX7992" fmla="*/ 6835125 w 7402822"/>
              <a:gd name="connsiteY7992" fmla="*/ 1903454 h 4749526"/>
              <a:gd name="connsiteX7993" fmla="*/ 6835125 w 7402822"/>
              <a:gd name="connsiteY7993" fmla="*/ 1909526 h 4749526"/>
              <a:gd name="connsiteX7994" fmla="*/ 6826019 w 7402822"/>
              <a:gd name="connsiteY7994" fmla="*/ 1918633 h 4749526"/>
              <a:gd name="connsiteX7995" fmla="*/ 6822983 w 7402822"/>
              <a:gd name="connsiteY7995" fmla="*/ 1924705 h 4749526"/>
              <a:gd name="connsiteX7996" fmla="*/ 6826019 w 7402822"/>
              <a:gd name="connsiteY7996" fmla="*/ 1936847 h 4749526"/>
              <a:gd name="connsiteX7997" fmla="*/ 6826019 w 7402822"/>
              <a:gd name="connsiteY7997" fmla="*/ 1945956 h 4749526"/>
              <a:gd name="connsiteX7998" fmla="*/ 6835125 w 7402822"/>
              <a:gd name="connsiteY7998" fmla="*/ 1945956 h 4749526"/>
              <a:gd name="connsiteX7999" fmla="*/ 6835125 w 7402822"/>
              <a:gd name="connsiteY7999" fmla="*/ 1964170 h 4749526"/>
              <a:gd name="connsiteX8000" fmla="*/ 6829054 w 7402822"/>
              <a:gd name="connsiteY8000" fmla="*/ 1970242 h 4749526"/>
              <a:gd name="connsiteX8001" fmla="*/ 6819947 w 7402822"/>
              <a:gd name="connsiteY8001" fmla="*/ 1964170 h 4749526"/>
              <a:gd name="connsiteX8002" fmla="*/ 6819947 w 7402822"/>
              <a:gd name="connsiteY8002" fmla="*/ 1961135 h 4749526"/>
              <a:gd name="connsiteX8003" fmla="*/ 6810839 w 7402822"/>
              <a:gd name="connsiteY8003" fmla="*/ 1970242 h 4749526"/>
              <a:gd name="connsiteX8004" fmla="*/ 6807803 w 7402822"/>
              <a:gd name="connsiteY8004" fmla="*/ 1976313 h 4749526"/>
              <a:gd name="connsiteX8005" fmla="*/ 6801732 w 7402822"/>
              <a:gd name="connsiteY8005" fmla="*/ 1994528 h 4749526"/>
              <a:gd name="connsiteX8006" fmla="*/ 6804767 w 7402822"/>
              <a:gd name="connsiteY8006" fmla="*/ 2003636 h 4749526"/>
              <a:gd name="connsiteX8007" fmla="*/ 6807803 w 7402822"/>
              <a:gd name="connsiteY8007" fmla="*/ 2009707 h 4749526"/>
              <a:gd name="connsiteX8008" fmla="*/ 6810839 w 7402822"/>
              <a:gd name="connsiteY8008" fmla="*/ 2015779 h 4749526"/>
              <a:gd name="connsiteX8009" fmla="*/ 6804767 w 7402822"/>
              <a:gd name="connsiteY8009" fmla="*/ 2024886 h 4749526"/>
              <a:gd name="connsiteX8010" fmla="*/ 6798695 w 7402822"/>
              <a:gd name="connsiteY8010" fmla="*/ 2024886 h 4749526"/>
              <a:gd name="connsiteX8011" fmla="*/ 6792625 w 7402822"/>
              <a:gd name="connsiteY8011" fmla="*/ 2024886 h 4749526"/>
              <a:gd name="connsiteX8012" fmla="*/ 6792625 w 7402822"/>
              <a:gd name="connsiteY8012" fmla="*/ 2021850 h 4749526"/>
              <a:gd name="connsiteX8013" fmla="*/ 6786553 w 7402822"/>
              <a:gd name="connsiteY8013" fmla="*/ 2021850 h 4749526"/>
              <a:gd name="connsiteX8014" fmla="*/ 6777445 w 7402822"/>
              <a:gd name="connsiteY8014" fmla="*/ 2030958 h 4749526"/>
              <a:gd name="connsiteX8015" fmla="*/ 6765302 w 7402822"/>
              <a:gd name="connsiteY8015" fmla="*/ 2043101 h 4749526"/>
              <a:gd name="connsiteX8016" fmla="*/ 6762267 w 7402822"/>
              <a:gd name="connsiteY8016" fmla="*/ 2061315 h 4749526"/>
              <a:gd name="connsiteX8017" fmla="*/ 6759230 w 7402822"/>
              <a:gd name="connsiteY8017" fmla="*/ 2070424 h 4749526"/>
              <a:gd name="connsiteX8018" fmla="*/ 6756195 w 7402822"/>
              <a:gd name="connsiteY8018" fmla="*/ 2070424 h 4749526"/>
              <a:gd name="connsiteX8019" fmla="*/ 6737979 w 7402822"/>
              <a:gd name="connsiteY8019" fmla="*/ 2076495 h 4749526"/>
              <a:gd name="connsiteX8020" fmla="*/ 6737979 w 7402822"/>
              <a:gd name="connsiteY8020" fmla="*/ 2082566 h 4749526"/>
              <a:gd name="connsiteX8021" fmla="*/ 6734944 w 7402822"/>
              <a:gd name="connsiteY8021" fmla="*/ 2088638 h 4749526"/>
              <a:gd name="connsiteX8022" fmla="*/ 6698514 w 7402822"/>
              <a:gd name="connsiteY8022" fmla="*/ 2146318 h 4749526"/>
              <a:gd name="connsiteX8023" fmla="*/ 6695479 w 7402822"/>
              <a:gd name="connsiteY8023" fmla="*/ 2131139 h 4749526"/>
              <a:gd name="connsiteX8024" fmla="*/ 6695479 w 7402822"/>
              <a:gd name="connsiteY8024" fmla="*/ 2115960 h 4749526"/>
              <a:gd name="connsiteX8025" fmla="*/ 6692443 w 7402822"/>
              <a:gd name="connsiteY8025" fmla="*/ 2097745 h 4749526"/>
              <a:gd name="connsiteX8026" fmla="*/ 6683336 w 7402822"/>
              <a:gd name="connsiteY8026" fmla="*/ 2052208 h 4749526"/>
              <a:gd name="connsiteX8027" fmla="*/ 6677264 w 7402822"/>
              <a:gd name="connsiteY8027" fmla="*/ 2012743 h 4749526"/>
              <a:gd name="connsiteX8028" fmla="*/ 6674227 w 7402822"/>
              <a:gd name="connsiteY8028" fmla="*/ 1994528 h 4749526"/>
              <a:gd name="connsiteX8029" fmla="*/ 6677264 w 7402822"/>
              <a:gd name="connsiteY8029" fmla="*/ 1973277 h 4749526"/>
              <a:gd name="connsiteX8030" fmla="*/ 6683336 w 7402822"/>
              <a:gd name="connsiteY8030" fmla="*/ 1952026 h 4749526"/>
              <a:gd name="connsiteX8031" fmla="*/ 6686371 w 7402822"/>
              <a:gd name="connsiteY8031" fmla="*/ 1942919 h 4749526"/>
              <a:gd name="connsiteX8032" fmla="*/ 6692443 w 7402822"/>
              <a:gd name="connsiteY8032" fmla="*/ 1936847 h 4749526"/>
              <a:gd name="connsiteX8033" fmla="*/ 6701551 w 7402822"/>
              <a:gd name="connsiteY8033" fmla="*/ 1927740 h 4749526"/>
              <a:gd name="connsiteX8034" fmla="*/ 6704585 w 7402822"/>
              <a:gd name="connsiteY8034" fmla="*/ 1915597 h 4749526"/>
              <a:gd name="connsiteX8035" fmla="*/ 6710657 w 7402822"/>
              <a:gd name="connsiteY8035" fmla="*/ 1903454 h 4749526"/>
              <a:gd name="connsiteX8036" fmla="*/ 6734944 w 7402822"/>
              <a:gd name="connsiteY8036" fmla="*/ 1891311 h 4749526"/>
              <a:gd name="connsiteX8037" fmla="*/ 6756195 w 7402822"/>
              <a:gd name="connsiteY8037" fmla="*/ 1867024 h 4749526"/>
              <a:gd name="connsiteX8038" fmla="*/ 6762267 w 7402822"/>
              <a:gd name="connsiteY8038" fmla="*/ 1857916 h 4749526"/>
              <a:gd name="connsiteX8039" fmla="*/ 6768337 w 7402822"/>
              <a:gd name="connsiteY8039" fmla="*/ 1845774 h 4749526"/>
              <a:gd name="connsiteX8040" fmla="*/ 6792625 w 7402822"/>
              <a:gd name="connsiteY8040" fmla="*/ 1824523 h 4749526"/>
              <a:gd name="connsiteX8041" fmla="*/ 6804767 w 7402822"/>
              <a:gd name="connsiteY8041" fmla="*/ 1809344 h 4749526"/>
              <a:gd name="connsiteX8042" fmla="*/ 6807803 w 7402822"/>
              <a:gd name="connsiteY8042" fmla="*/ 1803272 h 4749526"/>
              <a:gd name="connsiteX8043" fmla="*/ 6810839 w 7402822"/>
              <a:gd name="connsiteY8043" fmla="*/ 1794165 h 4749526"/>
              <a:gd name="connsiteX8044" fmla="*/ 6822983 w 7402822"/>
              <a:gd name="connsiteY8044" fmla="*/ 1785057 h 4749526"/>
              <a:gd name="connsiteX8045" fmla="*/ 6835125 w 7402822"/>
              <a:gd name="connsiteY8045" fmla="*/ 1782021 h 4749526"/>
              <a:gd name="connsiteX8046" fmla="*/ 6841197 w 7402822"/>
              <a:gd name="connsiteY8046" fmla="*/ 1778986 h 4749526"/>
              <a:gd name="connsiteX8047" fmla="*/ 6847269 w 7402822"/>
              <a:gd name="connsiteY8047" fmla="*/ 1769878 h 4749526"/>
              <a:gd name="connsiteX8048" fmla="*/ 6850305 w 7402822"/>
              <a:gd name="connsiteY8048" fmla="*/ 1748627 h 4749526"/>
              <a:gd name="connsiteX8049" fmla="*/ 6853340 w 7402822"/>
              <a:gd name="connsiteY8049" fmla="*/ 1730412 h 4749526"/>
              <a:gd name="connsiteX8050" fmla="*/ 6850305 w 7402822"/>
              <a:gd name="connsiteY8050" fmla="*/ 1727375 h 4749526"/>
              <a:gd name="connsiteX8051" fmla="*/ 6859412 w 7402822"/>
              <a:gd name="connsiteY8051" fmla="*/ 1712196 h 4749526"/>
              <a:gd name="connsiteX8052" fmla="*/ 6871555 w 7402822"/>
              <a:gd name="connsiteY8052" fmla="*/ 1709161 h 4749526"/>
              <a:gd name="connsiteX8053" fmla="*/ 6877627 w 7402822"/>
              <a:gd name="connsiteY8053" fmla="*/ 1709161 h 4749526"/>
              <a:gd name="connsiteX8054" fmla="*/ 6853340 w 7402822"/>
              <a:gd name="connsiteY8054" fmla="*/ 1700054 h 4749526"/>
              <a:gd name="connsiteX8055" fmla="*/ 6838161 w 7402822"/>
              <a:gd name="connsiteY8055" fmla="*/ 1706125 h 4749526"/>
              <a:gd name="connsiteX8056" fmla="*/ 6832091 w 7402822"/>
              <a:gd name="connsiteY8056" fmla="*/ 1715233 h 4749526"/>
              <a:gd name="connsiteX8057" fmla="*/ 6826019 w 7402822"/>
              <a:gd name="connsiteY8057" fmla="*/ 1736484 h 4749526"/>
              <a:gd name="connsiteX8058" fmla="*/ 6826019 w 7402822"/>
              <a:gd name="connsiteY8058" fmla="*/ 1742556 h 4749526"/>
              <a:gd name="connsiteX8059" fmla="*/ 6813875 w 7402822"/>
              <a:gd name="connsiteY8059" fmla="*/ 1748627 h 4749526"/>
              <a:gd name="connsiteX8060" fmla="*/ 6789589 w 7402822"/>
              <a:gd name="connsiteY8060" fmla="*/ 1775950 h 4749526"/>
              <a:gd name="connsiteX8061" fmla="*/ 6774409 w 7402822"/>
              <a:gd name="connsiteY8061" fmla="*/ 1788093 h 4749526"/>
              <a:gd name="connsiteX8062" fmla="*/ 6771374 w 7402822"/>
              <a:gd name="connsiteY8062" fmla="*/ 1791129 h 4749526"/>
              <a:gd name="connsiteX8063" fmla="*/ 6768337 w 7402822"/>
              <a:gd name="connsiteY8063" fmla="*/ 1778986 h 4749526"/>
              <a:gd name="connsiteX8064" fmla="*/ 6765302 w 7402822"/>
              <a:gd name="connsiteY8064" fmla="*/ 1763806 h 4749526"/>
              <a:gd name="connsiteX8065" fmla="*/ 6768337 w 7402822"/>
              <a:gd name="connsiteY8065" fmla="*/ 1754699 h 4749526"/>
              <a:gd name="connsiteX8066" fmla="*/ 6771374 w 7402822"/>
              <a:gd name="connsiteY8066" fmla="*/ 1751664 h 4749526"/>
              <a:gd name="connsiteX8067" fmla="*/ 6774409 w 7402822"/>
              <a:gd name="connsiteY8067" fmla="*/ 1742556 h 4749526"/>
              <a:gd name="connsiteX8068" fmla="*/ 6774409 w 7402822"/>
              <a:gd name="connsiteY8068" fmla="*/ 1733447 h 4749526"/>
              <a:gd name="connsiteX8069" fmla="*/ 6768337 w 7402822"/>
              <a:gd name="connsiteY8069" fmla="*/ 1736484 h 4749526"/>
              <a:gd name="connsiteX8070" fmla="*/ 6756195 w 7402822"/>
              <a:gd name="connsiteY8070" fmla="*/ 1736484 h 4749526"/>
              <a:gd name="connsiteX8071" fmla="*/ 6741015 w 7402822"/>
              <a:gd name="connsiteY8071" fmla="*/ 1736484 h 4749526"/>
              <a:gd name="connsiteX8072" fmla="*/ 6728872 w 7402822"/>
              <a:gd name="connsiteY8072" fmla="*/ 1739519 h 4749526"/>
              <a:gd name="connsiteX8073" fmla="*/ 6716729 w 7402822"/>
              <a:gd name="connsiteY8073" fmla="*/ 1739519 h 4749526"/>
              <a:gd name="connsiteX8074" fmla="*/ 6704585 w 7402822"/>
              <a:gd name="connsiteY8074" fmla="*/ 1748627 h 4749526"/>
              <a:gd name="connsiteX8075" fmla="*/ 6698514 w 7402822"/>
              <a:gd name="connsiteY8075" fmla="*/ 1754699 h 4749526"/>
              <a:gd name="connsiteX8076" fmla="*/ 6692443 w 7402822"/>
              <a:gd name="connsiteY8076" fmla="*/ 1766842 h 4749526"/>
              <a:gd name="connsiteX8077" fmla="*/ 6671192 w 7402822"/>
              <a:gd name="connsiteY8077" fmla="*/ 1794165 h 4749526"/>
              <a:gd name="connsiteX8078" fmla="*/ 6662085 w 7402822"/>
              <a:gd name="connsiteY8078" fmla="*/ 1803272 h 4749526"/>
              <a:gd name="connsiteX8079" fmla="*/ 6649941 w 7402822"/>
              <a:gd name="connsiteY8079" fmla="*/ 1818451 h 4749526"/>
              <a:gd name="connsiteX8080" fmla="*/ 6646905 w 7402822"/>
              <a:gd name="connsiteY8080" fmla="*/ 1827558 h 4749526"/>
              <a:gd name="connsiteX8081" fmla="*/ 6652977 w 7402822"/>
              <a:gd name="connsiteY8081" fmla="*/ 1833630 h 4749526"/>
              <a:gd name="connsiteX8082" fmla="*/ 6662085 w 7402822"/>
              <a:gd name="connsiteY8082" fmla="*/ 1836665 h 4749526"/>
              <a:gd name="connsiteX8083" fmla="*/ 6668155 w 7402822"/>
              <a:gd name="connsiteY8083" fmla="*/ 1842737 h 4749526"/>
              <a:gd name="connsiteX8084" fmla="*/ 6668155 w 7402822"/>
              <a:gd name="connsiteY8084" fmla="*/ 1848809 h 4749526"/>
              <a:gd name="connsiteX8085" fmla="*/ 6646905 w 7402822"/>
              <a:gd name="connsiteY8085" fmla="*/ 1854881 h 4749526"/>
              <a:gd name="connsiteX8086" fmla="*/ 6637799 w 7402822"/>
              <a:gd name="connsiteY8086" fmla="*/ 1845774 h 4749526"/>
              <a:gd name="connsiteX8087" fmla="*/ 6631727 w 7402822"/>
              <a:gd name="connsiteY8087" fmla="*/ 1845774 h 4749526"/>
              <a:gd name="connsiteX8088" fmla="*/ 6625655 w 7402822"/>
              <a:gd name="connsiteY8088" fmla="*/ 1851845 h 4749526"/>
              <a:gd name="connsiteX8089" fmla="*/ 6619583 w 7402822"/>
              <a:gd name="connsiteY8089" fmla="*/ 1860953 h 4749526"/>
              <a:gd name="connsiteX8090" fmla="*/ 6616547 w 7402822"/>
              <a:gd name="connsiteY8090" fmla="*/ 1860953 h 4749526"/>
              <a:gd name="connsiteX8091" fmla="*/ 6595297 w 7402822"/>
              <a:gd name="connsiteY8091" fmla="*/ 1860953 h 4749526"/>
              <a:gd name="connsiteX8092" fmla="*/ 6592261 w 7402822"/>
              <a:gd name="connsiteY8092" fmla="*/ 1860953 h 4749526"/>
              <a:gd name="connsiteX8093" fmla="*/ 6586189 w 7402822"/>
              <a:gd name="connsiteY8093" fmla="*/ 1857916 h 4749526"/>
              <a:gd name="connsiteX8094" fmla="*/ 6583154 w 7402822"/>
              <a:gd name="connsiteY8094" fmla="*/ 1851845 h 4749526"/>
              <a:gd name="connsiteX8095" fmla="*/ 6589225 w 7402822"/>
              <a:gd name="connsiteY8095" fmla="*/ 1851845 h 4749526"/>
              <a:gd name="connsiteX8096" fmla="*/ 6601369 w 7402822"/>
              <a:gd name="connsiteY8096" fmla="*/ 1848809 h 4749526"/>
              <a:gd name="connsiteX8097" fmla="*/ 6607441 w 7402822"/>
              <a:gd name="connsiteY8097" fmla="*/ 1848809 h 4749526"/>
              <a:gd name="connsiteX8098" fmla="*/ 6604404 w 7402822"/>
              <a:gd name="connsiteY8098" fmla="*/ 1842737 h 4749526"/>
              <a:gd name="connsiteX8099" fmla="*/ 6589225 w 7402822"/>
              <a:gd name="connsiteY8099" fmla="*/ 1833630 h 4749526"/>
              <a:gd name="connsiteX8100" fmla="*/ 6580117 w 7402822"/>
              <a:gd name="connsiteY8100" fmla="*/ 1833630 h 4749526"/>
              <a:gd name="connsiteX8101" fmla="*/ 6561903 w 7402822"/>
              <a:gd name="connsiteY8101" fmla="*/ 1827558 h 4749526"/>
              <a:gd name="connsiteX8102" fmla="*/ 6552796 w 7402822"/>
              <a:gd name="connsiteY8102" fmla="*/ 1824523 h 4749526"/>
              <a:gd name="connsiteX8103" fmla="*/ 6543689 w 7402822"/>
              <a:gd name="connsiteY8103" fmla="*/ 1833630 h 4749526"/>
              <a:gd name="connsiteX8104" fmla="*/ 6537617 w 7402822"/>
              <a:gd name="connsiteY8104" fmla="*/ 1845774 h 4749526"/>
              <a:gd name="connsiteX8105" fmla="*/ 6528509 w 7402822"/>
              <a:gd name="connsiteY8105" fmla="*/ 1845774 h 4749526"/>
              <a:gd name="connsiteX8106" fmla="*/ 6501187 w 7402822"/>
              <a:gd name="connsiteY8106" fmla="*/ 1842737 h 4749526"/>
              <a:gd name="connsiteX8107" fmla="*/ 6486007 w 7402822"/>
              <a:gd name="connsiteY8107" fmla="*/ 1845774 h 4749526"/>
              <a:gd name="connsiteX8108" fmla="*/ 6476901 w 7402822"/>
              <a:gd name="connsiteY8108" fmla="*/ 1848809 h 4749526"/>
              <a:gd name="connsiteX8109" fmla="*/ 6470829 w 7402822"/>
              <a:gd name="connsiteY8109" fmla="*/ 1839702 h 4749526"/>
              <a:gd name="connsiteX8110" fmla="*/ 6467793 w 7402822"/>
              <a:gd name="connsiteY8110" fmla="*/ 1839702 h 4749526"/>
              <a:gd name="connsiteX8111" fmla="*/ 6461721 w 7402822"/>
              <a:gd name="connsiteY8111" fmla="*/ 1839702 h 4749526"/>
              <a:gd name="connsiteX8112" fmla="*/ 6458686 w 7402822"/>
              <a:gd name="connsiteY8112" fmla="*/ 1839702 h 4749526"/>
              <a:gd name="connsiteX8113" fmla="*/ 6449577 w 7402822"/>
              <a:gd name="connsiteY8113" fmla="*/ 1839702 h 4749526"/>
              <a:gd name="connsiteX8114" fmla="*/ 6452614 w 7402822"/>
              <a:gd name="connsiteY8114" fmla="*/ 1842737 h 4749526"/>
              <a:gd name="connsiteX8115" fmla="*/ 6446542 w 7402822"/>
              <a:gd name="connsiteY8115" fmla="*/ 1839702 h 4749526"/>
              <a:gd name="connsiteX8116" fmla="*/ 6437435 w 7402822"/>
              <a:gd name="connsiteY8116" fmla="*/ 1839702 h 4749526"/>
              <a:gd name="connsiteX8117" fmla="*/ 6422256 w 7402822"/>
              <a:gd name="connsiteY8117" fmla="*/ 1842737 h 4749526"/>
              <a:gd name="connsiteX8118" fmla="*/ 6407077 w 7402822"/>
              <a:gd name="connsiteY8118" fmla="*/ 1845774 h 4749526"/>
              <a:gd name="connsiteX8119" fmla="*/ 6397969 w 7402822"/>
              <a:gd name="connsiteY8119" fmla="*/ 1854881 h 4749526"/>
              <a:gd name="connsiteX8120" fmla="*/ 6379754 w 7402822"/>
              <a:gd name="connsiteY8120" fmla="*/ 1876132 h 4749526"/>
              <a:gd name="connsiteX8121" fmla="*/ 6376719 w 7402822"/>
              <a:gd name="connsiteY8121" fmla="*/ 1879167 h 4749526"/>
              <a:gd name="connsiteX8122" fmla="*/ 6370647 w 7402822"/>
              <a:gd name="connsiteY8122" fmla="*/ 1882203 h 4749526"/>
              <a:gd name="connsiteX8123" fmla="*/ 6367611 w 7402822"/>
              <a:gd name="connsiteY8123" fmla="*/ 1888275 h 4749526"/>
              <a:gd name="connsiteX8124" fmla="*/ 6364576 w 7402822"/>
              <a:gd name="connsiteY8124" fmla="*/ 1897382 h 4749526"/>
              <a:gd name="connsiteX8125" fmla="*/ 6352432 w 7402822"/>
              <a:gd name="connsiteY8125" fmla="*/ 1912561 h 4749526"/>
              <a:gd name="connsiteX8126" fmla="*/ 6343325 w 7402822"/>
              <a:gd name="connsiteY8126" fmla="*/ 1921668 h 4749526"/>
              <a:gd name="connsiteX8127" fmla="*/ 6319039 w 7402822"/>
              <a:gd name="connsiteY8127" fmla="*/ 1945956 h 4749526"/>
              <a:gd name="connsiteX8128" fmla="*/ 6316002 w 7402822"/>
              <a:gd name="connsiteY8128" fmla="*/ 1952026 h 4749526"/>
              <a:gd name="connsiteX8129" fmla="*/ 6312967 w 7402822"/>
              <a:gd name="connsiteY8129" fmla="*/ 1958098 h 4749526"/>
              <a:gd name="connsiteX8130" fmla="*/ 6300823 w 7402822"/>
              <a:gd name="connsiteY8130" fmla="*/ 1970242 h 4749526"/>
              <a:gd name="connsiteX8131" fmla="*/ 6279572 w 7402822"/>
              <a:gd name="connsiteY8131" fmla="*/ 1988456 h 4749526"/>
              <a:gd name="connsiteX8132" fmla="*/ 6264394 w 7402822"/>
              <a:gd name="connsiteY8132" fmla="*/ 2003636 h 4749526"/>
              <a:gd name="connsiteX8133" fmla="*/ 6255287 w 7402822"/>
              <a:gd name="connsiteY8133" fmla="*/ 2018815 h 4749526"/>
              <a:gd name="connsiteX8134" fmla="*/ 6264394 w 7402822"/>
              <a:gd name="connsiteY8134" fmla="*/ 2021850 h 4749526"/>
              <a:gd name="connsiteX8135" fmla="*/ 6270465 w 7402822"/>
              <a:gd name="connsiteY8135" fmla="*/ 2021850 h 4749526"/>
              <a:gd name="connsiteX8136" fmla="*/ 6279572 w 7402822"/>
              <a:gd name="connsiteY8136" fmla="*/ 2021850 h 4749526"/>
              <a:gd name="connsiteX8137" fmla="*/ 6285645 w 7402822"/>
              <a:gd name="connsiteY8137" fmla="*/ 2021850 h 4749526"/>
              <a:gd name="connsiteX8138" fmla="*/ 6285645 w 7402822"/>
              <a:gd name="connsiteY8138" fmla="*/ 2043101 h 4749526"/>
              <a:gd name="connsiteX8139" fmla="*/ 6285645 w 7402822"/>
              <a:gd name="connsiteY8139" fmla="*/ 2049173 h 4749526"/>
              <a:gd name="connsiteX8140" fmla="*/ 6288681 w 7402822"/>
              <a:gd name="connsiteY8140" fmla="*/ 2052208 h 4749526"/>
              <a:gd name="connsiteX8141" fmla="*/ 6297787 w 7402822"/>
              <a:gd name="connsiteY8141" fmla="*/ 2046136 h 4749526"/>
              <a:gd name="connsiteX8142" fmla="*/ 6297787 w 7402822"/>
              <a:gd name="connsiteY8142" fmla="*/ 2043101 h 4749526"/>
              <a:gd name="connsiteX8143" fmla="*/ 6294752 w 7402822"/>
              <a:gd name="connsiteY8143" fmla="*/ 2037029 h 4749526"/>
              <a:gd name="connsiteX8144" fmla="*/ 6306895 w 7402822"/>
              <a:gd name="connsiteY8144" fmla="*/ 2033994 h 4749526"/>
              <a:gd name="connsiteX8145" fmla="*/ 6303859 w 7402822"/>
              <a:gd name="connsiteY8145" fmla="*/ 2046136 h 4749526"/>
              <a:gd name="connsiteX8146" fmla="*/ 6300823 w 7402822"/>
              <a:gd name="connsiteY8146" fmla="*/ 2055245 h 4749526"/>
              <a:gd name="connsiteX8147" fmla="*/ 6312967 w 7402822"/>
              <a:gd name="connsiteY8147" fmla="*/ 2061315 h 4749526"/>
              <a:gd name="connsiteX8148" fmla="*/ 6319039 w 7402822"/>
              <a:gd name="connsiteY8148" fmla="*/ 2061315 h 4749526"/>
              <a:gd name="connsiteX8149" fmla="*/ 6322074 w 7402822"/>
              <a:gd name="connsiteY8149" fmla="*/ 2061315 h 4749526"/>
              <a:gd name="connsiteX8150" fmla="*/ 6328146 w 7402822"/>
              <a:gd name="connsiteY8150" fmla="*/ 2033994 h 4749526"/>
              <a:gd name="connsiteX8151" fmla="*/ 6346361 w 7402822"/>
              <a:gd name="connsiteY8151" fmla="*/ 2033994 h 4749526"/>
              <a:gd name="connsiteX8152" fmla="*/ 6358504 w 7402822"/>
              <a:gd name="connsiteY8152" fmla="*/ 2046136 h 4749526"/>
              <a:gd name="connsiteX8153" fmla="*/ 6382791 w 7402822"/>
              <a:gd name="connsiteY8153" fmla="*/ 2070424 h 4749526"/>
              <a:gd name="connsiteX8154" fmla="*/ 6382791 w 7402822"/>
              <a:gd name="connsiteY8154" fmla="*/ 2073459 h 4749526"/>
              <a:gd name="connsiteX8155" fmla="*/ 6379754 w 7402822"/>
              <a:gd name="connsiteY8155" fmla="*/ 2082566 h 4749526"/>
              <a:gd name="connsiteX8156" fmla="*/ 6382791 w 7402822"/>
              <a:gd name="connsiteY8156" fmla="*/ 2097745 h 4749526"/>
              <a:gd name="connsiteX8157" fmla="*/ 6379754 w 7402822"/>
              <a:gd name="connsiteY8157" fmla="*/ 2115960 h 4749526"/>
              <a:gd name="connsiteX8158" fmla="*/ 6376719 w 7402822"/>
              <a:gd name="connsiteY8158" fmla="*/ 2122032 h 4749526"/>
              <a:gd name="connsiteX8159" fmla="*/ 6373683 w 7402822"/>
              <a:gd name="connsiteY8159" fmla="*/ 2125068 h 4749526"/>
              <a:gd name="connsiteX8160" fmla="*/ 6367611 w 7402822"/>
              <a:gd name="connsiteY8160" fmla="*/ 2146318 h 4749526"/>
              <a:gd name="connsiteX8161" fmla="*/ 6364576 w 7402822"/>
              <a:gd name="connsiteY8161" fmla="*/ 2155426 h 4749526"/>
              <a:gd name="connsiteX8162" fmla="*/ 6364576 w 7402822"/>
              <a:gd name="connsiteY8162" fmla="*/ 2161497 h 4749526"/>
              <a:gd name="connsiteX8163" fmla="*/ 6364576 w 7402822"/>
              <a:gd name="connsiteY8163" fmla="*/ 2176676 h 4749526"/>
              <a:gd name="connsiteX8164" fmla="*/ 6364576 w 7402822"/>
              <a:gd name="connsiteY8164" fmla="*/ 2182748 h 4749526"/>
              <a:gd name="connsiteX8165" fmla="*/ 6367611 w 7402822"/>
              <a:gd name="connsiteY8165" fmla="*/ 2188820 h 4749526"/>
              <a:gd name="connsiteX8166" fmla="*/ 6361539 w 7402822"/>
              <a:gd name="connsiteY8166" fmla="*/ 2200963 h 4749526"/>
              <a:gd name="connsiteX8167" fmla="*/ 6358504 w 7402822"/>
              <a:gd name="connsiteY8167" fmla="*/ 2222214 h 4749526"/>
              <a:gd name="connsiteX8168" fmla="*/ 6352432 w 7402822"/>
              <a:gd name="connsiteY8168" fmla="*/ 2231321 h 4749526"/>
              <a:gd name="connsiteX8169" fmla="*/ 6346361 w 7402822"/>
              <a:gd name="connsiteY8169" fmla="*/ 2240429 h 4749526"/>
              <a:gd name="connsiteX8170" fmla="*/ 6328146 w 7402822"/>
              <a:gd name="connsiteY8170" fmla="*/ 2264715 h 4749526"/>
              <a:gd name="connsiteX8171" fmla="*/ 6322074 w 7402822"/>
              <a:gd name="connsiteY8171" fmla="*/ 2276858 h 4749526"/>
              <a:gd name="connsiteX8172" fmla="*/ 6316002 w 7402822"/>
              <a:gd name="connsiteY8172" fmla="*/ 2289002 h 4749526"/>
              <a:gd name="connsiteX8173" fmla="*/ 6316002 w 7402822"/>
              <a:gd name="connsiteY8173" fmla="*/ 2292037 h 4749526"/>
              <a:gd name="connsiteX8174" fmla="*/ 6306895 w 7402822"/>
              <a:gd name="connsiteY8174" fmla="*/ 2304181 h 4749526"/>
              <a:gd name="connsiteX8175" fmla="*/ 6297787 w 7402822"/>
              <a:gd name="connsiteY8175" fmla="*/ 2313288 h 4749526"/>
              <a:gd name="connsiteX8176" fmla="*/ 6288681 w 7402822"/>
              <a:gd name="connsiteY8176" fmla="*/ 2325431 h 4749526"/>
              <a:gd name="connsiteX8177" fmla="*/ 6279572 w 7402822"/>
              <a:gd name="connsiteY8177" fmla="*/ 2337574 h 4749526"/>
              <a:gd name="connsiteX8178" fmla="*/ 6270465 w 7402822"/>
              <a:gd name="connsiteY8178" fmla="*/ 2349718 h 4749526"/>
              <a:gd name="connsiteX8179" fmla="*/ 6261357 w 7402822"/>
              <a:gd name="connsiteY8179" fmla="*/ 2358825 h 4749526"/>
              <a:gd name="connsiteX8180" fmla="*/ 6261357 w 7402822"/>
              <a:gd name="connsiteY8180" fmla="*/ 2364897 h 4749526"/>
              <a:gd name="connsiteX8181" fmla="*/ 6246179 w 7402822"/>
              <a:gd name="connsiteY8181" fmla="*/ 2377040 h 4749526"/>
              <a:gd name="connsiteX8182" fmla="*/ 6221892 w 7402822"/>
              <a:gd name="connsiteY8182" fmla="*/ 2392219 h 4749526"/>
              <a:gd name="connsiteX8183" fmla="*/ 6215821 w 7402822"/>
              <a:gd name="connsiteY8183" fmla="*/ 2395254 h 4749526"/>
              <a:gd name="connsiteX8184" fmla="*/ 6209749 w 7402822"/>
              <a:gd name="connsiteY8184" fmla="*/ 2395254 h 4749526"/>
              <a:gd name="connsiteX8185" fmla="*/ 6203677 w 7402822"/>
              <a:gd name="connsiteY8185" fmla="*/ 2392219 h 4749526"/>
              <a:gd name="connsiteX8186" fmla="*/ 6197606 w 7402822"/>
              <a:gd name="connsiteY8186" fmla="*/ 2392219 h 4749526"/>
              <a:gd name="connsiteX8187" fmla="*/ 6194571 w 7402822"/>
              <a:gd name="connsiteY8187" fmla="*/ 2383112 h 4749526"/>
              <a:gd name="connsiteX8188" fmla="*/ 6191534 w 7402822"/>
              <a:gd name="connsiteY8188" fmla="*/ 2377040 h 4749526"/>
              <a:gd name="connsiteX8189" fmla="*/ 6182427 w 7402822"/>
              <a:gd name="connsiteY8189" fmla="*/ 2386147 h 4749526"/>
              <a:gd name="connsiteX8190" fmla="*/ 6173319 w 7402822"/>
              <a:gd name="connsiteY8190" fmla="*/ 2395254 h 4749526"/>
              <a:gd name="connsiteX8191" fmla="*/ 6167247 w 7402822"/>
              <a:gd name="connsiteY8191" fmla="*/ 2401326 h 4749526"/>
              <a:gd name="connsiteX8192" fmla="*/ 6161176 w 7402822"/>
              <a:gd name="connsiteY8192" fmla="*/ 2407398 h 4749526"/>
              <a:gd name="connsiteX8193" fmla="*/ 6155105 w 7402822"/>
              <a:gd name="connsiteY8193" fmla="*/ 2407398 h 4749526"/>
              <a:gd name="connsiteX8194" fmla="*/ 6145997 w 7402822"/>
              <a:gd name="connsiteY8194" fmla="*/ 2414987 h 4749526"/>
              <a:gd name="connsiteX8195" fmla="*/ 6139926 w 7402822"/>
              <a:gd name="connsiteY8195" fmla="*/ 2424095 h 4749526"/>
              <a:gd name="connsiteX8196" fmla="*/ 6142961 w 7402822"/>
              <a:gd name="connsiteY8196" fmla="*/ 2436239 h 4749526"/>
              <a:gd name="connsiteX8197" fmla="*/ 6142961 w 7402822"/>
              <a:gd name="connsiteY8197" fmla="*/ 2445346 h 4749526"/>
              <a:gd name="connsiteX8198" fmla="*/ 6139926 w 7402822"/>
              <a:gd name="connsiteY8198" fmla="*/ 2448382 h 4749526"/>
              <a:gd name="connsiteX8199" fmla="*/ 6124747 w 7402822"/>
              <a:gd name="connsiteY8199" fmla="*/ 2460525 h 4749526"/>
              <a:gd name="connsiteX8200" fmla="*/ 6103496 w 7402822"/>
              <a:gd name="connsiteY8200" fmla="*/ 2469633 h 4749526"/>
              <a:gd name="connsiteX8201" fmla="*/ 6097424 w 7402822"/>
              <a:gd name="connsiteY8201" fmla="*/ 2475705 h 4749526"/>
              <a:gd name="connsiteX8202" fmla="*/ 6097424 w 7402822"/>
              <a:gd name="connsiteY8202" fmla="*/ 2481776 h 4749526"/>
              <a:gd name="connsiteX8203" fmla="*/ 6094389 w 7402822"/>
              <a:gd name="connsiteY8203" fmla="*/ 2487847 h 4749526"/>
              <a:gd name="connsiteX8204" fmla="*/ 6097424 w 7402822"/>
              <a:gd name="connsiteY8204" fmla="*/ 2490884 h 4749526"/>
              <a:gd name="connsiteX8205" fmla="*/ 6100461 w 7402822"/>
              <a:gd name="connsiteY8205" fmla="*/ 2490884 h 4749526"/>
              <a:gd name="connsiteX8206" fmla="*/ 6106531 w 7402822"/>
              <a:gd name="connsiteY8206" fmla="*/ 2493919 h 4749526"/>
              <a:gd name="connsiteX8207" fmla="*/ 6115639 w 7402822"/>
              <a:gd name="connsiteY8207" fmla="*/ 2503025 h 4749526"/>
              <a:gd name="connsiteX8208" fmla="*/ 6115639 w 7402822"/>
              <a:gd name="connsiteY8208" fmla="*/ 2503026 h 4749526"/>
              <a:gd name="connsiteX8209" fmla="*/ 6127781 w 7402822"/>
              <a:gd name="connsiteY8209" fmla="*/ 2530348 h 4749526"/>
              <a:gd name="connsiteX8210" fmla="*/ 6136889 w 7402822"/>
              <a:gd name="connsiteY8210" fmla="*/ 2551599 h 4749526"/>
              <a:gd name="connsiteX8211" fmla="*/ 6139925 w 7402822"/>
              <a:gd name="connsiteY8211" fmla="*/ 2569814 h 4749526"/>
              <a:gd name="connsiteX8212" fmla="*/ 6136889 w 7402822"/>
              <a:gd name="connsiteY8212" fmla="*/ 2581957 h 4749526"/>
              <a:gd name="connsiteX8213" fmla="*/ 6133853 w 7402822"/>
              <a:gd name="connsiteY8213" fmla="*/ 2594100 h 4749526"/>
              <a:gd name="connsiteX8214" fmla="*/ 6124745 w 7402822"/>
              <a:gd name="connsiteY8214" fmla="*/ 2594100 h 4749526"/>
              <a:gd name="connsiteX8215" fmla="*/ 6115639 w 7402822"/>
              <a:gd name="connsiteY8215" fmla="*/ 2600172 h 4749526"/>
              <a:gd name="connsiteX8216" fmla="*/ 6109567 w 7402822"/>
              <a:gd name="connsiteY8216" fmla="*/ 2600172 h 4749526"/>
              <a:gd name="connsiteX8217" fmla="*/ 6106530 w 7402822"/>
              <a:gd name="connsiteY8217" fmla="*/ 2597135 h 4749526"/>
              <a:gd name="connsiteX8218" fmla="*/ 6103495 w 7402822"/>
              <a:gd name="connsiteY8218" fmla="*/ 2600172 h 4749526"/>
              <a:gd name="connsiteX8219" fmla="*/ 6103495 w 7402822"/>
              <a:gd name="connsiteY8219" fmla="*/ 2603207 h 4749526"/>
              <a:gd name="connsiteX8220" fmla="*/ 6094387 w 7402822"/>
              <a:gd name="connsiteY8220" fmla="*/ 2609279 h 4749526"/>
              <a:gd name="connsiteX8221" fmla="*/ 6091352 w 7402822"/>
              <a:gd name="connsiteY8221" fmla="*/ 2609279 h 4749526"/>
              <a:gd name="connsiteX8222" fmla="*/ 6082244 w 7402822"/>
              <a:gd name="connsiteY8222" fmla="*/ 2612314 h 4749526"/>
              <a:gd name="connsiteX8223" fmla="*/ 6076172 w 7402822"/>
              <a:gd name="connsiteY8223" fmla="*/ 2615351 h 4749526"/>
              <a:gd name="connsiteX8224" fmla="*/ 6073137 w 7402822"/>
              <a:gd name="connsiteY8224" fmla="*/ 2603207 h 4749526"/>
              <a:gd name="connsiteX8225" fmla="*/ 6070101 w 7402822"/>
              <a:gd name="connsiteY8225" fmla="*/ 2594100 h 4749526"/>
              <a:gd name="connsiteX8226" fmla="*/ 6073137 w 7402822"/>
              <a:gd name="connsiteY8226" fmla="*/ 2588028 h 4749526"/>
              <a:gd name="connsiteX8227" fmla="*/ 6079209 w 7402822"/>
              <a:gd name="connsiteY8227" fmla="*/ 2572849 h 4749526"/>
              <a:gd name="connsiteX8228" fmla="*/ 6076172 w 7402822"/>
              <a:gd name="connsiteY8228" fmla="*/ 2560706 h 4749526"/>
              <a:gd name="connsiteX8229" fmla="*/ 6076172 w 7402822"/>
              <a:gd name="connsiteY8229" fmla="*/ 2557670 h 4749526"/>
              <a:gd name="connsiteX8230" fmla="*/ 6070101 w 7402822"/>
              <a:gd name="connsiteY8230" fmla="*/ 2554634 h 4749526"/>
              <a:gd name="connsiteX8231" fmla="*/ 6067065 w 7402822"/>
              <a:gd name="connsiteY8231" fmla="*/ 2551599 h 4749526"/>
              <a:gd name="connsiteX8232" fmla="*/ 6082244 w 7402822"/>
              <a:gd name="connsiteY8232" fmla="*/ 2548563 h 4749526"/>
              <a:gd name="connsiteX8233" fmla="*/ 6079209 w 7402822"/>
              <a:gd name="connsiteY8233" fmla="*/ 2530348 h 4749526"/>
              <a:gd name="connsiteX8234" fmla="*/ 6076172 w 7402822"/>
              <a:gd name="connsiteY8234" fmla="*/ 2527312 h 4749526"/>
              <a:gd name="connsiteX8235" fmla="*/ 6079209 w 7402822"/>
              <a:gd name="connsiteY8235" fmla="*/ 2527312 h 4749526"/>
              <a:gd name="connsiteX8236" fmla="*/ 6079209 w 7402822"/>
              <a:gd name="connsiteY8236" fmla="*/ 2524277 h 4749526"/>
              <a:gd name="connsiteX8237" fmla="*/ 6067066 w 7402822"/>
              <a:gd name="connsiteY8237" fmla="*/ 2524277 h 4749526"/>
              <a:gd name="connsiteX8238" fmla="*/ 6057959 w 7402822"/>
              <a:gd name="connsiteY8238" fmla="*/ 2524277 h 4749526"/>
              <a:gd name="connsiteX8239" fmla="*/ 6051887 w 7402822"/>
              <a:gd name="connsiteY8239" fmla="*/ 2530349 h 4749526"/>
              <a:gd name="connsiteX8240" fmla="*/ 6048851 w 7402822"/>
              <a:gd name="connsiteY8240" fmla="*/ 2524277 h 4749526"/>
              <a:gd name="connsiteX8241" fmla="*/ 6039744 w 7402822"/>
              <a:gd name="connsiteY8241" fmla="*/ 2518205 h 4749526"/>
              <a:gd name="connsiteX8242" fmla="*/ 6039744 w 7402822"/>
              <a:gd name="connsiteY8242" fmla="*/ 2515170 h 4749526"/>
              <a:gd name="connsiteX8243" fmla="*/ 6042779 w 7402822"/>
              <a:gd name="connsiteY8243" fmla="*/ 2509098 h 4749526"/>
              <a:gd name="connsiteX8244" fmla="*/ 6048851 w 7402822"/>
              <a:gd name="connsiteY8244" fmla="*/ 2499991 h 4749526"/>
              <a:gd name="connsiteX8245" fmla="*/ 6054923 w 7402822"/>
              <a:gd name="connsiteY8245" fmla="*/ 2484812 h 4749526"/>
              <a:gd name="connsiteX8246" fmla="*/ 6042779 w 7402822"/>
              <a:gd name="connsiteY8246" fmla="*/ 2475705 h 4749526"/>
              <a:gd name="connsiteX8247" fmla="*/ 6039744 w 7402822"/>
              <a:gd name="connsiteY8247" fmla="*/ 2475705 h 4749526"/>
              <a:gd name="connsiteX8248" fmla="*/ 6036707 w 7402822"/>
              <a:gd name="connsiteY8248" fmla="*/ 2475705 h 4749526"/>
              <a:gd name="connsiteX8249" fmla="*/ 6033672 w 7402822"/>
              <a:gd name="connsiteY8249" fmla="*/ 2472668 h 4749526"/>
              <a:gd name="connsiteX8250" fmla="*/ 6033672 w 7402822"/>
              <a:gd name="connsiteY8250" fmla="*/ 2470543 h 4749526"/>
              <a:gd name="connsiteX8251" fmla="*/ 6031395 w 7402822"/>
              <a:gd name="connsiteY8251" fmla="*/ 2470391 h 4749526"/>
              <a:gd name="connsiteX8252" fmla="*/ 6030484 w 7402822"/>
              <a:gd name="connsiteY8252" fmla="*/ 2469784 h 4749526"/>
              <a:gd name="connsiteX8253" fmla="*/ 6027601 w 7402822"/>
              <a:gd name="connsiteY8253" fmla="*/ 2472667 h 4749526"/>
              <a:gd name="connsiteX8254" fmla="*/ 6015457 w 7402822"/>
              <a:gd name="connsiteY8254" fmla="*/ 2472667 h 4749526"/>
              <a:gd name="connsiteX8255" fmla="*/ 6006351 w 7402822"/>
              <a:gd name="connsiteY8255" fmla="*/ 2475704 h 4749526"/>
              <a:gd name="connsiteX8256" fmla="*/ 5991171 w 7402822"/>
              <a:gd name="connsiteY8256" fmla="*/ 2481775 h 4749526"/>
              <a:gd name="connsiteX8257" fmla="*/ 5982063 w 7402822"/>
              <a:gd name="connsiteY8257" fmla="*/ 2493918 h 4749526"/>
              <a:gd name="connsiteX8258" fmla="*/ 5975992 w 7402822"/>
              <a:gd name="connsiteY8258" fmla="*/ 2496954 h 4749526"/>
              <a:gd name="connsiteX8259" fmla="*/ 5972956 w 7402822"/>
              <a:gd name="connsiteY8259" fmla="*/ 2499990 h 4749526"/>
              <a:gd name="connsiteX8260" fmla="*/ 5966884 w 7402822"/>
              <a:gd name="connsiteY8260" fmla="*/ 2503025 h 4749526"/>
              <a:gd name="connsiteX8261" fmla="*/ 5963849 w 7402822"/>
              <a:gd name="connsiteY8261" fmla="*/ 2496954 h 4749526"/>
              <a:gd name="connsiteX8262" fmla="*/ 5966884 w 7402822"/>
              <a:gd name="connsiteY8262" fmla="*/ 2496954 h 4749526"/>
              <a:gd name="connsiteX8263" fmla="*/ 5972956 w 7402822"/>
              <a:gd name="connsiteY8263" fmla="*/ 2493918 h 4749526"/>
              <a:gd name="connsiteX8264" fmla="*/ 5975992 w 7402822"/>
              <a:gd name="connsiteY8264" fmla="*/ 2490883 h 4749526"/>
              <a:gd name="connsiteX8265" fmla="*/ 5975992 w 7402822"/>
              <a:gd name="connsiteY8265" fmla="*/ 2487846 h 4749526"/>
              <a:gd name="connsiteX8266" fmla="*/ 5975992 w 7402822"/>
              <a:gd name="connsiteY8266" fmla="*/ 2484811 h 4749526"/>
              <a:gd name="connsiteX8267" fmla="*/ 5972956 w 7402822"/>
              <a:gd name="connsiteY8267" fmla="*/ 2481775 h 4749526"/>
              <a:gd name="connsiteX8268" fmla="*/ 5966884 w 7402822"/>
              <a:gd name="connsiteY8268" fmla="*/ 2481775 h 4749526"/>
              <a:gd name="connsiteX8269" fmla="*/ 5972956 w 7402822"/>
              <a:gd name="connsiteY8269" fmla="*/ 2472667 h 4749526"/>
              <a:gd name="connsiteX8270" fmla="*/ 5975992 w 7402822"/>
              <a:gd name="connsiteY8270" fmla="*/ 2469632 h 4749526"/>
              <a:gd name="connsiteX8271" fmla="*/ 5982063 w 7402822"/>
              <a:gd name="connsiteY8271" fmla="*/ 2463560 h 4749526"/>
              <a:gd name="connsiteX8272" fmla="*/ 5988135 w 7402822"/>
              <a:gd name="connsiteY8272" fmla="*/ 2454453 h 4749526"/>
              <a:gd name="connsiteX8273" fmla="*/ 5985099 w 7402822"/>
              <a:gd name="connsiteY8273" fmla="*/ 2448381 h 4749526"/>
              <a:gd name="connsiteX8274" fmla="*/ 5972956 w 7402822"/>
              <a:gd name="connsiteY8274" fmla="*/ 2445345 h 4749526"/>
              <a:gd name="connsiteX8275" fmla="*/ 5966884 w 7402822"/>
              <a:gd name="connsiteY8275" fmla="*/ 2442310 h 4749526"/>
              <a:gd name="connsiteX8276" fmla="*/ 5954741 w 7402822"/>
              <a:gd name="connsiteY8276" fmla="*/ 2454453 h 4749526"/>
              <a:gd name="connsiteX8277" fmla="*/ 5951705 w 7402822"/>
              <a:gd name="connsiteY8277" fmla="*/ 2457488 h 4749526"/>
              <a:gd name="connsiteX8278" fmla="*/ 5951705 w 7402822"/>
              <a:gd name="connsiteY8278" fmla="*/ 2460524 h 4749526"/>
              <a:gd name="connsiteX8279" fmla="*/ 5945634 w 7402822"/>
              <a:gd name="connsiteY8279" fmla="*/ 2463560 h 4749526"/>
              <a:gd name="connsiteX8280" fmla="*/ 5927419 w 7402822"/>
              <a:gd name="connsiteY8280" fmla="*/ 2484811 h 4749526"/>
              <a:gd name="connsiteX8281" fmla="*/ 5915276 w 7402822"/>
              <a:gd name="connsiteY8281" fmla="*/ 2490883 h 4749526"/>
              <a:gd name="connsiteX8282" fmla="*/ 5906169 w 7402822"/>
              <a:gd name="connsiteY8282" fmla="*/ 2493918 h 4749526"/>
              <a:gd name="connsiteX8283" fmla="*/ 5903132 w 7402822"/>
              <a:gd name="connsiteY8283" fmla="*/ 2490883 h 4749526"/>
              <a:gd name="connsiteX8284" fmla="*/ 5900097 w 7402822"/>
              <a:gd name="connsiteY8284" fmla="*/ 2487846 h 4749526"/>
              <a:gd name="connsiteX8285" fmla="*/ 5894025 w 7402822"/>
              <a:gd name="connsiteY8285" fmla="*/ 2493918 h 4749526"/>
              <a:gd name="connsiteX8286" fmla="*/ 5890990 w 7402822"/>
              <a:gd name="connsiteY8286" fmla="*/ 2503025 h 4749526"/>
              <a:gd name="connsiteX8287" fmla="*/ 5897062 w 7402822"/>
              <a:gd name="connsiteY8287" fmla="*/ 2512134 h 4749526"/>
              <a:gd name="connsiteX8288" fmla="*/ 5900097 w 7402822"/>
              <a:gd name="connsiteY8288" fmla="*/ 2518204 h 4749526"/>
              <a:gd name="connsiteX8289" fmla="*/ 5909204 w 7402822"/>
              <a:gd name="connsiteY8289" fmla="*/ 2518204 h 4749526"/>
              <a:gd name="connsiteX8290" fmla="*/ 5918312 w 7402822"/>
              <a:gd name="connsiteY8290" fmla="*/ 2515169 h 4749526"/>
              <a:gd name="connsiteX8291" fmla="*/ 5918312 w 7402822"/>
              <a:gd name="connsiteY8291" fmla="*/ 2518204 h 4749526"/>
              <a:gd name="connsiteX8292" fmla="*/ 5921348 w 7402822"/>
              <a:gd name="connsiteY8292" fmla="*/ 2527312 h 4749526"/>
              <a:gd name="connsiteX8293" fmla="*/ 5921348 w 7402822"/>
              <a:gd name="connsiteY8293" fmla="*/ 2536420 h 4749526"/>
              <a:gd name="connsiteX8294" fmla="*/ 5924383 w 7402822"/>
              <a:gd name="connsiteY8294" fmla="*/ 2542491 h 4749526"/>
              <a:gd name="connsiteX8295" fmla="*/ 5936527 w 7402822"/>
              <a:gd name="connsiteY8295" fmla="*/ 2542491 h 4749526"/>
              <a:gd name="connsiteX8296" fmla="*/ 5939562 w 7402822"/>
              <a:gd name="connsiteY8296" fmla="*/ 2539455 h 4749526"/>
              <a:gd name="connsiteX8297" fmla="*/ 5948669 w 7402822"/>
              <a:gd name="connsiteY8297" fmla="*/ 2530348 h 4749526"/>
              <a:gd name="connsiteX8298" fmla="*/ 5948669 w 7402822"/>
              <a:gd name="connsiteY8298" fmla="*/ 2527312 h 4749526"/>
              <a:gd name="connsiteX8299" fmla="*/ 5951705 w 7402822"/>
              <a:gd name="connsiteY8299" fmla="*/ 2527312 h 4749526"/>
              <a:gd name="connsiteX8300" fmla="*/ 5957777 w 7402822"/>
              <a:gd name="connsiteY8300" fmla="*/ 2524276 h 4749526"/>
              <a:gd name="connsiteX8301" fmla="*/ 5966884 w 7402822"/>
              <a:gd name="connsiteY8301" fmla="*/ 2533384 h 4749526"/>
              <a:gd name="connsiteX8302" fmla="*/ 5972956 w 7402822"/>
              <a:gd name="connsiteY8302" fmla="*/ 2536420 h 4749526"/>
              <a:gd name="connsiteX8303" fmla="*/ 5982063 w 7402822"/>
              <a:gd name="connsiteY8303" fmla="*/ 2533384 h 4749526"/>
              <a:gd name="connsiteX8304" fmla="*/ 5985099 w 7402822"/>
              <a:gd name="connsiteY8304" fmla="*/ 2533384 h 4749526"/>
              <a:gd name="connsiteX8305" fmla="*/ 5988135 w 7402822"/>
              <a:gd name="connsiteY8305" fmla="*/ 2536420 h 4749526"/>
              <a:gd name="connsiteX8306" fmla="*/ 5991171 w 7402822"/>
              <a:gd name="connsiteY8306" fmla="*/ 2536420 h 4749526"/>
              <a:gd name="connsiteX8307" fmla="*/ 5997242 w 7402822"/>
              <a:gd name="connsiteY8307" fmla="*/ 2536420 h 4749526"/>
              <a:gd name="connsiteX8308" fmla="*/ 5994207 w 7402822"/>
              <a:gd name="connsiteY8308" fmla="*/ 2542491 h 4749526"/>
              <a:gd name="connsiteX8309" fmla="*/ 5991171 w 7402822"/>
              <a:gd name="connsiteY8309" fmla="*/ 2551599 h 4749526"/>
              <a:gd name="connsiteX8310" fmla="*/ 5988135 w 7402822"/>
              <a:gd name="connsiteY8310" fmla="*/ 2548563 h 4749526"/>
              <a:gd name="connsiteX8311" fmla="*/ 5979027 w 7402822"/>
              <a:gd name="connsiteY8311" fmla="*/ 2551599 h 4749526"/>
              <a:gd name="connsiteX8312" fmla="*/ 5966884 w 7402822"/>
              <a:gd name="connsiteY8312" fmla="*/ 2554634 h 4749526"/>
              <a:gd name="connsiteX8313" fmla="*/ 5960813 w 7402822"/>
              <a:gd name="connsiteY8313" fmla="*/ 2557670 h 4749526"/>
              <a:gd name="connsiteX8314" fmla="*/ 5957777 w 7402822"/>
              <a:gd name="connsiteY8314" fmla="*/ 2563742 h 4749526"/>
              <a:gd name="connsiteX8315" fmla="*/ 5954741 w 7402822"/>
              <a:gd name="connsiteY8315" fmla="*/ 2569814 h 4749526"/>
              <a:gd name="connsiteX8316" fmla="*/ 5948669 w 7402822"/>
              <a:gd name="connsiteY8316" fmla="*/ 2569814 h 4749526"/>
              <a:gd name="connsiteX8317" fmla="*/ 5942597 w 7402822"/>
              <a:gd name="connsiteY8317" fmla="*/ 2578921 h 4749526"/>
              <a:gd name="connsiteX8318" fmla="*/ 5927419 w 7402822"/>
              <a:gd name="connsiteY8318" fmla="*/ 2594100 h 4749526"/>
              <a:gd name="connsiteX8319" fmla="*/ 5924383 w 7402822"/>
              <a:gd name="connsiteY8319" fmla="*/ 2603207 h 4749526"/>
              <a:gd name="connsiteX8320" fmla="*/ 5933491 w 7402822"/>
              <a:gd name="connsiteY8320" fmla="*/ 2609279 h 4749526"/>
              <a:gd name="connsiteX8321" fmla="*/ 5948669 w 7402822"/>
              <a:gd name="connsiteY8321" fmla="*/ 2615351 h 4749526"/>
              <a:gd name="connsiteX8322" fmla="*/ 5951705 w 7402822"/>
              <a:gd name="connsiteY8322" fmla="*/ 2624458 h 4749526"/>
              <a:gd name="connsiteX8323" fmla="*/ 5951705 w 7402822"/>
              <a:gd name="connsiteY8323" fmla="*/ 2630530 h 4749526"/>
              <a:gd name="connsiteX8324" fmla="*/ 5957777 w 7402822"/>
              <a:gd name="connsiteY8324" fmla="*/ 2642673 h 4749526"/>
              <a:gd name="connsiteX8325" fmla="*/ 5960813 w 7402822"/>
              <a:gd name="connsiteY8325" fmla="*/ 2651781 h 4749526"/>
              <a:gd name="connsiteX8326" fmla="*/ 5960813 w 7402822"/>
              <a:gd name="connsiteY8326" fmla="*/ 2657852 h 4749526"/>
              <a:gd name="connsiteX8327" fmla="*/ 5966884 w 7402822"/>
              <a:gd name="connsiteY8327" fmla="*/ 2660888 h 4749526"/>
              <a:gd name="connsiteX8328" fmla="*/ 5972956 w 7402822"/>
              <a:gd name="connsiteY8328" fmla="*/ 2666959 h 4749526"/>
              <a:gd name="connsiteX8329" fmla="*/ 5982063 w 7402822"/>
              <a:gd name="connsiteY8329" fmla="*/ 2676067 h 4749526"/>
              <a:gd name="connsiteX8330" fmla="*/ 5969921 w 7402822"/>
              <a:gd name="connsiteY8330" fmla="*/ 2676067 h 4749526"/>
              <a:gd name="connsiteX8331" fmla="*/ 5957777 w 7402822"/>
              <a:gd name="connsiteY8331" fmla="*/ 2669995 h 4749526"/>
              <a:gd name="connsiteX8332" fmla="*/ 5957777 w 7402822"/>
              <a:gd name="connsiteY8332" fmla="*/ 2676067 h 4749526"/>
              <a:gd name="connsiteX8333" fmla="*/ 5963849 w 7402822"/>
              <a:gd name="connsiteY8333" fmla="*/ 2676067 h 4749526"/>
              <a:gd name="connsiteX8334" fmla="*/ 5972956 w 7402822"/>
              <a:gd name="connsiteY8334" fmla="*/ 2685174 h 4749526"/>
              <a:gd name="connsiteX8335" fmla="*/ 5982063 w 7402822"/>
              <a:gd name="connsiteY8335" fmla="*/ 2697317 h 4749526"/>
              <a:gd name="connsiteX8336" fmla="*/ 5972956 w 7402822"/>
              <a:gd name="connsiteY8336" fmla="*/ 2700354 h 4749526"/>
              <a:gd name="connsiteX8337" fmla="*/ 5954741 w 7402822"/>
              <a:gd name="connsiteY8337" fmla="*/ 2709461 h 4749526"/>
              <a:gd name="connsiteX8338" fmla="*/ 5951705 w 7402822"/>
              <a:gd name="connsiteY8338" fmla="*/ 2709461 h 4749526"/>
              <a:gd name="connsiteX8339" fmla="*/ 5945634 w 7402822"/>
              <a:gd name="connsiteY8339" fmla="*/ 2715533 h 4749526"/>
              <a:gd name="connsiteX8340" fmla="*/ 5948669 w 7402822"/>
              <a:gd name="connsiteY8340" fmla="*/ 2715533 h 4749526"/>
              <a:gd name="connsiteX8341" fmla="*/ 5954741 w 7402822"/>
              <a:gd name="connsiteY8341" fmla="*/ 2715533 h 4749526"/>
              <a:gd name="connsiteX8342" fmla="*/ 5966884 w 7402822"/>
              <a:gd name="connsiteY8342" fmla="*/ 2712496 h 4749526"/>
              <a:gd name="connsiteX8343" fmla="*/ 5972956 w 7402822"/>
              <a:gd name="connsiteY8343" fmla="*/ 2715533 h 4749526"/>
              <a:gd name="connsiteX8344" fmla="*/ 5985099 w 7402822"/>
              <a:gd name="connsiteY8344" fmla="*/ 2721604 h 4749526"/>
              <a:gd name="connsiteX8345" fmla="*/ 5979027 w 7402822"/>
              <a:gd name="connsiteY8345" fmla="*/ 2727675 h 4749526"/>
              <a:gd name="connsiteX8346" fmla="*/ 5982063 w 7402822"/>
              <a:gd name="connsiteY8346" fmla="*/ 2733747 h 4749526"/>
              <a:gd name="connsiteX8347" fmla="*/ 5982063 w 7402822"/>
              <a:gd name="connsiteY8347" fmla="*/ 2739819 h 4749526"/>
              <a:gd name="connsiteX8348" fmla="*/ 5979027 w 7402822"/>
              <a:gd name="connsiteY8348" fmla="*/ 2742854 h 4749526"/>
              <a:gd name="connsiteX8349" fmla="*/ 5975992 w 7402822"/>
              <a:gd name="connsiteY8349" fmla="*/ 2754998 h 4749526"/>
              <a:gd name="connsiteX8350" fmla="*/ 5969921 w 7402822"/>
              <a:gd name="connsiteY8350" fmla="*/ 2761070 h 4749526"/>
              <a:gd name="connsiteX8351" fmla="*/ 5957777 w 7402822"/>
              <a:gd name="connsiteY8351" fmla="*/ 2767141 h 4749526"/>
              <a:gd name="connsiteX8352" fmla="*/ 5957777 w 7402822"/>
              <a:gd name="connsiteY8352" fmla="*/ 2773213 h 4749526"/>
              <a:gd name="connsiteX8353" fmla="*/ 5951705 w 7402822"/>
              <a:gd name="connsiteY8353" fmla="*/ 2782320 h 4749526"/>
              <a:gd name="connsiteX8354" fmla="*/ 5948669 w 7402822"/>
              <a:gd name="connsiteY8354" fmla="*/ 2788392 h 4749526"/>
              <a:gd name="connsiteX8355" fmla="*/ 5942597 w 7402822"/>
              <a:gd name="connsiteY8355" fmla="*/ 2794464 h 4749526"/>
              <a:gd name="connsiteX8356" fmla="*/ 5936527 w 7402822"/>
              <a:gd name="connsiteY8356" fmla="*/ 2794464 h 4749526"/>
              <a:gd name="connsiteX8357" fmla="*/ 5933491 w 7402822"/>
              <a:gd name="connsiteY8357" fmla="*/ 2797499 h 4749526"/>
              <a:gd name="connsiteX8358" fmla="*/ 5936527 w 7402822"/>
              <a:gd name="connsiteY8358" fmla="*/ 2800535 h 4749526"/>
              <a:gd name="connsiteX8359" fmla="*/ 5936527 w 7402822"/>
              <a:gd name="connsiteY8359" fmla="*/ 2806606 h 4749526"/>
              <a:gd name="connsiteX8360" fmla="*/ 5936527 w 7402822"/>
              <a:gd name="connsiteY8360" fmla="*/ 2812678 h 4749526"/>
              <a:gd name="connsiteX8361" fmla="*/ 5933491 w 7402822"/>
              <a:gd name="connsiteY8361" fmla="*/ 2821785 h 4749526"/>
              <a:gd name="connsiteX8362" fmla="*/ 5933491 w 7402822"/>
              <a:gd name="connsiteY8362" fmla="*/ 2827857 h 4749526"/>
              <a:gd name="connsiteX8363" fmla="*/ 5918312 w 7402822"/>
              <a:gd name="connsiteY8363" fmla="*/ 2836964 h 4749526"/>
              <a:gd name="connsiteX8364" fmla="*/ 5915276 w 7402822"/>
              <a:gd name="connsiteY8364" fmla="*/ 2843036 h 4749526"/>
              <a:gd name="connsiteX8365" fmla="*/ 5912241 w 7402822"/>
              <a:gd name="connsiteY8365" fmla="*/ 2846073 h 4749526"/>
              <a:gd name="connsiteX8366" fmla="*/ 5900097 w 7402822"/>
              <a:gd name="connsiteY8366" fmla="*/ 2855180 h 4749526"/>
              <a:gd name="connsiteX8367" fmla="*/ 5894025 w 7402822"/>
              <a:gd name="connsiteY8367" fmla="*/ 2858215 h 4749526"/>
              <a:gd name="connsiteX8368" fmla="*/ 5890990 w 7402822"/>
              <a:gd name="connsiteY8368" fmla="*/ 2861252 h 4749526"/>
              <a:gd name="connsiteX8369" fmla="*/ 5887953 w 7402822"/>
              <a:gd name="connsiteY8369" fmla="*/ 2861252 h 4749526"/>
              <a:gd name="connsiteX8370" fmla="*/ 5884918 w 7402822"/>
              <a:gd name="connsiteY8370" fmla="*/ 2867323 h 4749526"/>
              <a:gd name="connsiteX8371" fmla="*/ 5878846 w 7402822"/>
              <a:gd name="connsiteY8371" fmla="*/ 2867323 h 4749526"/>
              <a:gd name="connsiteX8372" fmla="*/ 5875811 w 7402822"/>
              <a:gd name="connsiteY8372" fmla="*/ 2870359 h 4749526"/>
              <a:gd name="connsiteX8373" fmla="*/ 5875811 w 7402822"/>
              <a:gd name="connsiteY8373" fmla="*/ 2873394 h 4749526"/>
              <a:gd name="connsiteX8374" fmla="*/ 5872775 w 7402822"/>
              <a:gd name="connsiteY8374" fmla="*/ 2876430 h 4749526"/>
              <a:gd name="connsiteX8375" fmla="*/ 5869739 w 7402822"/>
              <a:gd name="connsiteY8375" fmla="*/ 2876430 h 4749526"/>
              <a:gd name="connsiteX8376" fmla="*/ 5866703 w 7402822"/>
              <a:gd name="connsiteY8376" fmla="*/ 2882502 h 4749526"/>
              <a:gd name="connsiteX8377" fmla="*/ 5854560 w 7402822"/>
              <a:gd name="connsiteY8377" fmla="*/ 2885538 h 4749526"/>
              <a:gd name="connsiteX8378" fmla="*/ 5851524 w 7402822"/>
              <a:gd name="connsiteY8378" fmla="*/ 2885538 h 4749526"/>
              <a:gd name="connsiteX8379" fmla="*/ 5848488 w 7402822"/>
              <a:gd name="connsiteY8379" fmla="*/ 2888573 h 4749526"/>
              <a:gd name="connsiteX8380" fmla="*/ 5842417 w 7402822"/>
              <a:gd name="connsiteY8380" fmla="*/ 2885538 h 4749526"/>
              <a:gd name="connsiteX8381" fmla="*/ 5836345 w 7402822"/>
              <a:gd name="connsiteY8381" fmla="*/ 2888573 h 4749526"/>
              <a:gd name="connsiteX8382" fmla="*/ 5827238 w 7402822"/>
              <a:gd name="connsiteY8382" fmla="*/ 2891609 h 4749526"/>
              <a:gd name="connsiteX8383" fmla="*/ 5821166 w 7402822"/>
              <a:gd name="connsiteY8383" fmla="*/ 2888573 h 4749526"/>
              <a:gd name="connsiteX8384" fmla="*/ 5818130 w 7402822"/>
              <a:gd name="connsiteY8384" fmla="*/ 2891609 h 4749526"/>
              <a:gd name="connsiteX8385" fmla="*/ 5815094 w 7402822"/>
              <a:gd name="connsiteY8385" fmla="*/ 2891609 h 4749526"/>
              <a:gd name="connsiteX8386" fmla="*/ 5809022 w 7402822"/>
              <a:gd name="connsiteY8386" fmla="*/ 2882502 h 4749526"/>
              <a:gd name="connsiteX8387" fmla="*/ 5809022 w 7402822"/>
              <a:gd name="connsiteY8387" fmla="*/ 2876430 h 4749526"/>
              <a:gd name="connsiteX8388" fmla="*/ 5805987 w 7402822"/>
              <a:gd name="connsiteY8388" fmla="*/ 2879466 h 4749526"/>
              <a:gd name="connsiteX8389" fmla="*/ 5802952 w 7402822"/>
              <a:gd name="connsiteY8389" fmla="*/ 2882502 h 4749526"/>
              <a:gd name="connsiteX8390" fmla="*/ 5809022 w 7402822"/>
              <a:gd name="connsiteY8390" fmla="*/ 2885538 h 4749526"/>
              <a:gd name="connsiteX8391" fmla="*/ 5809022 w 7402822"/>
              <a:gd name="connsiteY8391" fmla="*/ 2894645 h 4749526"/>
              <a:gd name="connsiteX8392" fmla="*/ 5805987 w 7402822"/>
              <a:gd name="connsiteY8392" fmla="*/ 2897681 h 4749526"/>
              <a:gd name="connsiteX8393" fmla="*/ 5802952 w 7402822"/>
              <a:gd name="connsiteY8393" fmla="*/ 2900717 h 4749526"/>
              <a:gd name="connsiteX8394" fmla="*/ 5787773 w 7402822"/>
              <a:gd name="connsiteY8394" fmla="*/ 2906788 h 4749526"/>
              <a:gd name="connsiteX8395" fmla="*/ 5781701 w 7402822"/>
              <a:gd name="connsiteY8395" fmla="*/ 2906788 h 4749526"/>
              <a:gd name="connsiteX8396" fmla="*/ 5778664 w 7402822"/>
              <a:gd name="connsiteY8396" fmla="*/ 2906788 h 4749526"/>
              <a:gd name="connsiteX8397" fmla="*/ 5775629 w 7402822"/>
              <a:gd name="connsiteY8397" fmla="*/ 2909824 h 4749526"/>
              <a:gd name="connsiteX8398" fmla="*/ 5769557 w 7402822"/>
              <a:gd name="connsiteY8398" fmla="*/ 2912860 h 4749526"/>
              <a:gd name="connsiteX8399" fmla="*/ 5763485 w 7402822"/>
              <a:gd name="connsiteY8399" fmla="*/ 2912860 h 4749526"/>
              <a:gd name="connsiteX8400" fmla="*/ 5760450 w 7402822"/>
              <a:gd name="connsiteY8400" fmla="*/ 2912860 h 4749526"/>
              <a:gd name="connsiteX8401" fmla="*/ 5757414 w 7402822"/>
              <a:gd name="connsiteY8401" fmla="*/ 2912860 h 4749526"/>
              <a:gd name="connsiteX8402" fmla="*/ 5757414 w 7402822"/>
              <a:gd name="connsiteY8402" fmla="*/ 2915896 h 4749526"/>
              <a:gd name="connsiteX8403" fmla="*/ 5751342 w 7402822"/>
              <a:gd name="connsiteY8403" fmla="*/ 2915896 h 4749526"/>
              <a:gd name="connsiteX8404" fmla="*/ 5748307 w 7402822"/>
              <a:gd name="connsiteY8404" fmla="*/ 2918932 h 4749526"/>
              <a:gd name="connsiteX8405" fmla="*/ 5745271 w 7402822"/>
              <a:gd name="connsiteY8405" fmla="*/ 2918932 h 4749526"/>
              <a:gd name="connsiteX8406" fmla="*/ 5739199 w 7402822"/>
              <a:gd name="connsiteY8406" fmla="*/ 2921967 h 4749526"/>
              <a:gd name="connsiteX8407" fmla="*/ 5739199 w 7402822"/>
              <a:gd name="connsiteY8407" fmla="*/ 2928039 h 4749526"/>
              <a:gd name="connsiteX8408" fmla="*/ 5742235 w 7402822"/>
              <a:gd name="connsiteY8408" fmla="*/ 2928039 h 4749526"/>
              <a:gd name="connsiteX8409" fmla="*/ 5742235 w 7402822"/>
              <a:gd name="connsiteY8409" fmla="*/ 2931075 h 4749526"/>
              <a:gd name="connsiteX8410" fmla="*/ 5745271 w 7402822"/>
              <a:gd name="connsiteY8410" fmla="*/ 2934111 h 4749526"/>
              <a:gd name="connsiteX8411" fmla="*/ 5742235 w 7402822"/>
              <a:gd name="connsiteY8411" fmla="*/ 2940183 h 4749526"/>
              <a:gd name="connsiteX8412" fmla="*/ 5736163 w 7402822"/>
              <a:gd name="connsiteY8412" fmla="*/ 2940183 h 4749526"/>
              <a:gd name="connsiteX8413" fmla="*/ 5730092 w 7402822"/>
              <a:gd name="connsiteY8413" fmla="*/ 2931075 h 4749526"/>
              <a:gd name="connsiteX8414" fmla="*/ 5730092 w 7402822"/>
              <a:gd name="connsiteY8414" fmla="*/ 2928039 h 4749526"/>
              <a:gd name="connsiteX8415" fmla="*/ 5727056 w 7402822"/>
              <a:gd name="connsiteY8415" fmla="*/ 2928039 h 4749526"/>
              <a:gd name="connsiteX8416" fmla="*/ 5730092 w 7402822"/>
              <a:gd name="connsiteY8416" fmla="*/ 2921967 h 4749526"/>
              <a:gd name="connsiteX8417" fmla="*/ 5730092 w 7402822"/>
              <a:gd name="connsiteY8417" fmla="*/ 2915896 h 4749526"/>
              <a:gd name="connsiteX8418" fmla="*/ 5733128 w 7402822"/>
              <a:gd name="connsiteY8418" fmla="*/ 2915896 h 4749526"/>
              <a:gd name="connsiteX8419" fmla="*/ 5733128 w 7402822"/>
              <a:gd name="connsiteY8419" fmla="*/ 2912860 h 4749526"/>
              <a:gd name="connsiteX8420" fmla="*/ 5717949 w 7402822"/>
              <a:gd name="connsiteY8420" fmla="*/ 2915896 h 4749526"/>
              <a:gd name="connsiteX8421" fmla="*/ 5714912 w 7402822"/>
              <a:gd name="connsiteY8421" fmla="*/ 2912860 h 4749526"/>
              <a:gd name="connsiteX8422" fmla="*/ 5711877 w 7402822"/>
              <a:gd name="connsiteY8422" fmla="*/ 2906788 h 4749526"/>
              <a:gd name="connsiteX8423" fmla="*/ 5705805 w 7402822"/>
              <a:gd name="connsiteY8423" fmla="*/ 2912860 h 4749526"/>
              <a:gd name="connsiteX8424" fmla="*/ 5693662 w 7402822"/>
              <a:gd name="connsiteY8424" fmla="*/ 2912860 h 4749526"/>
              <a:gd name="connsiteX8425" fmla="*/ 5690626 w 7402822"/>
              <a:gd name="connsiteY8425" fmla="*/ 2909824 h 4749526"/>
              <a:gd name="connsiteX8426" fmla="*/ 5689867 w 7402822"/>
              <a:gd name="connsiteY8426" fmla="*/ 2909824 h 4749526"/>
              <a:gd name="connsiteX8427" fmla="*/ 5689866 w 7402822"/>
              <a:gd name="connsiteY8427" fmla="*/ 2909825 h 4749526"/>
              <a:gd name="connsiteX8428" fmla="*/ 5690626 w 7402822"/>
              <a:gd name="connsiteY8428" fmla="*/ 2909825 h 4749526"/>
              <a:gd name="connsiteX8429" fmla="*/ 5693662 w 7402822"/>
              <a:gd name="connsiteY8429" fmla="*/ 2912861 h 4749526"/>
              <a:gd name="connsiteX8430" fmla="*/ 5690626 w 7402822"/>
              <a:gd name="connsiteY8430" fmla="*/ 2912861 h 4749526"/>
              <a:gd name="connsiteX8431" fmla="*/ 5681519 w 7402822"/>
              <a:gd name="connsiteY8431" fmla="*/ 2921968 h 4749526"/>
              <a:gd name="connsiteX8432" fmla="*/ 5681519 w 7402822"/>
              <a:gd name="connsiteY8432" fmla="*/ 2925005 h 4749526"/>
              <a:gd name="connsiteX8433" fmla="*/ 5675447 w 7402822"/>
              <a:gd name="connsiteY8433" fmla="*/ 2925005 h 4749526"/>
              <a:gd name="connsiteX8434" fmla="*/ 5666340 w 7402822"/>
              <a:gd name="connsiteY8434" fmla="*/ 2931075 h 4749526"/>
              <a:gd name="connsiteX8435" fmla="*/ 5663304 w 7402822"/>
              <a:gd name="connsiteY8435" fmla="*/ 2940184 h 4749526"/>
              <a:gd name="connsiteX8436" fmla="*/ 5663304 w 7402822"/>
              <a:gd name="connsiteY8436" fmla="*/ 2943219 h 4749526"/>
              <a:gd name="connsiteX8437" fmla="*/ 5654196 w 7402822"/>
              <a:gd name="connsiteY8437" fmla="*/ 2946254 h 4749526"/>
              <a:gd name="connsiteX8438" fmla="*/ 5651161 w 7402822"/>
              <a:gd name="connsiteY8438" fmla="*/ 2949291 h 4749526"/>
              <a:gd name="connsiteX8439" fmla="*/ 5648125 w 7402822"/>
              <a:gd name="connsiteY8439" fmla="*/ 2955363 h 4749526"/>
              <a:gd name="connsiteX8440" fmla="*/ 5648125 w 7402822"/>
              <a:gd name="connsiteY8440" fmla="*/ 2961434 h 4749526"/>
              <a:gd name="connsiteX8441" fmla="*/ 5648125 w 7402822"/>
              <a:gd name="connsiteY8441" fmla="*/ 2964470 h 4749526"/>
              <a:gd name="connsiteX8442" fmla="*/ 5645089 w 7402822"/>
              <a:gd name="connsiteY8442" fmla="*/ 2967505 h 4749526"/>
              <a:gd name="connsiteX8443" fmla="*/ 5648125 w 7402822"/>
              <a:gd name="connsiteY8443" fmla="*/ 2976613 h 4749526"/>
              <a:gd name="connsiteX8444" fmla="*/ 5654196 w 7402822"/>
              <a:gd name="connsiteY8444" fmla="*/ 2982684 h 4749526"/>
              <a:gd name="connsiteX8445" fmla="*/ 5663304 w 7402822"/>
              <a:gd name="connsiteY8445" fmla="*/ 2988756 h 4749526"/>
              <a:gd name="connsiteX8446" fmla="*/ 5663304 w 7402822"/>
              <a:gd name="connsiteY8446" fmla="*/ 2997864 h 4749526"/>
              <a:gd name="connsiteX8447" fmla="*/ 5675447 w 7402822"/>
              <a:gd name="connsiteY8447" fmla="*/ 3010007 h 4749526"/>
              <a:gd name="connsiteX8448" fmla="*/ 5681519 w 7402822"/>
              <a:gd name="connsiteY8448" fmla="*/ 3019114 h 4749526"/>
              <a:gd name="connsiteX8449" fmla="*/ 5687591 w 7402822"/>
              <a:gd name="connsiteY8449" fmla="*/ 3022150 h 4749526"/>
              <a:gd name="connsiteX8450" fmla="*/ 5693662 w 7402822"/>
              <a:gd name="connsiteY8450" fmla="*/ 3025186 h 4749526"/>
              <a:gd name="connsiteX8451" fmla="*/ 5696698 w 7402822"/>
              <a:gd name="connsiteY8451" fmla="*/ 3028222 h 4749526"/>
              <a:gd name="connsiteX8452" fmla="*/ 5699733 w 7402822"/>
              <a:gd name="connsiteY8452" fmla="*/ 3031257 h 4749526"/>
              <a:gd name="connsiteX8453" fmla="*/ 5708841 w 7402822"/>
              <a:gd name="connsiteY8453" fmla="*/ 3043401 h 4749526"/>
              <a:gd name="connsiteX8454" fmla="*/ 5714912 w 7402822"/>
              <a:gd name="connsiteY8454" fmla="*/ 3058580 h 4749526"/>
              <a:gd name="connsiteX8455" fmla="*/ 5717949 w 7402822"/>
              <a:gd name="connsiteY8455" fmla="*/ 3064652 h 4749526"/>
              <a:gd name="connsiteX8456" fmla="*/ 5720984 w 7402822"/>
              <a:gd name="connsiteY8456" fmla="*/ 3076794 h 4749526"/>
              <a:gd name="connsiteX8457" fmla="*/ 5720984 w 7402822"/>
              <a:gd name="connsiteY8457" fmla="*/ 3085902 h 4749526"/>
              <a:gd name="connsiteX8458" fmla="*/ 5720984 w 7402822"/>
              <a:gd name="connsiteY8458" fmla="*/ 3095010 h 4749526"/>
              <a:gd name="connsiteX8459" fmla="*/ 5724020 w 7402822"/>
              <a:gd name="connsiteY8459" fmla="*/ 3101081 h 4749526"/>
              <a:gd name="connsiteX8460" fmla="*/ 5720984 w 7402822"/>
              <a:gd name="connsiteY8460" fmla="*/ 3110189 h 4749526"/>
              <a:gd name="connsiteX8461" fmla="*/ 5720984 w 7402822"/>
              <a:gd name="connsiteY8461" fmla="*/ 3116260 h 4749526"/>
              <a:gd name="connsiteX8462" fmla="*/ 5717949 w 7402822"/>
              <a:gd name="connsiteY8462" fmla="*/ 3122332 h 4749526"/>
              <a:gd name="connsiteX8463" fmla="*/ 5711877 w 7402822"/>
              <a:gd name="connsiteY8463" fmla="*/ 3134475 h 4749526"/>
              <a:gd name="connsiteX8464" fmla="*/ 5696698 w 7402822"/>
              <a:gd name="connsiteY8464" fmla="*/ 3140546 h 4749526"/>
              <a:gd name="connsiteX8465" fmla="*/ 5681519 w 7402822"/>
              <a:gd name="connsiteY8465" fmla="*/ 3149654 h 4749526"/>
              <a:gd name="connsiteX8466" fmla="*/ 5666340 w 7402822"/>
              <a:gd name="connsiteY8466" fmla="*/ 3149654 h 4749526"/>
              <a:gd name="connsiteX8467" fmla="*/ 5660268 w 7402822"/>
              <a:gd name="connsiteY8467" fmla="*/ 3152690 h 4749526"/>
              <a:gd name="connsiteX8468" fmla="*/ 5669375 w 7402822"/>
              <a:gd name="connsiteY8468" fmla="*/ 3155725 h 4749526"/>
              <a:gd name="connsiteX8469" fmla="*/ 5666340 w 7402822"/>
              <a:gd name="connsiteY8469" fmla="*/ 3158762 h 4749526"/>
              <a:gd name="connsiteX8470" fmla="*/ 5663304 w 7402822"/>
              <a:gd name="connsiteY8470" fmla="*/ 3161797 h 4749526"/>
              <a:gd name="connsiteX8471" fmla="*/ 5663304 w 7402822"/>
              <a:gd name="connsiteY8471" fmla="*/ 3167869 h 4749526"/>
              <a:gd name="connsiteX8472" fmla="*/ 5657232 w 7402822"/>
              <a:gd name="connsiteY8472" fmla="*/ 3170904 h 4749526"/>
              <a:gd name="connsiteX8473" fmla="*/ 5654196 w 7402822"/>
              <a:gd name="connsiteY8473" fmla="*/ 3173941 h 4749526"/>
              <a:gd name="connsiteX8474" fmla="*/ 5648125 w 7402822"/>
              <a:gd name="connsiteY8474" fmla="*/ 3176976 h 4749526"/>
              <a:gd name="connsiteX8475" fmla="*/ 5642053 w 7402822"/>
              <a:gd name="connsiteY8475" fmla="*/ 3176976 h 4749526"/>
              <a:gd name="connsiteX8476" fmla="*/ 5639017 w 7402822"/>
              <a:gd name="connsiteY8476" fmla="*/ 3183048 h 4749526"/>
              <a:gd name="connsiteX8477" fmla="*/ 5629910 w 7402822"/>
              <a:gd name="connsiteY8477" fmla="*/ 3189120 h 4749526"/>
              <a:gd name="connsiteX8478" fmla="*/ 5626874 w 7402822"/>
              <a:gd name="connsiteY8478" fmla="*/ 3183048 h 4749526"/>
              <a:gd name="connsiteX8479" fmla="*/ 5626874 w 7402822"/>
              <a:gd name="connsiteY8479" fmla="*/ 3176976 h 4749526"/>
              <a:gd name="connsiteX8480" fmla="*/ 5629910 w 7402822"/>
              <a:gd name="connsiteY8480" fmla="*/ 3176976 h 4749526"/>
              <a:gd name="connsiteX8481" fmla="*/ 5629910 w 7402822"/>
              <a:gd name="connsiteY8481" fmla="*/ 3161797 h 4749526"/>
              <a:gd name="connsiteX8482" fmla="*/ 5635982 w 7402822"/>
              <a:gd name="connsiteY8482" fmla="*/ 3161797 h 4749526"/>
              <a:gd name="connsiteX8483" fmla="*/ 5629910 w 7402822"/>
              <a:gd name="connsiteY8483" fmla="*/ 3155725 h 4749526"/>
              <a:gd name="connsiteX8484" fmla="*/ 5620802 w 7402822"/>
              <a:gd name="connsiteY8484" fmla="*/ 3149654 h 4749526"/>
              <a:gd name="connsiteX8485" fmla="*/ 5614731 w 7402822"/>
              <a:gd name="connsiteY8485" fmla="*/ 3146618 h 4749526"/>
              <a:gd name="connsiteX8486" fmla="*/ 5608660 w 7402822"/>
              <a:gd name="connsiteY8486" fmla="*/ 3143583 h 4749526"/>
              <a:gd name="connsiteX8487" fmla="*/ 5602588 w 7402822"/>
              <a:gd name="connsiteY8487" fmla="*/ 3149654 h 4749526"/>
              <a:gd name="connsiteX8488" fmla="*/ 5605623 w 7402822"/>
              <a:gd name="connsiteY8488" fmla="*/ 3143583 h 4749526"/>
              <a:gd name="connsiteX8489" fmla="*/ 5605623 w 7402822"/>
              <a:gd name="connsiteY8489" fmla="*/ 3140546 h 4749526"/>
              <a:gd name="connsiteX8490" fmla="*/ 5602588 w 7402822"/>
              <a:gd name="connsiteY8490" fmla="*/ 3134475 h 4749526"/>
              <a:gd name="connsiteX8491" fmla="*/ 5599552 w 7402822"/>
              <a:gd name="connsiteY8491" fmla="*/ 3137511 h 4749526"/>
              <a:gd name="connsiteX8492" fmla="*/ 5593481 w 7402822"/>
              <a:gd name="connsiteY8492" fmla="*/ 3140546 h 4749526"/>
              <a:gd name="connsiteX8493" fmla="*/ 5593481 w 7402822"/>
              <a:gd name="connsiteY8493" fmla="*/ 3131439 h 4749526"/>
              <a:gd name="connsiteX8494" fmla="*/ 5593481 w 7402822"/>
              <a:gd name="connsiteY8494" fmla="*/ 3128404 h 4749526"/>
              <a:gd name="connsiteX8495" fmla="*/ 5590444 w 7402822"/>
              <a:gd name="connsiteY8495" fmla="*/ 3125368 h 4749526"/>
              <a:gd name="connsiteX8496" fmla="*/ 5584372 w 7402822"/>
              <a:gd name="connsiteY8496" fmla="*/ 3116260 h 4749526"/>
              <a:gd name="connsiteX8497" fmla="*/ 5575265 w 7402822"/>
              <a:gd name="connsiteY8497" fmla="*/ 3110189 h 4749526"/>
              <a:gd name="connsiteX8498" fmla="*/ 5566158 w 7402822"/>
              <a:gd name="connsiteY8498" fmla="*/ 3104117 h 4749526"/>
              <a:gd name="connsiteX8499" fmla="*/ 5554015 w 7402822"/>
              <a:gd name="connsiteY8499" fmla="*/ 3104117 h 4749526"/>
              <a:gd name="connsiteX8500" fmla="*/ 5547943 w 7402822"/>
              <a:gd name="connsiteY8500" fmla="*/ 3101081 h 4749526"/>
              <a:gd name="connsiteX8501" fmla="*/ 5547943 w 7402822"/>
              <a:gd name="connsiteY8501" fmla="*/ 3091974 h 4749526"/>
              <a:gd name="connsiteX8502" fmla="*/ 5547943 w 7402822"/>
              <a:gd name="connsiteY8502" fmla="*/ 3085902 h 4749526"/>
              <a:gd name="connsiteX8503" fmla="*/ 5544907 w 7402822"/>
              <a:gd name="connsiteY8503" fmla="*/ 3085902 h 4749526"/>
              <a:gd name="connsiteX8504" fmla="*/ 5541872 w 7402822"/>
              <a:gd name="connsiteY8504" fmla="*/ 3082866 h 4749526"/>
              <a:gd name="connsiteX8505" fmla="*/ 5535800 w 7402822"/>
              <a:gd name="connsiteY8505" fmla="*/ 3085902 h 4749526"/>
              <a:gd name="connsiteX8506" fmla="*/ 5529728 w 7402822"/>
              <a:gd name="connsiteY8506" fmla="*/ 3088938 h 4749526"/>
              <a:gd name="connsiteX8507" fmla="*/ 5529728 w 7402822"/>
              <a:gd name="connsiteY8507" fmla="*/ 3101081 h 4749526"/>
              <a:gd name="connsiteX8508" fmla="*/ 5526692 w 7402822"/>
              <a:gd name="connsiteY8508" fmla="*/ 3110189 h 4749526"/>
              <a:gd name="connsiteX8509" fmla="*/ 5517585 w 7402822"/>
              <a:gd name="connsiteY8509" fmla="*/ 3134475 h 4749526"/>
              <a:gd name="connsiteX8510" fmla="*/ 5514549 w 7402822"/>
              <a:gd name="connsiteY8510" fmla="*/ 3146618 h 4749526"/>
              <a:gd name="connsiteX8511" fmla="*/ 5511513 w 7402822"/>
              <a:gd name="connsiteY8511" fmla="*/ 3158762 h 4749526"/>
              <a:gd name="connsiteX8512" fmla="*/ 5511513 w 7402822"/>
              <a:gd name="connsiteY8512" fmla="*/ 3170904 h 4749526"/>
              <a:gd name="connsiteX8513" fmla="*/ 5514549 w 7402822"/>
              <a:gd name="connsiteY8513" fmla="*/ 3176976 h 4749526"/>
              <a:gd name="connsiteX8514" fmla="*/ 5526692 w 7402822"/>
              <a:gd name="connsiteY8514" fmla="*/ 3173941 h 4749526"/>
              <a:gd name="connsiteX8515" fmla="*/ 5529728 w 7402822"/>
              <a:gd name="connsiteY8515" fmla="*/ 3189120 h 4749526"/>
              <a:gd name="connsiteX8516" fmla="*/ 5532764 w 7402822"/>
              <a:gd name="connsiteY8516" fmla="*/ 3192155 h 4749526"/>
              <a:gd name="connsiteX8517" fmla="*/ 5535800 w 7402822"/>
              <a:gd name="connsiteY8517" fmla="*/ 3195192 h 4749526"/>
              <a:gd name="connsiteX8518" fmla="*/ 5538836 w 7402822"/>
              <a:gd name="connsiteY8518" fmla="*/ 3210370 h 4749526"/>
              <a:gd name="connsiteX8519" fmla="*/ 5535800 w 7402822"/>
              <a:gd name="connsiteY8519" fmla="*/ 3204299 h 4749526"/>
              <a:gd name="connsiteX8520" fmla="*/ 5532764 w 7402822"/>
              <a:gd name="connsiteY8520" fmla="*/ 3210370 h 4749526"/>
              <a:gd name="connsiteX8521" fmla="*/ 5535800 w 7402822"/>
              <a:gd name="connsiteY8521" fmla="*/ 3216442 h 4749526"/>
              <a:gd name="connsiteX8522" fmla="*/ 5541872 w 7402822"/>
              <a:gd name="connsiteY8522" fmla="*/ 3219478 h 4749526"/>
              <a:gd name="connsiteX8523" fmla="*/ 5550979 w 7402822"/>
              <a:gd name="connsiteY8523" fmla="*/ 3222514 h 4749526"/>
              <a:gd name="connsiteX8524" fmla="*/ 5560086 w 7402822"/>
              <a:gd name="connsiteY8524" fmla="*/ 3225549 h 4749526"/>
              <a:gd name="connsiteX8525" fmla="*/ 5572230 w 7402822"/>
              <a:gd name="connsiteY8525" fmla="*/ 3237693 h 4749526"/>
              <a:gd name="connsiteX8526" fmla="*/ 5578302 w 7402822"/>
              <a:gd name="connsiteY8526" fmla="*/ 3237693 h 4749526"/>
              <a:gd name="connsiteX8527" fmla="*/ 5587409 w 7402822"/>
              <a:gd name="connsiteY8527" fmla="*/ 3246800 h 4749526"/>
              <a:gd name="connsiteX8528" fmla="*/ 5596516 w 7402822"/>
              <a:gd name="connsiteY8528" fmla="*/ 3261979 h 4749526"/>
              <a:gd name="connsiteX8529" fmla="*/ 5599552 w 7402822"/>
              <a:gd name="connsiteY8529" fmla="*/ 3280193 h 4749526"/>
              <a:gd name="connsiteX8530" fmla="*/ 5599552 w 7402822"/>
              <a:gd name="connsiteY8530" fmla="*/ 3286265 h 4749526"/>
              <a:gd name="connsiteX8531" fmla="*/ 5599552 w 7402822"/>
              <a:gd name="connsiteY8531" fmla="*/ 3292337 h 4749526"/>
              <a:gd name="connsiteX8532" fmla="*/ 5605623 w 7402822"/>
              <a:gd name="connsiteY8532" fmla="*/ 3310552 h 4749526"/>
              <a:gd name="connsiteX8533" fmla="*/ 5608660 w 7402822"/>
              <a:gd name="connsiteY8533" fmla="*/ 3310552 h 4749526"/>
              <a:gd name="connsiteX8534" fmla="*/ 5611695 w 7402822"/>
              <a:gd name="connsiteY8534" fmla="*/ 3316624 h 4749526"/>
              <a:gd name="connsiteX8535" fmla="*/ 5614731 w 7402822"/>
              <a:gd name="connsiteY8535" fmla="*/ 3328767 h 4749526"/>
              <a:gd name="connsiteX8536" fmla="*/ 5614731 w 7402822"/>
              <a:gd name="connsiteY8536" fmla="*/ 3337874 h 4749526"/>
              <a:gd name="connsiteX8537" fmla="*/ 5605623 w 7402822"/>
              <a:gd name="connsiteY8537" fmla="*/ 3334839 h 4749526"/>
              <a:gd name="connsiteX8538" fmla="*/ 5593481 w 7402822"/>
              <a:gd name="connsiteY8538" fmla="*/ 3328767 h 4749526"/>
              <a:gd name="connsiteX8539" fmla="*/ 5584372 w 7402822"/>
              <a:gd name="connsiteY8539" fmla="*/ 3325731 h 4749526"/>
              <a:gd name="connsiteX8540" fmla="*/ 5581337 w 7402822"/>
              <a:gd name="connsiteY8540" fmla="*/ 3322695 h 4749526"/>
              <a:gd name="connsiteX8541" fmla="*/ 5563123 w 7402822"/>
              <a:gd name="connsiteY8541" fmla="*/ 3313588 h 4749526"/>
              <a:gd name="connsiteX8542" fmla="*/ 5557051 w 7402822"/>
              <a:gd name="connsiteY8542" fmla="*/ 3307516 h 4749526"/>
              <a:gd name="connsiteX8543" fmla="*/ 5557051 w 7402822"/>
              <a:gd name="connsiteY8543" fmla="*/ 3304481 h 4749526"/>
              <a:gd name="connsiteX8544" fmla="*/ 5547943 w 7402822"/>
              <a:gd name="connsiteY8544" fmla="*/ 3289302 h 4749526"/>
              <a:gd name="connsiteX8545" fmla="*/ 5544907 w 7402822"/>
              <a:gd name="connsiteY8545" fmla="*/ 3286265 h 4749526"/>
              <a:gd name="connsiteX8546" fmla="*/ 5547943 w 7402822"/>
              <a:gd name="connsiteY8546" fmla="*/ 3283230 h 4749526"/>
              <a:gd name="connsiteX8547" fmla="*/ 5541872 w 7402822"/>
              <a:gd name="connsiteY8547" fmla="*/ 3280193 h 4749526"/>
              <a:gd name="connsiteX8548" fmla="*/ 5541872 w 7402822"/>
              <a:gd name="connsiteY8548" fmla="*/ 3274123 h 4749526"/>
              <a:gd name="connsiteX8549" fmla="*/ 5538836 w 7402822"/>
              <a:gd name="connsiteY8549" fmla="*/ 3261979 h 4749526"/>
              <a:gd name="connsiteX8550" fmla="*/ 5535800 w 7402822"/>
              <a:gd name="connsiteY8550" fmla="*/ 3243764 h 4749526"/>
              <a:gd name="connsiteX8551" fmla="*/ 5532764 w 7402822"/>
              <a:gd name="connsiteY8551" fmla="*/ 3231621 h 4749526"/>
              <a:gd name="connsiteX8552" fmla="*/ 5523657 w 7402822"/>
              <a:gd name="connsiteY8552" fmla="*/ 3225549 h 4749526"/>
              <a:gd name="connsiteX8553" fmla="*/ 5523657 w 7402822"/>
              <a:gd name="connsiteY8553" fmla="*/ 3219478 h 4749526"/>
              <a:gd name="connsiteX8554" fmla="*/ 5514549 w 7402822"/>
              <a:gd name="connsiteY8554" fmla="*/ 3213406 h 4749526"/>
              <a:gd name="connsiteX8555" fmla="*/ 5508478 w 7402822"/>
              <a:gd name="connsiteY8555" fmla="*/ 3201263 h 4749526"/>
              <a:gd name="connsiteX8556" fmla="*/ 5502406 w 7402822"/>
              <a:gd name="connsiteY8556" fmla="*/ 3192155 h 4749526"/>
              <a:gd name="connsiteX8557" fmla="*/ 5496334 w 7402822"/>
              <a:gd name="connsiteY8557" fmla="*/ 3195192 h 4749526"/>
              <a:gd name="connsiteX8558" fmla="*/ 5496334 w 7402822"/>
              <a:gd name="connsiteY8558" fmla="*/ 3198227 h 4749526"/>
              <a:gd name="connsiteX8559" fmla="*/ 5493299 w 7402822"/>
              <a:gd name="connsiteY8559" fmla="*/ 3189120 h 4749526"/>
              <a:gd name="connsiteX8560" fmla="*/ 5496334 w 7402822"/>
              <a:gd name="connsiteY8560" fmla="*/ 3173941 h 4749526"/>
              <a:gd name="connsiteX8561" fmla="*/ 5499371 w 7402822"/>
              <a:gd name="connsiteY8561" fmla="*/ 3161797 h 4749526"/>
              <a:gd name="connsiteX8562" fmla="*/ 5499371 w 7402822"/>
              <a:gd name="connsiteY8562" fmla="*/ 3158762 h 4749526"/>
              <a:gd name="connsiteX8563" fmla="*/ 5496334 w 7402822"/>
              <a:gd name="connsiteY8563" fmla="*/ 3146618 h 4749526"/>
              <a:gd name="connsiteX8564" fmla="*/ 5496334 w 7402822"/>
              <a:gd name="connsiteY8564" fmla="*/ 3143583 h 4749526"/>
              <a:gd name="connsiteX8565" fmla="*/ 5499371 w 7402822"/>
              <a:gd name="connsiteY8565" fmla="*/ 3143583 h 4749526"/>
              <a:gd name="connsiteX8566" fmla="*/ 5502406 w 7402822"/>
              <a:gd name="connsiteY8566" fmla="*/ 3131439 h 4749526"/>
              <a:gd name="connsiteX8567" fmla="*/ 5502406 w 7402822"/>
              <a:gd name="connsiteY8567" fmla="*/ 3119296 h 4749526"/>
              <a:gd name="connsiteX8568" fmla="*/ 5499371 w 7402822"/>
              <a:gd name="connsiteY8568" fmla="*/ 3110189 h 4749526"/>
              <a:gd name="connsiteX8569" fmla="*/ 5502406 w 7402822"/>
              <a:gd name="connsiteY8569" fmla="*/ 3101081 h 4749526"/>
              <a:gd name="connsiteX8570" fmla="*/ 5496334 w 7402822"/>
              <a:gd name="connsiteY8570" fmla="*/ 3088938 h 4749526"/>
              <a:gd name="connsiteX8571" fmla="*/ 5493299 w 7402822"/>
              <a:gd name="connsiteY8571" fmla="*/ 3079831 h 4749526"/>
              <a:gd name="connsiteX8572" fmla="*/ 5493299 w 7402822"/>
              <a:gd name="connsiteY8572" fmla="*/ 3076794 h 4749526"/>
              <a:gd name="connsiteX8573" fmla="*/ 5490262 w 7402822"/>
              <a:gd name="connsiteY8573" fmla="*/ 3079831 h 4749526"/>
              <a:gd name="connsiteX8574" fmla="*/ 5484192 w 7402822"/>
              <a:gd name="connsiteY8574" fmla="*/ 3061615 h 4749526"/>
              <a:gd name="connsiteX8575" fmla="*/ 5484192 w 7402822"/>
              <a:gd name="connsiteY8575" fmla="*/ 3055545 h 4749526"/>
              <a:gd name="connsiteX8576" fmla="*/ 5484192 w 7402822"/>
              <a:gd name="connsiteY8576" fmla="*/ 3052508 h 4749526"/>
              <a:gd name="connsiteX8577" fmla="*/ 5484192 w 7402822"/>
              <a:gd name="connsiteY8577" fmla="*/ 3049473 h 4749526"/>
              <a:gd name="connsiteX8578" fmla="*/ 5484192 w 7402822"/>
              <a:gd name="connsiteY8578" fmla="*/ 3046436 h 4749526"/>
              <a:gd name="connsiteX8579" fmla="*/ 5481155 w 7402822"/>
              <a:gd name="connsiteY8579" fmla="*/ 3037329 h 4749526"/>
              <a:gd name="connsiteX8580" fmla="*/ 5481155 w 7402822"/>
              <a:gd name="connsiteY8580" fmla="*/ 3028222 h 4749526"/>
              <a:gd name="connsiteX8581" fmla="*/ 5481155 w 7402822"/>
              <a:gd name="connsiteY8581" fmla="*/ 3019114 h 4749526"/>
              <a:gd name="connsiteX8582" fmla="*/ 5475083 w 7402822"/>
              <a:gd name="connsiteY8582" fmla="*/ 3022150 h 4749526"/>
              <a:gd name="connsiteX8583" fmla="*/ 5472048 w 7402822"/>
              <a:gd name="connsiteY8583" fmla="*/ 3013043 h 4749526"/>
              <a:gd name="connsiteX8584" fmla="*/ 5469013 w 7402822"/>
              <a:gd name="connsiteY8584" fmla="*/ 3006971 h 4749526"/>
              <a:gd name="connsiteX8585" fmla="*/ 5465976 w 7402822"/>
              <a:gd name="connsiteY8585" fmla="*/ 3000899 h 4749526"/>
              <a:gd name="connsiteX8586" fmla="*/ 5465976 w 7402822"/>
              <a:gd name="connsiteY8586" fmla="*/ 3003935 h 4749526"/>
              <a:gd name="connsiteX8587" fmla="*/ 5459904 w 7402822"/>
              <a:gd name="connsiteY8587" fmla="*/ 3019114 h 4749526"/>
              <a:gd name="connsiteX8588" fmla="*/ 5453833 w 7402822"/>
              <a:gd name="connsiteY8588" fmla="*/ 3025186 h 4749526"/>
              <a:gd name="connsiteX8589" fmla="*/ 5447762 w 7402822"/>
              <a:gd name="connsiteY8589" fmla="*/ 3025186 h 4749526"/>
              <a:gd name="connsiteX8590" fmla="*/ 5441690 w 7402822"/>
              <a:gd name="connsiteY8590" fmla="*/ 3031257 h 4749526"/>
              <a:gd name="connsiteX8591" fmla="*/ 5432583 w 7402822"/>
              <a:gd name="connsiteY8591" fmla="*/ 3037329 h 4749526"/>
              <a:gd name="connsiteX8592" fmla="*/ 5423475 w 7402822"/>
              <a:gd name="connsiteY8592" fmla="*/ 3037329 h 4749526"/>
              <a:gd name="connsiteX8593" fmla="*/ 5420439 w 7402822"/>
              <a:gd name="connsiteY8593" fmla="*/ 3034294 h 4749526"/>
              <a:gd name="connsiteX8594" fmla="*/ 5420439 w 7402822"/>
              <a:gd name="connsiteY8594" fmla="*/ 3028222 h 4749526"/>
              <a:gd name="connsiteX8595" fmla="*/ 5420439 w 7402822"/>
              <a:gd name="connsiteY8595" fmla="*/ 3022150 h 4749526"/>
              <a:gd name="connsiteX8596" fmla="*/ 5414368 w 7402822"/>
              <a:gd name="connsiteY8596" fmla="*/ 3031257 h 4749526"/>
              <a:gd name="connsiteX8597" fmla="*/ 5411332 w 7402822"/>
              <a:gd name="connsiteY8597" fmla="*/ 3034294 h 4749526"/>
              <a:gd name="connsiteX8598" fmla="*/ 5408296 w 7402822"/>
              <a:gd name="connsiteY8598" fmla="*/ 3028222 h 4749526"/>
              <a:gd name="connsiteX8599" fmla="*/ 5417403 w 7402822"/>
              <a:gd name="connsiteY8599" fmla="*/ 3003935 h 4749526"/>
              <a:gd name="connsiteX8600" fmla="*/ 5417403 w 7402822"/>
              <a:gd name="connsiteY8600" fmla="*/ 2997864 h 4749526"/>
              <a:gd name="connsiteX8601" fmla="*/ 5414368 w 7402822"/>
              <a:gd name="connsiteY8601" fmla="*/ 2994828 h 4749526"/>
              <a:gd name="connsiteX8602" fmla="*/ 5414368 w 7402822"/>
              <a:gd name="connsiteY8602" fmla="*/ 2985721 h 4749526"/>
              <a:gd name="connsiteX8603" fmla="*/ 5414368 w 7402822"/>
              <a:gd name="connsiteY8603" fmla="*/ 2982684 h 4749526"/>
              <a:gd name="connsiteX8604" fmla="*/ 5411332 w 7402822"/>
              <a:gd name="connsiteY8604" fmla="*/ 2976613 h 4749526"/>
              <a:gd name="connsiteX8605" fmla="*/ 5408296 w 7402822"/>
              <a:gd name="connsiteY8605" fmla="*/ 2973577 h 4749526"/>
              <a:gd name="connsiteX8606" fmla="*/ 5405260 w 7402822"/>
              <a:gd name="connsiteY8606" fmla="*/ 2970542 h 4749526"/>
              <a:gd name="connsiteX8607" fmla="*/ 5405260 w 7402822"/>
              <a:gd name="connsiteY8607" fmla="*/ 2958398 h 4749526"/>
              <a:gd name="connsiteX8608" fmla="*/ 5399189 w 7402822"/>
              <a:gd name="connsiteY8608" fmla="*/ 2952326 h 4749526"/>
              <a:gd name="connsiteX8609" fmla="*/ 5396152 w 7402822"/>
              <a:gd name="connsiteY8609" fmla="*/ 2949291 h 4749526"/>
              <a:gd name="connsiteX8610" fmla="*/ 5390081 w 7402822"/>
              <a:gd name="connsiteY8610" fmla="*/ 2946254 h 4749526"/>
              <a:gd name="connsiteX8611" fmla="*/ 5387045 w 7402822"/>
              <a:gd name="connsiteY8611" fmla="*/ 2946254 h 4749526"/>
              <a:gd name="connsiteX8612" fmla="*/ 5374903 w 7402822"/>
              <a:gd name="connsiteY8612" fmla="*/ 2937147 h 4749526"/>
              <a:gd name="connsiteX8613" fmla="*/ 5368831 w 7402822"/>
              <a:gd name="connsiteY8613" fmla="*/ 2921968 h 4749526"/>
              <a:gd name="connsiteX8614" fmla="*/ 5369637 w 7402822"/>
              <a:gd name="connsiteY8614" fmla="*/ 2919549 h 4749526"/>
              <a:gd name="connsiteX8615" fmla="*/ 5369637 w 7402822"/>
              <a:gd name="connsiteY8615" fmla="*/ 2919548 h 4749526"/>
              <a:gd name="connsiteX8616" fmla="*/ 5368831 w 7402822"/>
              <a:gd name="connsiteY8616" fmla="*/ 2921967 h 4749526"/>
              <a:gd name="connsiteX8617" fmla="*/ 5359723 w 7402822"/>
              <a:gd name="connsiteY8617" fmla="*/ 2894645 h 4749526"/>
              <a:gd name="connsiteX8618" fmla="*/ 5350615 w 7402822"/>
              <a:gd name="connsiteY8618" fmla="*/ 2885538 h 4749526"/>
              <a:gd name="connsiteX8619" fmla="*/ 5344544 w 7402822"/>
              <a:gd name="connsiteY8619" fmla="*/ 2882502 h 4749526"/>
              <a:gd name="connsiteX8620" fmla="*/ 5335436 w 7402822"/>
              <a:gd name="connsiteY8620" fmla="*/ 2879466 h 4749526"/>
              <a:gd name="connsiteX8621" fmla="*/ 5335436 w 7402822"/>
              <a:gd name="connsiteY8621" fmla="*/ 2888573 h 4749526"/>
              <a:gd name="connsiteX8622" fmla="*/ 5335436 w 7402822"/>
              <a:gd name="connsiteY8622" fmla="*/ 2897681 h 4749526"/>
              <a:gd name="connsiteX8623" fmla="*/ 5326329 w 7402822"/>
              <a:gd name="connsiteY8623" fmla="*/ 2906788 h 4749526"/>
              <a:gd name="connsiteX8624" fmla="*/ 5320258 w 7402822"/>
              <a:gd name="connsiteY8624" fmla="*/ 2903753 h 4749526"/>
              <a:gd name="connsiteX8625" fmla="*/ 5314186 w 7402822"/>
              <a:gd name="connsiteY8625" fmla="*/ 2909824 h 4749526"/>
              <a:gd name="connsiteX8626" fmla="*/ 5308114 w 7402822"/>
              <a:gd name="connsiteY8626" fmla="*/ 2909824 h 4749526"/>
              <a:gd name="connsiteX8627" fmla="*/ 5305079 w 7402822"/>
              <a:gd name="connsiteY8627" fmla="*/ 2909824 h 4749526"/>
              <a:gd name="connsiteX8628" fmla="*/ 5304851 w 7402822"/>
              <a:gd name="connsiteY8628" fmla="*/ 2909142 h 4749526"/>
              <a:gd name="connsiteX8629" fmla="*/ 5305079 w 7402822"/>
              <a:gd name="connsiteY8629" fmla="*/ 2909825 h 4749526"/>
              <a:gd name="connsiteX8630" fmla="*/ 5302801 w 7402822"/>
              <a:gd name="connsiteY8630" fmla="*/ 2909825 h 4749526"/>
              <a:gd name="connsiteX8631" fmla="*/ 5302043 w 7402822"/>
              <a:gd name="connsiteY8631" fmla="*/ 2909825 h 4749526"/>
              <a:gd name="connsiteX8632" fmla="*/ 5295971 w 7402822"/>
              <a:gd name="connsiteY8632" fmla="*/ 2912861 h 4749526"/>
              <a:gd name="connsiteX8633" fmla="*/ 5283828 w 7402822"/>
              <a:gd name="connsiteY8633" fmla="*/ 2903754 h 4749526"/>
              <a:gd name="connsiteX8634" fmla="*/ 5280792 w 7402822"/>
              <a:gd name="connsiteY8634" fmla="*/ 2903754 h 4749526"/>
              <a:gd name="connsiteX8635" fmla="*/ 5271684 w 7402822"/>
              <a:gd name="connsiteY8635" fmla="*/ 2909825 h 4749526"/>
              <a:gd name="connsiteX8636" fmla="*/ 5259542 w 7402822"/>
              <a:gd name="connsiteY8636" fmla="*/ 2915897 h 4749526"/>
              <a:gd name="connsiteX8637" fmla="*/ 5259542 w 7402822"/>
              <a:gd name="connsiteY8637" fmla="*/ 2925005 h 4749526"/>
              <a:gd name="connsiteX8638" fmla="*/ 5262577 w 7402822"/>
              <a:gd name="connsiteY8638" fmla="*/ 2931075 h 4749526"/>
              <a:gd name="connsiteX8639" fmla="*/ 5247398 w 7402822"/>
              <a:gd name="connsiteY8639" fmla="*/ 2946254 h 4749526"/>
              <a:gd name="connsiteX8640" fmla="*/ 5235255 w 7402822"/>
              <a:gd name="connsiteY8640" fmla="*/ 2952326 h 4749526"/>
              <a:gd name="connsiteX8641" fmla="*/ 5214004 w 7402822"/>
              <a:gd name="connsiteY8641" fmla="*/ 2964470 h 4749526"/>
              <a:gd name="connsiteX8642" fmla="*/ 5204897 w 7402822"/>
              <a:gd name="connsiteY8642" fmla="*/ 2979649 h 4749526"/>
              <a:gd name="connsiteX8643" fmla="*/ 5201861 w 7402822"/>
              <a:gd name="connsiteY8643" fmla="*/ 2982684 h 4749526"/>
              <a:gd name="connsiteX8644" fmla="*/ 5189718 w 7402822"/>
              <a:gd name="connsiteY8644" fmla="*/ 2988756 h 4749526"/>
              <a:gd name="connsiteX8645" fmla="*/ 5180611 w 7402822"/>
              <a:gd name="connsiteY8645" fmla="*/ 3000899 h 4749526"/>
              <a:gd name="connsiteX8646" fmla="*/ 5168467 w 7402822"/>
              <a:gd name="connsiteY8646" fmla="*/ 3006971 h 4749526"/>
              <a:gd name="connsiteX8647" fmla="*/ 5162395 w 7402822"/>
              <a:gd name="connsiteY8647" fmla="*/ 3010007 h 4749526"/>
              <a:gd name="connsiteX8648" fmla="*/ 5165432 w 7402822"/>
              <a:gd name="connsiteY8648" fmla="*/ 3016078 h 4749526"/>
              <a:gd name="connsiteX8649" fmla="*/ 5162395 w 7402822"/>
              <a:gd name="connsiteY8649" fmla="*/ 3019114 h 4749526"/>
              <a:gd name="connsiteX8650" fmla="*/ 5153288 w 7402822"/>
              <a:gd name="connsiteY8650" fmla="*/ 3025186 h 4749526"/>
              <a:gd name="connsiteX8651" fmla="*/ 5144181 w 7402822"/>
              <a:gd name="connsiteY8651" fmla="*/ 3025186 h 4749526"/>
              <a:gd name="connsiteX8652" fmla="*/ 5141145 w 7402822"/>
              <a:gd name="connsiteY8652" fmla="*/ 3031257 h 4749526"/>
              <a:gd name="connsiteX8653" fmla="*/ 5135073 w 7402822"/>
              <a:gd name="connsiteY8653" fmla="*/ 3031257 h 4749526"/>
              <a:gd name="connsiteX8654" fmla="*/ 5129002 w 7402822"/>
              <a:gd name="connsiteY8654" fmla="*/ 3034294 h 4749526"/>
              <a:gd name="connsiteX8655" fmla="*/ 5125966 w 7402822"/>
              <a:gd name="connsiteY8655" fmla="*/ 3037329 h 4749526"/>
              <a:gd name="connsiteX8656" fmla="*/ 5119894 w 7402822"/>
              <a:gd name="connsiteY8656" fmla="*/ 3040365 h 4749526"/>
              <a:gd name="connsiteX8657" fmla="*/ 5116858 w 7402822"/>
              <a:gd name="connsiteY8657" fmla="*/ 3052508 h 4749526"/>
              <a:gd name="connsiteX8658" fmla="*/ 5119894 w 7402822"/>
              <a:gd name="connsiteY8658" fmla="*/ 3061615 h 4749526"/>
              <a:gd name="connsiteX8659" fmla="*/ 5119894 w 7402822"/>
              <a:gd name="connsiteY8659" fmla="*/ 3073759 h 4749526"/>
              <a:gd name="connsiteX8660" fmla="*/ 5119894 w 7402822"/>
              <a:gd name="connsiteY8660" fmla="*/ 3079831 h 4749526"/>
              <a:gd name="connsiteX8661" fmla="*/ 5122930 w 7402822"/>
              <a:gd name="connsiteY8661" fmla="*/ 3088938 h 4749526"/>
              <a:gd name="connsiteX8662" fmla="*/ 5116858 w 7402822"/>
              <a:gd name="connsiteY8662" fmla="*/ 3110189 h 4749526"/>
              <a:gd name="connsiteX8663" fmla="*/ 5110787 w 7402822"/>
              <a:gd name="connsiteY8663" fmla="*/ 3128404 h 4749526"/>
              <a:gd name="connsiteX8664" fmla="*/ 5113823 w 7402822"/>
              <a:gd name="connsiteY8664" fmla="*/ 3137511 h 4749526"/>
              <a:gd name="connsiteX8665" fmla="*/ 5113823 w 7402822"/>
              <a:gd name="connsiteY8665" fmla="*/ 3149654 h 4749526"/>
              <a:gd name="connsiteX8666" fmla="*/ 5107751 w 7402822"/>
              <a:gd name="connsiteY8666" fmla="*/ 3152690 h 4749526"/>
              <a:gd name="connsiteX8667" fmla="*/ 5101679 w 7402822"/>
              <a:gd name="connsiteY8667" fmla="*/ 3155725 h 4749526"/>
              <a:gd name="connsiteX8668" fmla="*/ 5095608 w 7402822"/>
              <a:gd name="connsiteY8668" fmla="*/ 3164834 h 4749526"/>
              <a:gd name="connsiteX8669" fmla="*/ 5089536 w 7402822"/>
              <a:gd name="connsiteY8669" fmla="*/ 3170904 h 4749526"/>
              <a:gd name="connsiteX8670" fmla="*/ 5080429 w 7402822"/>
              <a:gd name="connsiteY8670" fmla="*/ 3180013 h 4749526"/>
              <a:gd name="connsiteX8671" fmla="*/ 5077393 w 7402822"/>
              <a:gd name="connsiteY8671" fmla="*/ 3186084 h 4749526"/>
              <a:gd name="connsiteX8672" fmla="*/ 5077393 w 7402822"/>
              <a:gd name="connsiteY8672" fmla="*/ 3189120 h 4749526"/>
              <a:gd name="connsiteX8673" fmla="*/ 5068285 w 7402822"/>
              <a:gd name="connsiteY8673" fmla="*/ 3195192 h 4749526"/>
              <a:gd name="connsiteX8674" fmla="*/ 5062213 w 7402822"/>
              <a:gd name="connsiteY8674" fmla="*/ 3198227 h 4749526"/>
              <a:gd name="connsiteX8675" fmla="*/ 5056143 w 7402822"/>
              <a:gd name="connsiteY8675" fmla="*/ 3195192 h 4749526"/>
              <a:gd name="connsiteX8676" fmla="*/ 5050071 w 7402822"/>
              <a:gd name="connsiteY8676" fmla="*/ 3189120 h 4749526"/>
              <a:gd name="connsiteX8677" fmla="*/ 5043999 w 7402822"/>
              <a:gd name="connsiteY8677" fmla="*/ 3180013 h 4749526"/>
              <a:gd name="connsiteX8678" fmla="*/ 5040964 w 7402822"/>
              <a:gd name="connsiteY8678" fmla="*/ 3164834 h 4749526"/>
              <a:gd name="connsiteX8679" fmla="*/ 5034892 w 7402822"/>
              <a:gd name="connsiteY8679" fmla="*/ 3152690 h 4749526"/>
              <a:gd name="connsiteX8680" fmla="*/ 5028820 w 7402822"/>
              <a:gd name="connsiteY8680" fmla="*/ 3137511 h 4749526"/>
              <a:gd name="connsiteX8681" fmla="*/ 5022748 w 7402822"/>
              <a:gd name="connsiteY8681" fmla="*/ 3122332 h 4749526"/>
              <a:gd name="connsiteX8682" fmla="*/ 5019713 w 7402822"/>
              <a:gd name="connsiteY8682" fmla="*/ 3116260 h 4749526"/>
              <a:gd name="connsiteX8683" fmla="*/ 5016677 w 7402822"/>
              <a:gd name="connsiteY8683" fmla="*/ 3116260 h 4749526"/>
              <a:gd name="connsiteX8684" fmla="*/ 5010605 w 7402822"/>
              <a:gd name="connsiteY8684" fmla="*/ 3101081 h 4749526"/>
              <a:gd name="connsiteX8685" fmla="*/ 5007569 w 7402822"/>
              <a:gd name="connsiteY8685" fmla="*/ 3082866 h 4749526"/>
              <a:gd name="connsiteX8686" fmla="*/ 5004533 w 7402822"/>
              <a:gd name="connsiteY8686" fmla="*/ 3076794 h 4749526"/>
              <a:gd name="connsiteX8687" fmla="*/ 5001498 w 7402822"/>
              <a:gd name="connsiteY8687" fmla="*/ 3070723 h 4749526"/>
              <a:gd name="connsiteX8688" fmla="*/ 4998462 w 7402822"/>
              <a:gd name="connsiteY8688" fmla="*/ 3064652 h 4749526"/>
              <a:gd name="connsiteX8689" fmla="*/ 4992390 w 7402822"/>
              <a:gd name="connsiteY8689" fmla="*/ 3055545 h 4749526"/>
              <a:gd name="connsiteX8690" fmla="*/ 4989354 w 7402822"/>
              <a:gd name="connsiteY8690" fmla="*/ 3043401 h 4749526"/>
              <a:gd name="connsiteX8691" fmla="*/ 4986319 w 7402822"/>
              <a:gd name="connsiteY8691" fmla="*/ 3037329 h 4749526"/>
              <a:gd name="connsiteX8692" fmla="*/ 4980247 w 7402822"/>
              <a:gd name="connsiteY8692" fmla="*/ 3028222 h 4749526"/>
              <a:gd name="connsiteX8693" fmla="*/ 4977211 w 7402822"/>
              <a:gd name="connsiteY8693" fmla="*/ 3022150 h 4749526"/>
              <a:gd name="connsiteX8694" fmla="*/ 4980247 w 7402822"/>
              <a:gd name="connsiteY8694" fmla="*/ 3022150 h 4749526"/>
              <a:gd name="connsiteX8695" fmla="*/ 4977211 w 7402822"/>
              <a:gd name="connsiteY8695" fmla="*/ 3010007 h 4749526"/>
              <a:gd name="connsiteX8696" fmla="*/ 4974175 w 7402822"/>
              <a:gd name="connsiteY8696" fmla="*/ 3003935 h 4749526"/>
              <a:gd name="connsiteX8697" fmla="*/ 4974175 w 7402822"/>
              <a:gd name="connsiteY8697" fmla="*/ 3000899 h 4749526"/>
              <a:gd name="connsiteX8698" fmla="*/ 4974175 w 7402822"/>
              <a:gd name="connsiteY8698" fmla="*/ 2997864 h 4749526"/>
              <a:gd name="connsiteX8699" fmla="*/ 4974175 w 7402822"/>
              <a:gd name="connsiteY8699" fmla="*/ 2994828 h 4749526"/>
              <a:gd name="connsiteX8700" fmla="*/ 4971140 w 7402822"/>
              <a:gd name="connsiteY8700" fmla="*/ 2991792 h 4749526"/>
              <a:gd name="connsiteX8701" fmla="*/ 4971140 w 7402822"/>
              <a:gd name="connsiteY8701" fmla="*/ 2985721 h 4749526"/>
              <a:gd name="connsiteX8702" fmla="*/ 4971140 w 7402822"/>
              <a:gd name="connsiteY8702" fmla="*/ 2982684 h 4749526"/>
              <a:gd name="connsiteX8703" fmla="*/ 4968103 w 7402822"/>
              <a:gd name="connsiteY8703" fmla="*/ 2967505 h 4749526"/>
              <a:gd name="connsiteX8704" fmla="*/ 4968103 w 7402822"/>
              <a:gd name="connsiteY8704" fmla="*/ 2961434 h 4749526"/>
              <a:gd name="connsiteX8705" fmla="*/ 4965068 w 7402822"/>
              <a:gd name="connsiteY8705" fmla="*/ 2958398 h 4749526"/>
              <a:gd name="connsiteX8706" fmla="*/ 4965068 w 7402822"/>
              <a:gd name="connsiteY8706" fmla="*/ 2949291 h 4749526"/>
              <a:gd name="connsiteX8707" fmla="*/ 4971140 w 7402822"/>
              <a:gd name="connsiteY8707" fmla="*/ 2928040 h 4749526"/>
              <a:gd name="connsiteX8708" fmla="*/ 4968103 w 7402822"/>
              <a:gd name="connsiteY8708" fmla="*/ 2928040 h 4749526"/>
              <a:gd name="connsiteX8709" fmla="*/ 4965068 w 7402822"/>
              <a:gd name="connsiteY8709" fmla="*/ 2921968 h 4749526"/>
              <a:gd name="connsiteX8710" fmla="*/ 4962032 w 7402822"/>
              <a:gd name="connsiteY8710" fmla="*/ 2915897 h 4749526"/>
              <a:gd name="connsiteX8711" fmla="*/ 4965068 w 7402822"/>
              <a:gd name="connsiteY8711" fmla="*/ 2909825 h 4749526"/>
              <a:gd name="connsiteX8712" fmla="*/ 4962032 w 7402822"/>
              <a:gd name="connsiteY8712" fmla="*/ 2900718 h 4749526"/>
              <a:gd name="connsiteX8713" fmla="*/ 4962032 w 7402822"/>
              <a:gd name="connsiteY8713" fmla="*/ 2897682 h 4749526"/>
              <a:gd name="connsiteX8714" fmla="*/ 4955961 w 7402822"/>
              <a:gd name="connsiteY8714" fmla="*/ 2894646 h 4749526"/>
              <a:gd name="connsiteX8715" fmla="*/ 4952924 w 7402822"/>
              <a:gd name="connsiteY8715" fmla="*/ 2897682 h 4749526"/>
              <a:gd name="connsiteX8716" fmla="*/ 4955961 w 7402822"/>
              <a:gd name="connsiteY8716" fmla="*/ 2906789 h 4749526"/>
              <a:gd name="connsiteX8717" fmla="*/ 4958996 w 7402822"/>
              <a:gd name="connsiteY8717" fmla="*/ 2909825 h 4749526"/>
              <a:gd name="connsiteX8718" fmla="*/ 4955961 w 7402822"/>
              <a:gd name="connsiteY8718" fmla="*/ 2912861 h 4749526"/>
              <a:gd name="connsiteX8719" fmla="*/ 4949889 w 7402822"/>
              <a:gd name="connsiteY8719" fmla="*/ 2921968 h 4749526"/>
              <a:gd name="connsiteX8720" fmla="*/ 4928638 w 7402822"/>
              <a:gd name="connsiteY8720" fmla="*/ 2931075 h 4749526"/>
              <a:gd name="connsiteX8721" fmla="*/ 4916495 w 7402822"/>
              <a:gd name="connsiteY8721" fmla="*/ 2925005 h 4749526"/>
              <a:gd name="connsiteX8722" fmla="*/ 4910423 w 7402822"/>
              <a:gd name="connsiteY8722" fmla="*/ 2918933 h 4749526"/>
              <a:gd name="connsiteX8723" fmla="*/ 4892209 w 7402822"/>
              <a:gd name="connsiteY8723" fmla="*/ 2900718 h 4749526"/>
              <a:gd name="connsiteX8724" fmla="*/ 4892209 w 7402822"/>
              <a:gd name="connsiteY8724" fmla="*/ 2894646 h 4749526"/>
              <a:gd name="connsiteX8725" fmla="*/ 4904352 w 7402822"/>
              <a:gd name="connsiteY8725" fmla="*/ 2894646 h 4749526"/>
              <a:gd name="connsiteX8726" fmla="*/ 4913459 w 7402822"/>
              <a:gd name="connsiteY8726" fmla="*/ 2888574 h 4749526"/>
              <a:gd name="connsiteX8727" fmla="*/ 4919531 w 7402822"/>
              <a:gd name="connsiteY8727" fmla="*/ 2879467 h 4749526"/>
              <a:gd name="connsiteX8728" fmla="*/ 4913459 w 7402822"/>
              <a:gd name="connsiteY8728" fmla="*/ 2879467 h 4749526"/>
              <a:gd name="connsiteX8729" fmla="*/ 4904352 w 7402822"/>
              <a:gd name="connsiteY8729" fmla="*/ 2885539 h 4749526"/>
              <a:gd name="connsiteX8730" fmla="*/ 4901316 w 7402822"/>
              <a:gd name="connsiteY8730" fmla="*/ 2885539 h 4749526"/>
              <a:gd name="connsiteX8731" fmla="*/ 4895244 w 7402822"/>
              <a:gd name="connsiteY8731" fmla="*/ 2882503 h 4749526"/>
              <a:gd name="connsiteX8732" fmla="*/ 4883101 w 7402822"/>
              <a:gd name="connsiteY8732" fmla="*/ 2876431 h 4749526"/>
              <a:gd name="connsiteX8733" fmla="*/ 4877030 w 7402822"/>
              <a:gd name="connsiteY8733" fmla="*/ 2870360 h 4749526"/>
              <a:gd name="connsiteX8734" fmla="*/ 4877030 w 7402822"/>
              <a:gd name="connsiteY8734" fmla="*/ 2867324 h 4749526"/>
              <a:gd name="connsiteX8735" fmla="*/ 4873993 w 7402822"/>
              <a:gd name="connsiteY8735" fmla="*/ 2861252 h 4749526"/>
              <a:gd name="connsiteX8736" fmla="*/ 4867922 w 7402822"/>
              <a:gd name="connsiteY8736" fmla="*/ 2858216 h 4749526"/>
              <a:gd name="connsiteX8737" fmla="*/ 4858814 w 7402822"/>
              <a:gd name="connsiteY8737" fmla="*/ 2855181 h 4749526"/>
              <a:gd name="connsiteX8738" fmla="*/ 4852743 w 7402822"/>
              <a:gd name="connsiteY8738" fmla="*/ 2852144 h 4749526"/>
              <a:gd name="connsiteX8739" fmla="*/ 4849707 w 7402822"/>
              <a:gd name="connsiteY8739" fmla="*/ 2843037 h 4749526"/>
              <a:gd name="connsiteX8740" fmla="*/ 4837563 w 7402822"/>
              <a:gd name="connsiteY8740" fmla="*/ 2821786 h 4749526"/>
              <a:gd name="connsiteX8741" fmla="*/ 4834528 w 7402822"/>
              <a:gd name="connsiteY8741" fmla="*/ 2821786 h 4749526"/>
              <a:gd name="connsiteX8742" fmla="*/ 4831493 w 7402822"/>
              <a:gd name="connsiteY8742" fmla="*/ 2821786 h 4749526"/>
              <a:gd name="connsiteX8743" fmla="*/ 4828456 w 7402822"/>
              <a:gd name="connsiteY8743" fmla="*/ 2824823 h 4749526"/>
              <a:gd name="connsiteX8744" fmla="*/ 4825421 w 7402822"/>
              <a:gd name="connsiteY8744" fmla="*/ 2824823 h 4749526"/>
              <a:gd name="connsiteX8745" fmla="*/ 4807206 w 7402822"/>
              <a:gd name="connsiteY8745" fmla="*/ 2827858 h 4749526"/>
              <a:gd name="connsiteX8746" fmla="*/ 4801134 w 7402822"/>
              <a:gd name="connsiteY8746" fmla="*/ 2827858 h 4749526"/>
              <a:gd name="connsiteX8747" fmla="*/ 4798098 w 7402822"/>
              <a:gd name="connsiteY8747" fmla="*/ 2830895 h 4749526"/>
              <a:gd name="connsiteX8748" fmla="*/ 4785955 w 7402822"/>
              <a:gd name="connsiteY8748" fmla="*/ 2827858 h 4749526"/>
              <a:gd name="connsiteX8749" fmla="*/ 4776848 w 7402822"/>
              <a:gd name="connsiteY8749" fmla="*/ 2827858 h 4749526"/>
              <a:gd name="connsiteX8750" fmla="*/ 4764704 w 7402822"/>
              <a:gd name="connsiteY8750" fmla="*/ 2827858 h 4749526"/>
              <a:gd name="connsiteX8751" fmla="*/ 4746490 w 7402822"/>
              <a:gd name="connsiteY8751" fmla="*/ 2830895 h 4749526"/>
              <a:gd name="connsiteX8752" fmla="*/ 4742812 w 7402822"/>
              <a:gd name="connsiteY8752" fmla="*/ 2830895 h 4749526"/>
              <a:gd name="connsiteX8753" fmla="*/ 4738140 w 7402822"/>
              <a:gd name="connsiteY8753" fmla="*/ 2832412 h 4749526"/>
              <a:gd name="connsiteX8754" fmla="*/ 4735611 w 7402822"/>
              <a:gd name="connsiteY8754" fmla="*/ 2831779 h 4749526"/>
              <a:gd name="connsiteX8755" fmla="*/ 4731311 w 7402822"/>
              <a:gd name="connsiteY8755" fmla="*/ 2833929 h 4749526"/>
              <a:gd name="connsiteX8756" fmla="*/ 4725239 w 7402822"/>
              <a:gd name="connsiteY8756" fmla="*/ 2830894 h 4749526"/>
              <a:gd name="connsiteX8757" fmla="*/ 4719167 w 7402822"/>
              <a:gd name="connsiteY8757" fmla="*/ 2827857 h 4749526"/>
              <a:gd name="connsiteX8758" fmla="*/ 4713095 w 7402822"/>
              <a:gd name="connsiteY8758" fmla="*/ 2827857 h 4749526"/>
              <a:gd name="connsiteX8759" fmla="*/ 4697917 w 7402822"/>
              <a:gd name="connsiteY8759" fmla="*/ 2824822 h 4749526"/>
              <a:gd name="connsiteX8760" fmla="*/ 4685774 w 7402822"/>
              <a:gd name="connsiteY8760" fmla="*/ 2824822 h 4749526"/>
              <a:gd name="connsiteX8761" fmla="*/ 4676666 w 7402822"/>
              <a:gd name="connsiteY8761" fmla="*/ 2821785 h 4749526"/>
              <a:gd name="connsiteX8762" fmla="*/ 4661487 w 7402822"/>
              <a:gd name="connsiteY8762" fmla="*/ 2818750 h 4749526"/>
              <a:gd name="connsiteX8763" fmla="*/ 4649343 w 7402822"/>
              <a:gd name="connsiteY8763" fmla="*/ 2818750 h 4749526"/>
              <a:gd name="connsiteX8764" fmla="*/ 4646308 w 7402822"/>
              <a:gd name="connsiteY8764" fmla="*/ 2812678 h 4749526"/>
              <a:gd name="connsiteX8765" fmla="*/ 4643273 w 7402822"/>
              <a:gd name="connsiteY8765" fmla="*/ 2806606 h 4749526"/>
              <a:gd name="connsiteX8766" fmla="*/ 4643273 w 7402822"/>
              <a:gd name="connsiteY8766" fmla="*/ 2800535 h 4749526"/>
              <a:gd name="connsiteX8767" fmla="*/ 4643273 w 7402822"/>
              <a:gd name="connsiteY8767" fmla="*/ 2797499 h 4749526"/>
              <a:gd name="connsiteX8768" fmla="*/ 4637201 w 7402822"/>
              <a:gd name="connsiteY8768" fmla="*/ 2785356 h 4749526"/>
              <a:gd name="connsiteX8769" fmla="*/ 4628094 w 7402822"/>
              <a:gd name="connsiteY8769" fmla="*/ 2785356 h 4749526"/>
              <a:gd name="connsiteX8770" fmla="*/ 4622022 w 7402822"/>
              <a:gd name="connsiteY8770" fmla="*/ 2785356 h 4749526"/>
              <a:gd name="connsiteX8771" fmla="*/ 4612914 w 7402822"/>
              <a:gd name="connsiteY8771" fmla="*/ 2788392 h 4749526"/>
              <a:gd name="connsiteX8772" fmla="*/ 4606843 w 7402822"/>
              <a:gd name="connsiteY8772" fmla="*/ 2794464 h 4749526"/>
              <a:gd name="connsiteX8773" fmla="*/ 4594699 w 7402822"/>
              <a:gd name="connsiteY8773" fmla="*/ 2800535 h 4749526"/>
              <a:gd name="connsiteX8774" fmla="*/ 4579520 w 7402822"/>
              <a:gd name="connsiteY8774" fmla="*/ 2797499 h 4749526"/>
              <a:gd name="connsiteX8775" fmla="*/ 4558270 w 7402822"/>
              <a:gd name="connsiteY8775" fmla="*/ 2785356 h 4749526"/>
              <a:gd name="connsiteX8776" fmla="*/ 4552198 w 7402822"/>
              <a:gd name="connsiteY8776" fmla="*/ 2782320 h 4749526"/>
              <a:gd name="connsiteX8777" fmla="*/ 4549162 w 7402822"/>
              <a:gd name="connsiteY8777" fmla="*/ 2776249 h 4749526"/>
              <a:gd name="connsiteX8778" fmla="*/ 4540054 w 7402822"/>
              <a:gd name="connsiteY8778" fmla="*/ 2770177 h 4749526"/>
              <a:gd name="connsiteX8779" fmla="*/ 4530947 w 7402822"/>
              <a:gd name="connsiteY8779" fmla="*/ 2770177 h 4749526"/>
              <a:gd name="connsiteX8780" fmla="*/ 4524875 w 7402822"/>
              <a:gd name="connsiteY8780" fmla="*/ 2761070 h 4749526"/>
              <a:gd name="connsiteX8781" fmla="*/ 4518804 w 7402822"/>
              <a:gd name="connsiteY8781" fmla="*/ 2748926 h 4749526"/>
              <a:gd name="connsiteX8782" fmla="*/ 4509696 w 7402822"/>
              <a:gd name="connsiteY8782" fmla="*/ 2733747 h 4749526"/>
              <a:gd name="connsiteX8783" fmla="*/ 4503625 w 7402822"/>
              <a:gd name="connsiteY8783" fmla="*/ 2721604 h 4749526"/>
              <a:gd name="connsiteX8784" fmla="*/ 4491482 w 7402822"/>
              <a:gd name="connsiteY8784" fmla="*/ 2715533 h 4749526"/>
              <a:gd name="connsiteX8785" fmla="*/ 4488446 w 7402822"/>
              <a:gd name="connsiteY8785" fmla="*/ 2718568 h 4749526"/>
              <a:gd name="connsiteX8786" fmla="*/ 4482374 w 7402822"/>
              <a:gd name="connsiteY8786" fmla="*/ 2715533 h 4749526"/>
              <a:gd name="connsiteX8787" fmla="*/ 4476303 w 7402822"/>
              <a:gd name="connsiteY8787" fmla="*/ 2715533 h 4749526"/>
              <a:gd name="connsiteX8788" fmla="*/ 4473267 w 7402822"/>
              <a:gd name="connsiteY8788" fmla="*/ 2718568 h 4749526"/>
              <a:gd name="connsiteX8789" fmla="*/ 4467195 w 7402822"/>
              <a:gd name="connsiteY8789" fmla="*/ 2721604 h 4749526"/>
              <a:gd name="connsiteX8790" fmla="*/ 4462344 w 7402822"/>
              <a:gd name="connsiteY8790" fmla="*/ 2720391 h 4749526"/>
              <a:gd name="connsiteX8791" fmla="*/ 4455052 w 7402822"/>
              <a:gd name="connsiteY8791" fmla="*/ 2719783 h 4749526"/>
              <a:gd name="connsiteX8792" fmla="*/ 4455052 w 7402822"/>
              <a:gd name="connsiteY8792" fmla="*/ 2727675 h 4749526"/>
              <a:gd name="connsiteX8793" fmla="*/ 4455052 w 7402822"/>
              <a:gd name="connsiteY8793" fmla="*/ 2736783 h 4749526"/>
              <a:gd name="connsiteX8794" fmla="*/ 4459710 w 7402822"/>
              <a:gd name="connsiteY8794" fmla="*/ 2746099 h 4749526"/>
              <a:gd name="connsiteX8795" fmla="*/ 4463408 w 7402822"/>
              <a:gd name="connsiteY8795" fmla="*/ 2753495 h 4749526"/>
              <a:gd name="connsiteX8796" fmla="*/ 4464160 w 7402822"/>
              <a:gd name="connsiteY8796" fmla="*/ 2754998 h 4749526"/>
              <a:gd name="connsiteX8797" fmla="*/ 4463505 w 7402822"/>
              <a:gd name="connsiteY8797" fmla="*/ 2754998 h 4749526"/>
              <a:gd name="connsiteX8798" fmla="*/ 4463505 w 7402822"/>
              <a:gd name="connsiteY8798" fmla="*/ 2754999 h 4749526"/>
              <a:gd name="connsiteX8799" fmla="*/ 4464159 w 7402822"/>
              <a:gd name="connsiteY8799" fmla="*/ 2754999 h 4749526"/>
              <a:gd name="connsiteX8800" fmla="*/ 4467194 w 7402822"/>
              <a:gd name="connsiteY8800" fmla="*/ 2754999 h 4749526"/>
              <a:gd name="connsiteX8801" fmla="*/ 4467194 w 7402822"/>
              <a:gd name="connsiteY8801" fmla="*/ 2764106 h 4749526"/>
              <a:gd name="connsiteX8802" fmla="*/ 4473266 w 7402822"/>
              <a:gd name="connsiteY8802" fmla="*/ 2773214 h 4749526"/>
              <a:gd name="connsiteX8803" fmla="*/ 4479338 w 7402822"/>
              <a:gd name="connsiteY8803" fmla="*/ 2776250 h 4749526"/>
              <a:gd name="connsiteX8804" fmla="*/ 4485409 w 7402822"/>
              <a:gd name="connsiteY8804" fmla="*/ 2785357 h 4749526"/>
              <a:gd name="connsiteX8805" fmla="*/ 4497553 w 7402822"/>
              <a:gd name="connsiteY8805" fmla="*/ 2794465 h 4749526"/>
              <a:gd name="connsiteX8806" fmla="*/ 4500588 w 7402822"/>
              <a:gd name="connsiteY8806" fmla="*/ 2809644 h 4749526"/>
              <a:gd name="connsiteX8807" fmla="*/ 4497553 w 7402822"/>
              <a:gd name="connsiteY8807" fmla="*/ 2809644 h 4749526"/>
              <a:gd name="connsiteX8808" fmla="*/ 4500588 w 7402822"/>
              <a:gd name="connsiteY8808" fmla="*/ 2818751 h 4749526"/>
              <a:gd name="connsiteX8809" fmla="*/ 4509695 w 7402822"/>
              <a:gd name="connsiteY8809" fmla="*/ 2833930 h 4749526"/>
              <a:gd name="connsiteX8810" fmla="*/ 4512732 w 7402822"/>
              <a:gd name="connsiteY8810" fmla="*/ 2840002 h 4749526"/>
              <a:gd name="connsiteX8811" fmla="*/ 4518803 w 7402822"/>
              <a:gd name="connsiteY8811" fmla="*/ 2846074 h 4749526"/>
              <a:gd name="connsiteX8812" fmla="*/ 4527911 w 7402822"/>
              <a:gd name="connsiteY8812" fmla="*/ 2843037 h 4749526"/>
              <a:gd name="connsiteX8813" fmla="*/ 4527911 w 7402822"/>
              <a:gd name="connsiteY8813" fmla="*/ 2849109 h 4749526"/>
              <a:gd name="connsiteX8814" fmla="*/ 4533983 w 7402822"/>
              <a:gd name="connsiteY8814" fmla="*/ 2855181 h 4749526"/>
              <a:gd name="connsiteX8815" fmla="*/ 4546126 w 7402822"/>
              <a:gd name="connsiteY8815" fmla="*/ 2858216 h 4749526"/>
              <a:gd name="connsiteX8816" fmla="*/ 4552198 w 7402822"/>
              <a:gd name="connsiteY8816" fmla="*/ 2855181 h 4749526"/>
              <a:gd name="connsiteX8817" fmla="*/ 4558270 w 7402822"/>
              <a:gd name="connsiteY8817" fmla="*/ 2855181 h 4749526"/>
              <a:gd name="connsiteX8818" fmla="*/ 4570413 w 7402822"/>
              <a:gd name="connsiteY8818" fmla="*/ 2855181 h 4749526"/>
              <a:gd name="connsiteX8819" fmla="*/ 4588628 w 7402822"/>
              <a:gd name="connsiteY8819" fmla="*/ 2849109 h 4749526"/>
              <a:gd name="connsiteX8820" fmla="*/ 4591664 w 7402822"/>
              <a:gd name="connsiteY8820" fmla="*/ 2843037 h 4749526"/>
              <a:gd name="connsiteX8821" fmla="*/ 4594699 w 7402822"/>
              <a:gd name="connsiteY8821" fmla="*/ 2840002 h 4749526"/>
              <a:gd name="connsiteX8822" fmla="*/ 4606843 w 7402822"/>
              <a:gd name="connsiteY8822" fmla="*/ 2827858 h 4749526"/>
              <a:gd name="connsiteX8823" fmla="*/ 4615950 w 7402822"/>
              <a:gd name="connsiteY8823" fmla="*/ 2821786 h 4749526"/>
              <a:gd name="connsiteX8824" fmla="*/ 4622022 w 7402822"/>
              <a:gd name="connsiteY8824" fmla="*/ 2809644 h 4749526"/>
              <a:gd name="connsiteX8825" fmla="*/ 4625057 w 7402822"/>
              <a:gd name="connsiteY8825" fmla="*/ 2815715 h 4749526"/>
              <a:gd name="connsiteX8826" fmla="*/ 4625057 w 7402822"/>
              <a:gd name="connsiteY8826" fmla="*/ 2815714 h 4749526"/>
              <a:gd name="connsiteX8827" fmla="*/ 4622022 w 7402822"/>
              <a:gd name="connsiteY8827" fmla="*/ 2809643 h 4749526"/>
              <a:gd name="connsiteX8828" fmla="*/ 4631129 w 7402822"/>
              <a:gd name="connsiteY8828" fmla="*/ 2806606 h 4749526"/>
              <a:gd name="connsiteX8829" fmla="*/ 4625057 w 7402822"/>
              <a:gd name="connsiteY8829" fmla="*/ 2821785 h 4749526"/>
              <a:gd name="connsiteX8830" fmla="*/ 4625057 w 7402822"/>
              <a:gd name="connsiteY8830" fmla="*/ 2821786 h 4749526"/>
              <a:gd name="connsiteX8831" fmla="*/ 4628094 w 7402822"/>
              <a:gd name="connsiteY8831" fmla="*/ 2830895 h 4749526"/>
              <a:gd name="connsiteX8832" fmla="*/ 4628094 w 7402822"/>
              <a:gd name="connsiteY8832" fmla="*/ 2836965 h 4749526"/>
              <a:gd name="connsiteX8833" fmla="*/ 4640236 w 7402822"/>
              <a:gd name="connsiteY8833" fmla="*/ 2855181 h 4749526"/>
              <a:gd name="connsiteX8834" fmla="*/ 4658451 w 7402822"/>
              <a:gd name="connsiteY8834" fmla="*/ 2864288 h 4749526"/>
              <a:gd name="connsiteX8835" fmla="*/ 4664523 w 7402822"/>
              <a:gd name="connsiteY8835" fmla="*/ 2864288 h 4749526"/>
              <a:gd name="connsiteX8836" fmla="*/ 4673630 w 7402822"/>
              <a:gd name="connsiteY8836" fmla="*/ 2867324 h 4749526"/>
              <a:gd name="connsiteX8837" fmla="*/ 4682738 w 7402822"/>
              <a:gd name="connsiteY8837" fmla="*/ 2876431 h 4749526"/>
              <a:gd name="connsiteX8838" fmla="*/ 4688809 w 7402822"/>
              <a:gd name="connsiteY8838" fmla="*/ 2882503 h 4749526"/>
              <a:gd name="connsiteX8839" fmla="*/ 4691845 w 7402822"/>
              <a:gd name="connsiteY8839" fmla="*/ 2888574 h 4749526"/>
              <a:gd name="connsiteX8840" fmla="*/ 4694881 w 7402822"/>
              <a:gd name="connsiteY8840" fmla="*/ 2888574 h 4749526"/>
              <a:gd name="connsiteX8841" fmla="*/ 4700953 w 7402822"/>
              <a:gd name="connsiteY8841" fmla="*/ 2891610 h 4749526"/>
              <a:gd name="connsiteX8842" fmla="*/ 4700953 w 7402822"/>
              <a:gd name="connsiteY8842" fmla="*/ 2897682 h 4749526"/>
              <a:gd name="connsiteX8843" fmla="*/ 4691845 w 7402822"/>
              <a:gd name="connsiteY8843" fmla="*/ 2909825 h 4749526"/>
              <a:gd name="connsiteX8844" fmla="*/ 4688809 w 7402822"/>
              <a:gd name="connsiteY8844" fmla="*/ 2915897 h 4749526"/>
              <a:gd name="connsiteX8845" fmla="*/ 4685774 w 7402822"/>
              <a:gd name="connsiteY8845" fmla="*/ 2915897 h 4749526"/>
              <a:gd name="connsiteX8846" fmla="*/ 4673630 w 7402822"/>
              <a:gd name="connsiteY8846" fmla="*/ 2937147 h 4749526"/>
              <a:gd name="connsiteX8847" fmla="*/ 4667559 w 7402822"/>
              <a:gd name="connsiteY8847" fmla="*/ 2937147 h 4749526"/>
              <a:gd name="connsiteX8848" fmla="*/ 4667559 w 7402822"/>
              <a:gd name="connsiteY8848" fmla="*/ 2934112 h 4749526"/>
              <a:gd name="connsiteX8849" fmla="*/ 4661487 w 7402822"/>
              <a:gd name="connsiteY8849" fmla="*/ 2937147 h 4749526"/>
              <a:gd name="connsiteX8850" fmla="*/ 4658451 w 7402822"/>
              <a:gd name="connsiteY8850" fmla="*/ 2946254 h 4749526"/>
              <a:gd name="connsiteX8851" fmla="*/ 4655415 w 7402822"/>
              <a:gd name="connsiteY8851" fmla="*/ 2955363 h 4749526"/>
              <a:gd name="connsiteX8852" fmla="*/ 4658451 w 7402822"/>
              <a:gd name="connsiteY8852" fmla="*/ 2967505 h 4749526"/>
              <a:gd name="connsiteX8853" fmla="*/ 4652380 w 7402822"/>
              <a:gd name="connsiteY8853" fmla="*/ 2967505 h 4749526"/>
              <a:gd name="connsiteX8854" fmla="*/ 4640236 w 7402822"/>
              <a:gd name="connsiteY8854" fmla="*/ 2970542 h 4749526"/>
              <a:gd name="connsiteX8855" fmla="*/ 4634164 w 7402822"/>
              <a:gd name="connsiteY8855" fmla="*/ 2979649 h 4749526"/>
              <a:gd name="connsiteX8856" fmla="*/ 4628094 w 7402822"/>
              <a:gd name="connsiteY8856" fmla="*/ 2988756 h 4749526"/>
              <a:gd name="connsiteX8857" fmla="*/ 4615950 w 7402822"/>
              <a:gd name="connsiteY8857" fmla="*/ 2991792 h 4749526"/>
              <a:gd name="connsiteX8858" fmla="*/ 4606843 w 7402822"/>
              <a:gd name="connsiteY8858" fmla="*/ 2997864 h 4749526"/>
              <a:gd name="connsiteX8859" fmla="*/ 4603806 w 7402822"/>
              <a:gd name="connsiteY8859" fmla="*/ 3000899 h 4749526"/>
              <a:gd name="connsiteX8860" fmla="*/ 4606843 w 7402822"/>
              <a:gd name="connsiteY8860" fmla="*/ 3000899 h 4749526"/>
              <a:gd name="connsiteX8861" fmla="*/ 4600771 w 7402822"/>
              <a:gd name="connsiteY8861" fmla="*/ 3010007 h 4749526"/>
              <a:gd name="connsiteX8862" fmla="*/ 4597735 w 7402822"/>
              <a:gd name="connsiteY8862" fmla="*/ 3013043 h 4749526"/>
              <a:gd name="connsiteX8863" fmla="*/ 4597735 w 7402822"/>
              <a:gd name="connsiteY8863" fmla="*/ 3010007 h 4749526"/>
              <a:gd name="connsiteX8864" fmla="*/ 4594699 w 7402822"/>
              <a:gd name="connsiteY8864" fmla="*/ 3013043 h 4749526"/>
              <a:gd name="connsiteX8865" fmla="*/ 4594699 w 7402822"/>
              <a:gd name="connsiteY8865" fmla="*/ 3010007 h 4749526"/>
              <a:gd name="connsiteX8866" fmla="*/ 4585592 w 7402822"/>
              <a:gd name="connsiteY8866" fmla="*/ 3010007 h 4749526"/>
              <a:gd name="connsiteX8867" fmla="*/ 4561305 w 7402822"/>
              <a:gd name="connsiteY8867" fmla="*/ 3019114 h 4749526"/>
              <a:gd name="connsiteX8868" fmla="*/ 4549162 w 7402822"/>
              <a:gd name="connsiteY8868" fmla="*/ 3025186 h 4749526"/>
              <a:gd name="connsiteX8869" fmla="*/ 4543091 w 7402822"/>
              <a:gd name="connsiteY8869" fmla="*/ 3034294 h 4749526"/>
              <a:gd name="connsiteX8870" fmla="*/ 4543091 w 7402822"/>
              <a:gd name="connsiteY8870" fmla="*/ 3040365 h 4749526"/>
              <a:gd name="connsiteX8871" fmla="*/ 4540054 w 7402822"/>
              <a:gd name="connsiteY8871" fmla="*/ 3043401 h 4749526"/>
              <a:gd name="connsiteX8872" fmla="*/ 4533983 w 7402822"/>
              <a:gd name="connsiteY8872" fmla="*/ 3046436 h 4749526"/>
              <a:gd name="connsiteX8873" fmla="*/ 4515768 w 7402822"/>
              <a:gd name="connsiteY8873" fmla="*/ 3052508 h 4749526"/>
              <a:gd name="connsiteX8874" fmla="*/ 4500589 w 7402822"/>
              <a:gd name="connsiteY8874" fmla="*/ 3055545 h 4749526"/>
              <a:gd name="connsiteX8875" fmla="*/ 4497554 w 7402822"/>
              <a:gd name="connsiteY8875" fmla="*/ 3055545 h 4749526"/>
              <a:gd name="connsiteX8876" fmla="*/ 4494517 w 7402822"/>
              <a:gd name="connsiteY8876" fmla="*/ 3055545 h 4749526"/>
              <a:gd name="connsiteX8877" fmla="*/ 4479338 w 7402822"/>
              <a:gd name="connsiteY8877" fmla="*/ 3064652 h 4749526"/>
              <a:gd name="connsiteX8878" fmla="*/ 4476303 w 7402822"/>
              <a:gd name="connsiteY8878" fmla="*/ 3067687 h 4749526"/>
              <a:gd name="connsiteX8879" fmla="*/ 4470231 w 7402822"/>
              <a:gd name="connsiteY8879" fmla="*/ 3073759 h 4749526"/>
              <a:gd name="connsiteX8880" fmla="*/ 4461124 w 7402822"/>
              <a:gd name="connsiteY8880" fmla="*/ 3073759 h 4749526"/>
              <a:gd name="connsiteX8881" fmla="*/ 4455052 w 7402822"/>
              <a:gd name="connsiteY8881" fmla="*/ 3073759 h 4749526"/>
              <a:gd name="connsiteX8882" fmla="*/ 4445944 w 7402822"/>
              <a:gd name="connsiteY8882" fmla="*/ 3079831 h 4749526"/>
              <a:gd name="connsiteX8883" fmla="*/ 4442909 w 7402822"/>
              <a:gd name="connsiteY8883" fmla="*/ 3082866 h 4749526"/>
              <a:gd name="connsiteX8884" fmla="*/ 4436837 w 7402822"/>
              <a:gd name="connsiteY8884" fmla="*/ 3082866 h 4749526"/>
              <a:gd name="connsiteX8885" fmla="*/ 4424694 w 7402822"/>
              <a:gd name="connsiteY8885" fmla="*/ 3085902 h 4749526"/>
              <a:gd name="connsiteX8886" fmla="*/ 4418623 w 7402822"/>
              <a:gd name="connsiteY8886" fmla="*/ 3088938 h 4749526"/>
              <a:gd name="connsiteX8887" fmla="*/ 4406479 w 7402822"/>
              <a:gd name="connsiteY8887" fmla="*/ 3088938 h 4749526"/>
              <a:gd name="connsiteX8888" fmla="*/ 4403444 w 7402822"/>
              <a:gd name="connsiteY8888" fmla="*/ 3091974 h 4749526"/>
              <a:gd name="connsiteX8889" fmla="*/ 4400407 w 7402822"/>
              <a:gd name="connsiteY8889" fmla="*/ 3095010 h 4749526"/>
              <a:gd name="connsiteX8890" fmla="*/ 4388264 w 7402822"/>
              <a:gd name="connsiteY8890" fmla="*/ 3101081 h 4749526"/>
              <a:gd name="connsiteX8891" fmla="*/ 4376121 w 7402822"/>
              <a:gd name="connsiteY8891" fmla="*/ 3104117 h 4749526"/>
              <a:gd name="connsiteX8892" fmla="*/ 4363978 w 7402822"/>
              <a:gd name="connsiteY8892" fmla="*/ 3101081 h 4749526"/>
              <a:gd name="connsiteX8893" fmla="*/ 4357906 w 7402822"/>
              <a:gd name="connsiteY8893" fmla="*/ 3088938 h 4749526"/>
              <a:gd name="connsiteX8894" fmla="*/ 4357906 w 7402822"/>
              <a:gd name="connsiteY8894" fmla="*/ 3079831 h 4749526"/>
              <a:gd name="connsiteX8895" fmla="*/ 4354870 w 7402822"/>
              <a:gd name="connsiteY8895" fmla="*/ 3064652 h 4749526"/>
              <a:gd name="connsiteX8896" fmla="*/ 4351834 w 7402822"/>
              <a:gd name="connsiteY8896" fmla="*/ 3052508 h 4749526"/>
              <a:gd name="connsiteX8897" fmla="*/ 4348799 w 7402822"/>
              <a:gd name="connsiteY8897" fmla="*/ 3034294 h 4749526"/>
              <a:gd name="connsiteX8898" fmla="*/ 4348799 w 7402822"/>
              <a:gd name="connsiteY8898" fmla="*/ 3025944 h 4749526"/>
              <a:gd name="connsiteX8899" fmla="*/ 4348409 w 7402822"/>
              <a:gd name="connsiteY8899" fmla="*/ 3023632 h 4749526"/>
              <a:gd name="connsiteX8900" fmla="*/ 4345762 w 7402822"/>
              <a:gd name="connsiteY8900" fmla="*/ 3013043 h 4749526"/>
              <a:gd name="connsiteX8901" fmla="*/ 4336654 w 7402822"/>
              <a:gd name="connsiteY8901" fmla="*/ 3000899 h 4749526"/>
              <a:gd name="connsiteX8902" fmla="*/ 4327547 w 7402822"/>
              <a:gd name="connsiteY8902" fmla="*/ 2991792 h 4749526"/>
              <a:gd name="connsiteX8903" fmla="*/ 4318440 w 7402822"/>
              <a:gd name="connsiteY8903" fmla="*/ 2979649 h 4749526"/>
              <a:gd name="connsiteX8904" fmla="*/ 4315403 w 7402822"/>
              <a:gd name="connsiteY8904" fmla="*/ 2967505 h 4749526"/>
              <a:gd name="connsiteX8905" fmla="*/ 4300224 w 7402822"/>
              <a:gd name="connsiteY8905" fmla="*/ 2946254 h 4749526"/>
              <a:gd name="connsiteX8906" fmla="*/ 4291117 w 7402822"/>
              <a:gd name="connsiteY8906" fmla="*/ 2940184 h 4749526"/>
              <a:gd name="connsiteX8907" fmla="*/ 4282010 w 7402822"/>
              <a:gd name="connsiteY8907" fmla="*/ 2934112 h 4749526"/>
              <a:gd name="connsiteX8908" fmla="*/ 4275938 w 7402822"/>
              <a:gd name="connsiteY8908" fmla="*/ 2925005 h 4749526"/>
              <a:gd name="connsiteX8909" fmla="*/ 4272903 w 7402822"/>
              <a:gd name="connsiteY8909" fmla="*/ 2915897 h 4749526"/>
              <a:gd name="connsiteX8910" fmla="*/ 4272903 w 7402822"/>
              <a:gd name="connsiteY8910" fmla="*/ 2888574 h 4749526"/>
              <a:gd name="connsiteX8911" fmla="*/ 4269867 w 7402822"/>
              <a:gd name="connsiteY8911" fmla="*/ 2885539 h 4749526"/>
              <a:gd name="connsiteX8912" fmla="*/ 4266831 w 7402822"/>
              <a:gd name="connsiteY8912" fmla="*/ 2876431 h 4749526"/>
              <a:gd name="connsiteX8913" fmla="*/ 4260759 w 7402822"/>
              <a:gd name="connsiteY8913" fmla="*/ 2867324 h 4749526"/>
              <a:gd name="connsiteX8914" fmla="*/ 4254688 w 7402822"/>
              <a:gd name="connsiteY8914" fmla="*/ 2858216 h 4749526"/>
              <a:gd name="connsiteX8915" fmla="*/ 4245580 w 7402822"/>
              <a:gd name="connsiteY8915" fmla="*/ 2855181 h 4749526"/>
              <a:gd name="connsiteX8916" fmla="*/ 4236473 w 7402822"/>
              <a:gd name="connsiteY8916" fmla="*/ 2846074 h 4749526"/>
              <a:gd name="connsiteX8917" fmla="*/ 4233437 w 7402822"/>
              <a:gd name="connsiteY8917" fmla="*/ 2840002 h 4749526"/>
              <a:gd name="connsiteX8918" fmla="*/ 4233437 w 7402822"/>
              <a:gd name="connsiteY8918" fmla="*/ 2833930 h 4749526"/>
              <a:gd name="connsiteX8919" fmla="*/ 4218258 w 7402822"/>
              <a:gd name="connsiteY8919" fmla="*/ 2809644 h 4749526"/>
              <a:gd name="connsiteX8920" fmla="*/ 4203079 w 7402822"/>
              <a:gd name="connsiteY8920" fmla="*/ 2788393 h 4749526"/>
              <a:gd name="connsiteX8921" fmla="*/ 4200043 w 7402822"/>
              <a:gd name="connsiteY8921" fmla="*/ 2779285 h 4749526"/>
              <a:gd name="connsiteX8922" fmla="*/ 4197007 w 7402822"/>
              <a:gd name="connsiteY8922" fmla="*/ 2776250 h 4749526"/>
              <a:gd name="connsiteX8923" fmla="*/ 4190935 w 7402822"/>
              <a:gd name="connsiteY8923" fmla="*/ 2767142 h 4749526"/>
              <a:gd name="connsiteX8924" fmla="*/ 4184863 w 7402822"/>
              <a:gd name="connsiteY8924" fmla="*/ 2764106 h 4749526"/>
              <a:gd name="connsiteX8925" fmla="*/ 4181828 w 7402822"/>
              <a:gd name="connsiteY8925" fmla="*/ 2764106 h 4749526"/>
              <a:gd name="connsiteX8926" fmla="*/ 4181828 w 7402822"/>
              <a:gd name="connsiteY8926" fmla="*/ 2761071 h 4749526"/>
              <a:gd name="connsiteX8927" fmla="*/ 4184863 w 7402822"/>
              <a:gd name="connsiteY8927" fmla="*/ 2751963 h 4749526"/>
              <a:gd name="connsiteX8928" fmla="*/ 4187900 w 7402822"/>
              <a:gd name="connsiteY8928" fmla="*/ 2733748 h 4749526"/>
              <a:gd name="connsiteX8929" fmla="*/ 4190846 w 7402822"/>
              <a:gd name="connsiteY8929" fmla="*/ 2734240 h 4749526"/>
              <a:gd name="connsiteX8930" fmla="*/ 4187901 w 7402822"/>
              <a:gd name="connsiteY8930" fmla="*/ 2733748 h 4749526"/>
              <a:gd name="connsiteX8931" fmla="*/ 4187901 w 7402822"/>
              <a:gd name="connsiteY8931" fmla="*/ 2730713 h 4749526"/>
              <a:gd name="connsiteX8932" fmla="*/ 4184864 w 7402822"/>
              <a:gd name="connsiteY8932" fmla="*/ 2730713 h 4749526"/>
              <a:gd name="connsiteX8933" fmla="*/ 4178792 w 7402822"/>
              <a:gd name="connsiteY8933" fmla="*/ 2745892 h 4749526"/>
              <a:gd name="connsiteX8934" fmla="*/ 4178792 w 7402822"/>
              <a:gd name="connsiteY8934" fmla="*/ 2754999 h 4749526"/>
              <a:gd name="connsiteX8935" fmla="*/ 4175757 w 7402822"/>
              <a:gd name="connsiteY8935" fmla="*/ 2761071 h 4749526"/>
              <a:gd name="connsiteX8936" fmla="*/ 4175757 w 7402822"/>
              <a:gd name="connsiteY8936" fmla="*/ 2767142 h 4749526"/>
              <a:gd name="connsiteX8937" fmla="*/ 4172722 w 7402822"/>
              <a:gd name="connsiteY8937" fmla="*/ 2770178 h 4749526"/>
              <a:gd name="connsiteX8938" fmla="*/ 4172722 w 7402822"/>
              <a:gd name="connsiteY8938" fmla="*/ 2773214 h 4749526"/>
              <a:gd name="connsiteX8939" fmla="*/ 4166650 w 7402822"/>
              <a:gd name="connsiteY8939" fmla="*/ 2770178 h 4749526"/>
              <a:gd name="connsiteX8940" fmla="*/ 4157543 w 7402822"/>
              <a:gd name="connsiteY8940" fmla="*/ 2758034 h 4749526"/>
              <a:gd name="connsiteX8941" fmla="*/ 4151471 w 7402822"/>
              <a:gd name="connsiteY8941" fmla="*/ 2748927 h 4749526"/>
              <a:gd name="connsiteX8942" fmla="*/ 4151471 w 7402822"/>
              <a:gd name="connsiteY8942" fmla="*/ 2745892 h 4749526"/>
              <a:gd name="connsiteX8943" fmla="*/ 4148434 w 7402822"/>
              <a:gd name="connsiteY8943" fmla="*/ 2742855 h 4749526"/>
              <a:gd name="connsiteX8944" fmla="*/ 4148434 w 7402822"/>
              <a:gd name="connsiteY8944" fmla="*/ 2739820 h 4749526"/>
              <a:gd name="connsiteX8945" fmla="*/ 4142363 w 7402822"/>
              <a:gd name="connsiteY8945" fmla="*/ 2736784 h 4749526"/>
              <a:gd name="connsiteX8946" fmla="*/ 4139153 w 7402822"/>
              <a:gd name="connsiteY8946" fmla="*/ 2728760 h 4749526"/>
              <a:gd name="connsiteX8947" fmla="*/ 4139151 w 7402822"/>
              <a:gd name="connsiteY8947" fmla="*/ 2728751 h 4749526"/>
              <a:gd name="connsiteX8948" fmla="*/ 4136293 w 7402822"/>
              <a:gd name="connsiteY8948" fmla="*/ 2721606 h 4749526"/>
              <a:gd name="connsiteX8949" fmla="*/ 4133257 w 7402822"/>
              <a:gd name="connsiteY8949" fmla="*/ 2724642 h 4749526"/>
              <a:gd name="connsiteX8950" fmla="*/ 4133257 w 7402822"/>
              <a:gd name="connsiteY8950" fmla="*/ 2730714 h 4749526"/>
              <a:gd name="connsiteX8951" fmla="*/ 4142364 w 7402822"/>
              <a:gd name="connsiteY8951" fmla="*/ 2748928 h 4749526"/>
              <a:gd name="connsiteX8952" fmla="*/ 4145400 w 7402822"/>
              <a:gd name="connsiteY8952" fmla="*/ 2748928 h 4749526"/>
              <a:gd name="connsiteX8953" fmla="*/ 4146154 w 7402822"/>
              <a:gd name="connsiteY8953" fmla="*/ 2750437 h 4749526"/>
              <a:gd name="connsiteX8954" fmla="*/ 4146155 w 7402822"/>
              <a:gd name="connsiteY8954" fmla="*/ 2750440 h 4749526"/>
              <a:gd name="connsiteX8955" fmla="*/ 4151471 w 7402822"/>
              <a:gd name="connsiteY8955" fmla="*/ 2761071 h 4749526"/>
              <a:gd name="connsiteX8956" fmla="*/ 4157543 w 7402822"/>
              <a:gd name="connsiteY8956" fmla="*/ 2770178 h 4749526"/>
              <a:gd name="connsiteX8957" fmla="*/ 4157543 w 7402822"/>
              <a:gd name="connsiteY8957" fmla="*/ 2770938 h 4749526"/>
              <a:gd name="connsiteX8958" fmla="*/ 4157544 w 7402822"/>
              <a:gd name="connsiteY8958" fmla="*/ 2770940 h 4749526"/>
              <a:gd name="connsiteX8959" fmla="*/ 4157544 w 7402822"/>
              <a:gd name="connsiteY8959" fmla="*/ 2776251 h 4749526"/>
              <a:gd name="connsiteX8960" fmla="*/ 4163615 w 7402822"/>
              <a:gd name="connsiteY8960" fmla="*/ 2788395 h 4749526"/>
              <a:gd name="connsiteX8961" fmla="*/ 4166651 w 7402822"/>
              <a:gd name="connsiteY8961" fmla="*/ 2800537 h 4749526"/>
              <a:gd name="connsiteX8962" fmla="*/ 4181830 w 7402822"/>
              <a:gd name="connsiteY8962" fmla="*/ 2827860 h 4749526"/>
              <a:gd name="connsiteX8963" fmla="*/ 4197009 w 7402822"/>
              <a:gd name="connsiteY8963" fmla="*/ 2852146 h 4749526"/>
              <a:gd name="connsiteX8964" fmla="*/ 4200045 w 7402822"/>
              <a:gd name="connsiteY8964" fmla="*/ 2876433 h 4749526"/>
              <a:gd name="connsiteX8965" fmla="*/ 4206116 w 7402822"/>
              <a:gd name="connsiteY8965" fmla="*/ 2885540 h 4749526"/>
              <a:gd name="connsiteX8966" fmla="*/ 4212188 w 7402822"/>
              <a:gd name="connsiteY8966" fmla="*/ 2888576 h 4749526"/>
              <a:gd name="connsiteX8967" fmla="*/ 4221295 w 7402822"/>
              <a:gd name="connsiteY8967" fmla="*/ 2897684 h 4749526"/>
              <a:gd name="connsiteX8968" fmla="*/ 4227367 w 7402822"/>
              <a:gd name="connsiteY8968" fmla="*/ 2900719 h 4749526"/>
              <a:gd name="connsiteX8969" fmla="*/ 4230403 w 7402822"/>
              <a:gd name="connsiteY8969" fmla="*/ 2915898 h 4749526"/>
              <a:gd name="connsiteX8970" fmla="*/ 4233439 w 7402822"/>
              <a:gd name="connsiteY8970" fmla="*/ 2934113 h 4749526"/>
              <a:gd name="connsiteX8971" fmla="*/ 4233439 w 7402822"/>
              <a:gd name="connsiteY8971" fmla="*/ 2946256 h 4749526"/>
              <a:gd name="connsiteX8972" fmla="*/ 4236475 w 7402822"/>
              <a:gd name="connsiteY8972" fmla="*/ 2967507 h 4749526"/>
              <a:gd name="connsiteX8973" fmla="*/ 4239510 w 7402822"/>
              <a:gd name="connsiteY8973" fmla="*/ 2973579 h 4749526"/>
              <a:gd name="connsiteX8974" fmla="*/ 4245582 w 7402822"/>
              <a:gd name="connsiteY8974" fmla="*/ 2973579 h 4749526"/>
              <a:gd name="connsiteX8975" fmla="*/ 4245582 w 7402822"/>
              <a:gd name="connsiteY8975" fmla="*/ 2976615 h 4749526"/>
              <a:gd name="connsiteX8976" fmla="*/ 4248618 w 7402822"/>
              <a:gd name="connsiteY8976" fmla="*/ 2976615 h 4749526"/>
              <a:gd name="connsiteX8977" fmla="*/ 4251654 w 7402822"/>
              <a:gd name="connsiteY8977" fmla="*/ 2979650 h 4749526"/>
              <a:gd name="connsiteX8978" fmla="*/ 4251654 w 7402822"/>
              <a:gd name="connsiteY8978" fmla="*/ 2982686 h 4749526"/>
              <a:gd name="connsiteX8979" fmla="*/ 4260761 w 7402822"/>
              <a:gd name="connsiteY8979" fmla="*/ 2988758 h 4749526"/>
              <a:gd name="connsiteX8980" fmla="*/ 4269868 w 7402822"/>
              <a:gd name="connsiteY8980" fmla="*/ 3003936 h 4749526"/>
              <a:gd name="connsiteX8981" fmla="*/ 4272905 w 7402822"/>
              <a:gd name="connsiteY8981" fmla="*/ 3019115 h 4749526"/>
              <a:gd name="connsiteX8982" fmla="*/ 4275940 w 7402822"/>
              <a:gd name="connsiteY8982" fmla="*/ 3034295 h 4749526"/>
              <a:gd name="connsiteX8983" fmla="*/ 4288084 w 7402822"/>
              <a:gd name="connsiteY8983" fmla="*/ 3049474 h 4749526"/>
              <a:gd name="connsiteX8984" fmla="*/ 4294155 w 7402822"/>
              <a:gd name="connsiteY8984" fmla="*/ 3055546 h 4749526"/>
              <a:gd name="connsiteX8985" fmla="*/ 4297191 w 7402822"/>
              <a:gd name="connsiteY8985" fmla="*/ 3055546 h 4749526"/>
              <a:gd name="connsiteX8986" fmla="*/ 4300226 w 7402822"/>
              <a:gd name="connsiteY8986" fmla="*/ 3055546 h 4749526"/>
              <a:gd name="connsiteX8987" fmla="*/ 4315405 w 7402822"/>
              <a:gd name="connsiteY8987" fmla="*/ 3064653 h 4749526"/>
              <a:gd name="connsiteX8988" fmla="*/ 4327549 w 7402822"/>
              <a:gd name="connsiteY8988" fmla="*/ 3076796 h 4749526"/>
              <a:gd name="connsiteX8989" fmla="*/ 4333621 w 7402822"/>
              <a:gd name="connsiteY8989" fmla="*/ 3082868 h 4749526"/>
              <a:gd name="connsiteX8990" fmla="*/ 4345764 w 7402822"/>
              <a:gd name="connsiteY8990" fmla="*/ 3095011 h 4749526"/>
              <a:gd name="connsiteX8991" fmla="*/ 4354871 w 7402822"/>
              <a:gd name="connsiteY8991" fmla="*/ 3101083 h 4749526"/>
              <a:gd name="connsiteX8992" fmla="*/ 4360943 w 7402822"/>
              <a:gd name="connsiteY8992" fmla="*/ 3116262 h 4749526"/>
              <a:gd name="connsiteX8993" fmla="*/ 4354871 w 7402822"/>
              <a:gd name="connsiteY8993" fmla="*/ 3119297 h 4749526"/>
              <a:gd name="connsiteX8994" fmla="*/ 4345764 w 7402822"/>
              <a:gd name="connsiteY8994" fmla="*/ 3122334 h 4749526"/>
              <a:gd name="connsiteX8995" fmla="*/ 4345764 w 7402822"/>
              <a:gd name="connsiteY8995" fmla="*/ 3125369 h 4749526"/>
              <a:gd name="connsiteX8996" fmla="*/ 4357907 w 7402822"/>
              <a:gd name="connsiteY8996" fmla="*/ 3128406 h 4749526"/>
              <a:gd name="connsiteX8997" fmla="*/ 4360943 w 7402822"/>
              <a:gd name="connsiteY8997" fmla="*/ 3131441 h 4749526"/>
              <a:gd name="connsiteX8998" fmla="*/ 4363978 w 7402822"/>
              <a:gd name="connsiteY8998" fmla="*/ 3134476 h 4749526"/>
              <a:gd name="connsiteX8999" fmla="*/ 4370050 w 7402822"/>
              <a:gd name="connsiteY8999" fmla="*/ 3143585 h 4749526"/>
              <a:gd name="connsiteX9000" fmla="*/ 4382194 w 7402822"/>
              <a:gd name="connsiteY9000" fmla="*/ 3149655 h 4749526"/>
              <a:gd name="connsiteX9001" fmla="*/ 4394336 w 7402822"/>
              <a:gd name="connsiteY9001" fmla="*/ 3149655 h 4749526"/>
              <a:gd name="connsiteX9002" fmla="*/ 4406480 w 7402822"/>
              <a:gd name="connsiteY9002" fmla="*/ 3143585 h 4749526"/>
              <a:gd name="connsiteX9003" fmla="*/ 4418623 w 7402822"/>
              <a:gd name="connsiteY9003" fmla="*/ 3143585 h 4749526"/>
              <a:gd name="connsiteX9004" fmla="*/ 4427731 w 7402822"/>
              <a:gd name="connsiteY9004" fmla="*/ 3143585 h 4749526"/>
              <a:gd name="connsiteX9005" fmla="*/ 4433802 w 7402822"/>
              <a:gd name="connsiteY9005" fmla="*/ 3140548 h 4749526"/>
              <a:gd name="connsiteX9006" fmla="*/ 4436838 w 7402822"/>
              <a:gd name="connsiteY9006" fmla="*/ 3137513 h 4749526"/>
              <a:gd name="connsiteX9007" fmla="*/ 4452017 w 7402822"/>
              <a:gd name="connsiteY9007" fmla="*/ 3134476 h 4749526"/>
              <a:gd name="connsiteX9008" fmla="*/ 4461125 w 7402822"/>
              <a:gd name="connsiteY9008" fmla="*/ 3134476 h 4749526"/>
              <a:gd name="connsiteX9009" fmla="*/ 4464160 w 7402822"/>
              <a:gd name="connsiteY9009" fmla="*/ 3131441 h 4749526"/>
              <a:gd name="connsiteX9010" fmla="*/ 4473267 w 7402822"/>
              <a:gd name="connsiteY9010" fmla="*/ 3134476 h 4749526"/>
              <a:gd name="connsiteX9011" fmla="*/ 4497555 w 7402822"/>
              <a:gd name="connsiteY9011" fmla="*/ 3128406 h 4749526"/>
              <a:gd name="connsiteX9012" fmla="*/ 4506662 w 7402822"/>
              <a:gd name="connsiteY9012" fmla="*/ 3122334 h 4749526"/>
              <a:gd name="connsiteX9013" fmla="*/ 4509697 w 7402822"/>
              <a:gd name="connsiteY9013" fmla="*/ 3119297 h 4749526"/>
              <a:gd name="connsiteX9014" fmla="*/ 4521841 w 7402822"/>
              <a:gd name="connsiteY9014" fmla="*/ 3119297 h 4749526"/>
              <a:gd name="connsiteX9015" fmla="*/ 4521841 w 7402822"/>
              <a:gd name="connsiteY9015" fmla="*/ 3128406 h 4749526"/>
              <a:gd name="connsiteX9016" fmla="*/ 4518804 w 7402822"/>
              <a:gd name="connsiteY9016" fmla="*/ 3134476 h 4749526"/>
              <a:gd name="connsiteX9017" fmla="*/ 4518804 w 7402822"/>
              <a:gd name="connsiteY9017" fmla="*/ 3140548 h 4749526"/>
              <a:gd name="connsiteX9018" fmla="*/ 4521841 w 7402822"/>
              <a:gd name="connsiteY9018" fmla="*/ 3146620 h 4749526"/>
              <a:gd name="connsiteX9019" fmla="*/ 4518804 w 7402822"/>
              <a:gd name="connsiteY9019" fmla="*/ 3149655 h 4749526"/>
              <a:gd name="connsiteX9020" fmla="*/ 4515769 w 7402822"/>
              <a:gd name="connsiteY9020" fmla="*/ 3158764 h 4749526"/>
              <a:gd name="connsiteX9021" fmla="*/ 4512733 w 7402822"/>
              <a:gd name="connsiteY9021" fmla="*/ 3167871 h 4749526"/>
              <a:gd name="connsiteX9022" fmla="*/ 4509697 w 7402822"/>
              <a:gd name="connsiteY9022" fmla="*/ 3176978 h 4749526"/>
              <a:gd name="connsiteX9023" fmla="*/ 4500590 w 7402822"/>
              <a:gd name="connsiteY9023" fmla="*/ 3195193 h 4749526"/>
              <a:gd name="connsiteX9024" fmla="*/ 4488446 w 7402822"/>
              <a:gd name="connsiteY9024" fmla="*/ 3213408 h 4749526"/>
              <a:gd name="connsiteX9025" fmla="*/ 4479339 w 7402822"/>
              <a:gd name="connsiteY9025" fmla="*/ 3231623 h 4749526"/>
              <a:gd name="connsiteX9026" fmla="*/ 4476304 w 7402822"/>
              <a:gd name="connsiteY9026" fmla="*/ 3237695 h 4749526"/>
              <a:gd name="connsiteX9027" fmla="*/ 4473267 w 7402822"/>
              <a:gd name="connsiteY9027" fmla="*/ 3246802 h 4749526"/>
              <a:gd name="connsiteX9028" fmla="*/ 4445945 w 7402822"/>
              <a:gd name="connsiteY9028" fmla="*/ 3283232 h 4749526"/>
              <a:gd name="connsiteX9029" fmla="*/ 4418623 w 7402822"/>
              <a:gd name="connsiteY9029" fmla="*/ 3310554 h 4749526"/>
              <a:gd name="connsiteX9030" fmla="*/ 4379157 w 7402822"/>
              <a:gd name="connsiteY9030" fmla="*/ 3337876 h 4749526"/>
              <a:gd name="connsiteX9031" fmla="*/ 4363978 w 7402822"/>
              <a:gd name="connsiteY9031" fmla="*/ 3350019 h 4749526"/>
              <a:gd name="connsiteX9032" fmla="*/ 4351835 w 7402822"/>
              <a:gd name="connsiteY9032" fmla="*/ 3365198 h 4749526"/>
              <a:gd name="connsiteX9033" fmla="*/ 4345764 w 7402822"/>
              <a:gd name="connsiteY9033" fmla="*/ 3368235 h 4749526"/>
              <a:gd name="connsiteX9034" fmla="*/ 4330585 w 7402822"/>
              <a:gd name="connsiteY9034" fmla="*/ 3383414 h 4749526"/>
              <a:gd name="connsiteX9035" fmla="*/ 4321477 w 7402822"/>
              <a:gd name="connsiteY9035" fmla="*/ 3398593 h 4749526"/>
              <a:gd name="connsiteX9036" fmla="*/ 4318442 w 7402822"/>
              <a:gd name="connsiteY9036" fmla="*/ 3404664 h 4749526"/>
              <a:gd name="connsiteX9037" fmla="*/ 4312370 w 7402822"/>
              <a:gd name="connsiteY9037" fmla="*/ 3407700 h 4749526"/>
              <a:gd name="connsiteX9038" fmla="*/ 4300226 w 7402822"/>
              <a:gd name="connsiteY9038" fmla="*/ 3416807 h 4749526"/>
              <a:gd name="connsiteX9039" fmla="*/ 4294155 w 7402822"/>
              <a:gd name="connsiteY9039" fmla="*/ 3419843 h 4749526"/>
              <a:gd name="connsiteX9040" fmla="*/ 4294155 w 7402822"/>
              <a:gd name="connsiteY9040" fmla="*/ 3425915 h 4749526"/>
              <a:gd name="connsiteX9041" fmla="*/ 4285047 w 7402822"/>
              <a:gd name="connsiteY9041" fmla="*/ 3447166 h 4749526"/>
              <a:gd name="connsiteX9042" fmla="*/ 4282012 w 7402822"/>
              <a:gd name="connsiteY9042" fmla="*/ 3453237 h 4749526"/>
              <a:gd name="connsiteX9043" fmla="*/ 4278975 w 7402822"/>
              <a:gd name="connsiteY9043" fmla="*/ 3459309 h 4749526"/>
              <a:gd name="connsiteX9044" fmla="*/ 4272905 w 7402822"/>
              <a:gd name="connsiteY9044" fmla="*/ 3462345 h 4749526"/>
              <a:gd name="connsiteX9045" fmla="*/ 4272905 w 7402822"/>
              <a:gd name="connsiteY9045" fmla="*/ 3468416 h 4749526"/>
              <a:gd name="connsiteX9046" fmla="*/ 4269868 w 7402822"/>
              <a:gd name="connsiteY9046" fmla="*/ 3480559 h 4749526"/>
              <a:gd name="connsiteX9047" fmla="*/ 4266833 w 7402822"/>
              <a:gd name="connsiteY9047" fmla="*/ 3489667 h 4749526"/>
              <a:gd name="connsiteX9048" fmla="*/ 4266833 w 7402822"/>
              <a:gd name="connsiteY9048" fmla="*/ 3495738 h 4749526"/>
              <a:gd name="connsiteX9049" fmla="*/ 4269868 w 7402822"/>
              <a:gd name="connsiteY9049" fmla="*/ 3498775 h 4749526"/>
              <a:gd name="connsiteX9050" fmla="*/ 4275940 w 7402822"/>
              <a:gd name="connsiteY9050" fmla="*/ 3501810 h 4749526"/>
              <a:gd name="connsiteX9051" fmla="*/ 4275940 w 7402822"/>
              <a:gd name="connsiteY9051" fmla="*/ 3504845 h 4749526"/>
              <a:gd name="connsiteX9052" fmla="*/ 4278975 w 7402822"/>
              <a:gd name="connsiteY9052" fmla="*/ 3513954 h 4749526"/>
              <a:gd name="connsiteX9053" fmla="*/ 4275940 w 7402822"/>
              <a:gd name="connsiteY9053" fmla="*/ 3516989 h 4749526"/>
              <a:gd name="connsiteX9054" fmla="*/ 4278975 w 7402822"/>
              <a:gd name="connsiteY9054" fmla="*/ 3529133 h 4749526"/>
              <a:gd name="connsiteX9055" fmla="*/ 4275940 w 7402822"/>
              <a:gd name="connsiteY9055" fmla="*/ 3535204 h 4749526"/>
              <a:gd name="connsiteX9056" fmla="*/ 4275940 w 7402822"/>
              <a:gd name="connsiteY9056" fmla="*/ 3541275 h 4749526"/>
              <a:gd name="connsiteX9057" fmla="*/ 4282012 w 7402822"/>
              <a:gd name="connsiteY9057" fmla="*/ 3553419 h 4749526"/>
              <a:gd name="connsiteX9058" fmla="*/ 4288084 w 7402822"/>
              <a:gd name="connsiteY9058" fmla="*/ 3571634 h 4749526"/>
              <a:gd name="connsiteX9059" fmla="*/ 4294155 w 7402822"/>
              <a:gd name="connsiteY9059" fmla="*/ 3574670 h 4749526"/>
              <a:gd name="connsiteX9060" fmla="*/ 4300226 w 7402822"/>
              <a:gd name="connsiteY9060" fmla="*/ 3580741 h 4749526"/>
              <a:gd name="connsiteX9061" fmla="*/ 4303263 w 7402822"/>
              <a:gd name="connsiteY9061" fmla="*/ 3583777 h 4749526"/>
              <a:gd name="connsiteX9062" fmla="*/ 4300226 w 7402822"/>
              <a:gd name="connsiteY9062" fmla="*/ 3595920 h 4749526"/>
              <a:gd name="connsiteX9063" fmla="*/ 4300226 w 7402822"/>
              <a:gd name="connsiteY9063" fmla="*/ 3605027 h 4749526"/>
              <a:gd name="connsiteX9064" fmla="*/ 4300226 w 7402822"/>
              <a:gd name="connsiteY9064" fmla="*/ 3611099 h 4749526"/>
              <a:gd name="connsiteX9065" fmla="*/ 4300226 w 7402822"/>
              <a:gd name="connsiteY9065" fmla="*/ 3614136 h 4749526"/>
              <a:gd name="connsiteX9066" fmla="*/ 4300226 w 7402822"/>
              <a:gd name="connsiteY9066" fmla="*/ 3620206 h 4749526"/>
              <a:gd name="connsiteX9067" fmla="*/ 4300226 w 7402822"/>
              <a:gd name="connsiteY9067" fmla="*/ 3623243 h 4749526"/>
              <a:gd name="connsiteX9068" fmla="*/ 4303263 w 7402822"/>
              <a:gd name="connsiteY9068" fmla="*/ 3623243 h 4749526"/>
              <a:gd name="connsiteX9069" fmla="*/ 4303263 w 7402822"/>
              <a:gd name="connsiteY9069" fmla="*/ 3626278 h 4749526"/>
              <a:gd name="connsiteX9070" fmla="*/ 4303263 w 7402822"/>
              <a:gd name="connsiteY9070" fmla="*/ 3629315 h 4749526"/>
              <a:gd name="connsiteX9071" fmla="*/ 4300226 w 7402822"/>
              <a:gd name="connsiteY9071" fmla="*/ 3632350 h 4749526"/>
              <a:gd name="connsiteX9072" fmla="*/ 4303263 w 7402822"/>
              <a:gd name="connsiteY9072" fmla="*/ 3641457 h 4749526"/>
              <a:gd name="connsiteX9073" fmla="*/ 4303263 w 7402822"/>
              <a:gd name="connsiteY9073" fmla="*/ 3647529 h 4749526"/>
              <a:gd name="connsiteX9074" fmla="*/ 4306298 w 7402822"/>
              <a:gd name="connsiteY9074" fmla="*/ 3662708 h 4749526"/>
              <a:gd name="connsiteX9075" fmla="*/ 4309334 w 7402822"/>
              <a:gd name="connsiteY9075" fmla="*/ 3668780 h 4749526"/>
              <a:gd name="connsiteX9076" fmla="*/ 4306298 w 7402822"/>
              <a:gd name="connsiteY9076" fmla="*/ 3674851 h 4749526"/>
              <a:gd name="connsiteX9077" fmla="*/ 4303263 w 7402822"/>
              <a:gd name="connsiteY9077" fmla="*/ 3680923 h 4749526"/>
              <a:gd name="connsiteX9078" fmla="*/ 4303263 w 7402822"/>
              <a:gd name="connsiteY9078" fmla="*/ 3683959 h 4749526"/>
              <a:gd name="connsiteX9079" fmla="*/ 4297191 w 7402822"/>
              <a:gd name="connsiteY9079" fmla="*/ 3693066 h 4749526"/>
              <a:gd name="connsiteX9080" fmla="*/ 4278975 w 7402822"/>
              <a:gd name="connsiteY9080" fmla="*/ 3711281 h 4749526"/>
              <a:gd name="connsiteX9081" fmla="*/ 4272905 w 7402822"/>
              <a:gd name="connsiteY9081" fmla="*/ 3717353 h 4749526"/>
              <a:gd name="connsiteX9082" fmla="*/ 4266833 w 7402822"/>
              <a:gd name="connsiteY9082" fmla="*/ 3720388 h 4749526"/>
              <a:gd name="connsiteX9083" fmla="*/ 4254689 w 7402822"/>
              <a:gd name="connsiteY9083" fmla="*/ 3723425 h 4749526"/>
              <a:gd name="connsiteX9084" fmla="*/ 4233439 w 7402822"/>
              <a:gd name="connsiteY9084" fmla="*/ 3735567 h 4749526"/>
              <a:gd name="connsiteX9085" fmla="*/ 4227367 w 7402822"/>
              <a:gd name="connsiteY9085" fmla="*/ 3744676 h 4749526"/>
              <a:gd name="connsiteX9086" fmla="*/ 4221295 w 7402822"/>
              <a:gd name="connsiteY9086" fmla="*/ 3750746 h 4749526"/>
              <a:gd name="connsiteX9087" fmla="*/ 4218260 w 7402822"/>
              <a:gd name="connsiteY9087" fmla="*/ 3750746 h 4749526"/>
              <a:gd name="connsiteX9088" fmla="*/ 4212188 w 7402822"/>
              <a:gd name="connsiteY9088" fmla="*/ 3759855 h 4749526"/>
              <a:gd name="connsiteX9089" fmla="*/ 4212188 w 7402822"/>
              <a:gd name="connsiteY9089" fmla="*/ 3756818 h 4749526"/>
              <a:gd name="connsiteX9090" fmla="*/ 4203081 w 7402822"/>
              <a:gd name="connsiteY9090" fmla="*/ 3762890 h 4749526"/>
              <a:gd name="connsiteX9091" fmla="*/ 4200045 w 7402822"/>
              <a:gd name="connsiteY9091" fmla="*/ 3768962 h 4749526"/>
              <a:gd name="connsiteX9092" fmla="*/ 4184865 w 7402822"/>
              <a:gd name="connsiteY9092" fmla="*/ 3781105 h 4749526"/>
              <a:gd name="connsiteX9093" fmla="*/ 4181830 w 7402822"/>
              <a:gd name="connsiteY9093" fmla="*/ 3787176 h 4749526"/>
              <a:gd name="connsiteX9094" fmla="*/ 4181830 w 7402822"/>
              <a:gd name="connsiteY9094" fmla="*/ 3793248 h 4749526"/>
              <a:gd name="connsiteX9095" fmla="*/ 4184865 w 7402822"/>
              <a:gd name="connsiteY9095" fmla="*/ 3799320 h 4749526"/>
              <a:gd name="connsiteX9096" fmla="*/ 4187902 w 7402822"/>
              <a:gd name="connsiteY9096" fmla="*/ 3805391 h 4749526"/>
              <a:gd name="connsiteX9097" fmla="*/ 4190937 w 7402822"/>
              <a:gd name="connsiteY9097" fmla="*/ 3805391 h 4749526"/>
              <a:gd name="connsiteX9098" fmla="*/ 4187902 w 7402822"/>
              <a:gd name="connsiteY9098" fmla="*/ 3811463 h 4749526"/>
              <a:gd name="connsiteX9099" fmla="*/ 4190937 w 7402822"/>
              <a:gd name="connsiteY9099" fmla="*/ 3817535 h 4749526"/>
              <a:gd name="connsiteX9100" fmla="*/ 4197009 w 7402822"/>
              <a:gd name="connsiteY9100" fmla="*/ 3829678 h 4749526"/>
              <a:gd name="connsiteX9101" fmla="*/ 4197009 w 7402822"/>
              <a:gd name="connsiteY9101" fmla="*/ 3832714 h 4749526"/>
              <a:gd name="connsiteX9102" fmla="*/ 4200045 w 7402822"/>
              <a:gd name="connsiteY9102" fmla="*/ 3832714 h 4749526"/>
              <a:gd name="connsiteX9103" fmla="*/ 4197009 w 7402822"/>
              <a:gd name="connsiteY9103" fmla="*/ 3844857 h 4749526"/>
              <a:gd name="connsiteX9104" fmla="*/ 4197009 w 7402822"/>
              <a:gd name="connsiteY9104" fmla="*/ 3857000 h 4749526"/>
              <a:gd name="connsiteX9105" fmla="*/ 4197009 w 7402822"/>
              <a:gd name="connsiteY9105" fmla="*/ 3866107 h 4749526"/>
              <a:gd name="connsiteX9106" fmla="*/ 4197009 w 7402822"/>
              <a:gd name="connsiteY9106" fmla="*/ 3875215 h 4749526"/>
              <a:gd name="connsiteX9107" fmla="*/ 4190937 w 7402822"/>
              <a:gd name="connsiteY9107" fmla="*/ 3884323 h 4749526"/>
              <a:gd name="connsiteX9108" fmla="*/ 4175758 w 7402822"/>
              <a:gd name="connsiteY9108" fmla="*/ 3890394 h 4749526"/>
              <a:gd name="connsiteX9109" fmla="*/ 4157544 w 7402822"/>
              <a:gd name="connsiteY9109" fmla="*/ 3899502 h 4749526"/>
              <a:gd name="connsiteX9110" fmla="*/ 4139329 w 7402822"/>
              <a:gd name="connsiteY9110" fmla="*/ 3914681 h 4749526"/>
              <a:gd name="connsiteX9111" fmla="*/ 4139329 w 7402822"/>
              <a:gd name="connsiteY9111" fmla="*/ 3917716 h 4749526"/>
              <a:gd name="connsiteX9112" fmla="*/ 4142364 w 7402822"/>
              <a:gd name="connsiteY9112" fmla="*/ 3923788 h 4749526"/>
              <a:gd name="connsiteX9113" fmla="*/ 4145400 w 7402822"/>
              <a:gd name="connsiteY9113" fmla="*/ 3935931 h 4749526"/>
              <a:gd name="connsiteX9114" fmla="*/ 4139329 w 7402822"/>
              <a:gd name="connsiteY9114" fmla="*/ 3954146 h 4749526"/>
              <a:gd name="connsiteX9115" fmla="*/ 4136293 w 7402822"/>
              <a:gd name="connsiteY9115" fmla="*/ 3969326 h 4749526"/>
              <a:gd name="connsiteX9116" fmla="*/ 4133257 w 7402822"/>
              <a:gd name="connsiteY9116" fmla="*/ 3978433 h 4749526"/>
              <a:gd name="connsiteX9117" fmla="*/ 4127185 w 7402822"/>
              <a:gd name="connsiteY9117" fmla="*/ 3981468 h 4749526"/>
              <a:gd name="connsiteX9118" fmla="*/ 4115042 w 7402822"/>
              <a:gd name="connsiteY9118" fmla="*/ 3990575 h 4749526"/>
              <a:gd name="connsiteX9119" fmla="*/ 4108971 w 7402822"/>
              <a:gd name="connsiteY9119" fmla="*/ 4002719 h 4749526"/>
              <a:gd name="connsiteX9120" fmla="*/ 4105934 w 7402822"/>
              <a:gd name="connsiteY9120" fmla="*/ 4008791 h 4749526"/>
              <a:gd name="connsiteX9121" fmla="*/ 4090755 w 7402822"/>
              <a:gd name="connsiteY9121" fmla="*/ 4033077 h 4749526"/>
              <a:gd name="connsiteX9122" fmla="*/ 4081648 w 7402822"/>
              <a:gd name="connsiteY9122" fmla="*/ 4042185 h 4749526"/>
              <a:gd name="connsiteX9123" fmla="*/ 4072541 w 7402822"/>
              <a:gd name="connsiteY9123" fmla="*/ 4051292 h 4749526"/>
              <a:gd name="connsiteX9124" fmla="*/ 4054326 w 7402822"/>
              <a:gd name="connsiteY9124" fmla="*/ 4072543 h 4749526"/>
              <a:gd name="connsiteX9125" fmla="*/ 4030040 w 7402822"/>
              <a:gd name="connsiteY9125" fmla="*/ 4090757 h 4749526"/>
              <a:gd name="connsiteX9126" fmla="*/ 4005753 w 7402822"/>
              <a:gd name="connsiteY9126" fmla="*/ 4099866 h 4749526"/>
              <a:gd name="connsiteX9127" fmla="*/ 3996645 w 7402822"/>
              <a:gd name="connsiteY9127" fmla="*/ 4099866 h 4749526"/>
              <a:gd name="connsiteX9128" fmla="*/ 3996645 w 7402822"/>
              <a:gd name="connsiteY9128" fmla="*/ 4108973 h 4749526"/>
              <a:gd name="connsiteX9129" fmla="*/ 3984503 w 7402822"/>
              <a:gd name="connsiteY9129" fmla="*/ 4105936 h 4749526"/>
              <a:gd name="connsiteX9130" fmla="*/ 3978431 w 7402822"/>
              <a:gd name="connsiteY9130" fmla="*/ 4108973 h 4749526"/>
              <a:gd name="connsiteX9131" fmla="*/ 3972359 w 7402822"/>
              <a:gd name="connsiteY9131" fmla="*/ 4112008 h 4749526"/>
              <a:gd name="connsiteX9132" fmla="*/ 3966287 w 7402822"/>
              <a:gd name="connsiteY9132" fmla="*/ 4108973 h 4749526"/>
              <a:gd name="connsiteX9133" fmla="*/ 3957180 w 7402822"/>
              <a:gd name="connsiteY9133" fmla="*/ 4108973 h 4749526"/>
              <a:gd name="connsiteX9134" fmla="*/ 3948073 w 7402822"/>
              <a:gd name="connsiteY9134" fmla="*/ 4108973 h 4749526"/>
              <a:gd name="connsiteX9135" fmla="*/ 3929858 w 7402822"/>
              <a:gd name="connsiteY9135" fmla="*/ 4108973 h 4749526"/>
              <a:gd name="connsiteX9136" fmla="*/ 3917714 w 7402822"/>
              <a:gd name="connsiteY9136" fmla="*/ 4115045 h 4749526"/>
              <a:gd name="connsiteX9137" fmla="*/ 3911643 w 7402822"/>
              <a:gd name="connsiteY9137" fmla="*/ 4118080 h 4749526"/>
              <a:gd name="connsiteX9138" fmla="*/ 3905572 w 7402822"/>
              <a:gd name="connsiteY9138" fmla="*/ 4118080 h 4749526"/>
              <a:gd name="connsiteX9139" fmla="*/ 3893428 w 7402822"/>
              <a:gd name="connsiteY9139" fmla="*/ 4118080 h 4749526"/>
              <a:gd name="connsiteX9140" fmla="*/ 3887356 w 7402822"/>
              <a:gd name="connsiteY9140" fmla="*/ 4121115 h 4749526"/>
              <a:gd name="connsiteX9141" fmla="*/ 3878249 w 7402822"/>
              <a:gd name="connsiteY9141" fmla="*/ 4127187 h 4749526"/>
              <a:gd name="connsiteX9142" fmla="*/ 3863070 w 7402822"/>
              <a:gd name="connsiteY9142" fmla="*/ 4121115 h 4749526"/>
              <a:gd name="connsiteX9143" fmla="*/ 3856998 w 7402822"/>
              <a:gd name="connsiteY9143" fmla="*/ 4115045 h 4749526"/>
              <a:gd name="connsiteX9144" fmla="*/ 3853963 w 7402822"/>
              <a:gd name="connsiteY9144" fmla="*/ 4108973 h 4749526"/>
              <a:gd name="connsiteX9145" fmla="*/ 3847891 w 7402822"/>
              <a:gd name="connsiteY9145" fmla="*/ 4108973 h 4749526"/>
              <a:gd name="connsiteX9146" fmla="*/ 3844855 w 7402822"/>
              <a:gd name="connsiteY9146" fmla="*/ 4105936 h 4749526"/>
              <a:gd name="connsiteX9147" fmla="*/ 3844855 w 7402822"/>
              <a:gd name="connsiteY9147" fmla="*/ 4096829 h 4749526"/>
              <a:gd name="connsiteX9148" fmla="*/ 3838784 w 7402822"/>
              <a:gd name="connsiteY9148" fmla="*/ 4084686 h 4749526"/>
              <a:gd name="connsiteX9149" fmla="*/ 3832712 w 7402822"/>
              <a:gd name="connsiteY9149" fmla="*/ 4078615 h 4749526"/>
              <a:gd name="connsiteX9150" fmla="*/ 3838784 w 7402822"/>
              <a:gd name="connsiteY9150" fmla="*/ 4078615 h 4749526"/>
              <a:gd name="connsiteX9151" fmla="*/ 3844855 w 7402822"/>
              <a:gd name="connsiteY9151" fmla="*/ 4066471 h 4749526"/>
              <a:gd name="connsiteX9152" fmla="*/ 3841819 w 7402822"/>
              <a:gd name="connsiteY9152" fmla="*/ 4051292 h 4749526"/>
              <a:gd name="connsiteX9153" fmla="*/ 3826640 w 7402822"/>
              <a:gd name="connsiteY9153" fmla="*/ 4030042 h 4749526"/>
              <a:gd name="connsiteX9154" fmla="*/ 3820569 w 7402822"/>
              <a:gd name="connsiteY9154" fmla="*/ 4014863 h 4749526"/>
              <a:gd name="connsiteX9155" fmla="*/ 3817533 w 7402822"/>
              <a:gd name="connsiteY9155" fmla="*/ 4002719 h 4749526"/>
              <a:gd name="connsiteX9156" fmla="*/ 3805390 w 7402822"/>
              <a:gd name="connsiteY9156" fmla="*/ 3975396 h 4749526"/>
              <a:gd name="connsiteX9157" fmla="*/ 3796283 w 7402822"/>
              <a:gd name="connsiteY9157" fmla="*/ 3969326 h 4749526"/>
              <a:gd name="connsiteX9158" fmla="*/ 3787174 w 7402822"/>
              <a:gd name="connsiteY9158" fmla="*/ 3957182 h 4749526"/>
              <a:gd name="connsiteX9159" fmla="*/ 3778067 w 7402822"/>
              <a:gd name="connsiteY9159" fmla="*/ 3942003 h 4749526"/>
              <a:gd name="connsiteX9160" fmla="*/ 3778067 w 7402822"/>
              <a:gd name="connsiteY9160" fmla="*/ 3932896 h 4749526"/>
              <a:gd name="connsiteX9161" fmla="*/ 3775032 w 7402822"/>
              <a:gd name="connsiteY9161" fmla="*/ 3926824 h 4749526"/>
              <a:gd name="connsiteX9162" fmla="*/ 3775032 w 7402822"/>
              <a:gd name="connsiteY9162" fmla="*/ 3923788 h 4749526"/>
              <a:gd name="connsiteX9163" fmla="*/ 3771995 w 7402822"/>
              <a:gd name="connsiteY9163" fmla="*/ 3920752 h 4749526"/>
              <a:gd name="connsiteX9164" fmla="*/ 3771995 w 7402822"/>
              <a:gd name="connsiteY9164" fmla="*/ 3917716 h 4749526"/>
              <a:gd name="connsiteX9165" fmla="*/ 3771995 w 7402822"/>
              <a:gd name="connsiteY9165" fmla="*/ 3905573 h 4749526"/>
              <a:gd name="connsiteX9166" fmla="*/ 3771995 w 7402822"/>
              <a:gd name="connsiteY9166" fmla="*/ 3899502 h 4749526"/>
              <a:gd name="connsiteX9167" fmla="*/ 3771995 w 7402822"/>
              <a:gd name="connsiteY9167" fmla="*/ 3896465 h 4749526"/>
              <a:gd name="connsiteX9168" fmla="*/ 3768960 w 7402822"/>
              <a:gd name="connsiteY9168" fmla="*/ 3890394 h 4749526"/>
              <a:gd name="connsiteX9169" fmla="*/ 3762888 w 7402822"/>
              <a:gd name="connsiteY9169" fmla="*/ 3872179 h 4749526"/>
              <a:gd name="connsiteX9170" fmla="*/ 3765925 w 7402822"/>
              <a:gd name="connsiteY9170" fmla="*/ 3866107 h 4749526"/>
              <a:gd name="connsiteX9171" fmla="*/ 3765925 w 7402822"/>
              <a:gd name="connsiteY9171" fmla="*/ 3860036 h 4749526"/>
              <a:gd name="connsiteX9172" fmla="*/ 3762888 w 7402822"/>
              <a:gd name="connsiteY9172" fmla="*/ 3853965 h 4749526"/>
              <a:gd name="connsiteX9173" fmla="*/ 3765925 w 7402822"/>
              <a:gd name="connsiteY9173" fmla="*/ 3841821 h 4749526"/>
              <a:gd name="connsiteX9174" fmla="*/ 3759853 w 7402822"/>
              <a:gd name="connsiteY9174" fmla="*/ 3826642 h 4749526"/>
              <a:gd name="connsiteX9175" fmla="*/ 3747709 w 7402822"/>
              <a:gd name="connsiteY9175" fmla="*/ 3811463 h 4749526"/>
              <a:gd name="connsiteX9176" fmla="*/ 3741638 w 7402822"/>
              <a:gd name="connsiteY9176" fmla="*/ 3802356 h 4749526"/>
              <a:gd name="connsiteX9177" fmla="*/ 3735566 w 7402822"/>
              <a:gd name="connsiteY9177" fmla="*/ 3784141 h 4749526"/>
              <a:gd name="connsiteX9178" fmla="*/ 3723423 w 7402822"/>
              <a:gd name="connsiteY9178" fmla="*/ 3762890 h 4749526"/>
              <a:gd name="connsiteX9179" fmla="*/ 3720387 w 7402822"/>
              <a:gd name="connsiteY9179" fmla="*/ 3756818 h 4749526"/>
              <a:gd name="connsiteX9180" fmla="*/ 3711280 w 7402822"/>
              <a:gd name="connsiteY9180" fmla="*/ 3744676 h 4749526"/>
              <a:gd name="connsiteX9181" fmla="*/ 3708244 w 7402822"/>
              <a:gd name="connsiteY9181" fmla="*/ 3735567 h 4749526"/>
              <a:gd name="connsiteX9182" fmla="*/ 3708244 w 7402822"/>
              <a:gd name="connsiteY9182" fmla="*/ 3723425 h 4749526"/>
              <a:gd name="connsiteX9183" fmla="*/ 3708244 w 7402822"/>
              <a:gd name="connsiteY9183" fmla="*/ 3705209 h 4749526"/>
              <a:gd name="connsiteX9184" fmla="*/ 3708244 w 7402822"/>
              <a:gd name="connsiteY9184" fmla="*/ 3696102 h 4749526"/>
              <a:gd name="connsiteX9185" fmla="*/ 3711280 w 7402822"/>
              <a:gd name="connsiteY9185" fmla="*/ 3690030 h 4749526"/>
              <a:gd name="connsiteX9186" fmla="*/ 3717351 w 7402822"/>
              <a:gd name="connsiteY9186" fmla="*/ 3674851 h 4749526"/>
              <a:gd name="connsiteX9187" fmla="*/ 3720387 w 7402822"/>
              <a:gd name="connsiteY9187" fmla="*/ 3659673 h 4749526"/>
              <a:gd name="connsiteX9188" fmla="*/ 3723423 w 7402822"/>
              <a:gd name="connsiteY9188" fmla="*/ 3641457 h 4749526"/>
              <a:gd name="connsiteX9189" fmla="*/ 3726459 w 7402822"/>
              <a:gd name="connsiteY9189" fmla="*/ 3638422 h 4749526"/>
              <a:gd name="connsiteX9190" fmla="*/ 3732530 w 7402822"/>
              <a:gd name="connsiteY9190" fmla="*/ 3632350 h 4749526"/>
              <a:gd name="connsiteX9191" fmla="*/ 3732530 w 7402822"/>
              <a:gd name="connsiteY9191" fmla="*/ 3629315 h 4749526"/>
              <a:gd name="connsiteX9192" fmla="*/ 3738602 w 7402822"/>
              <a:gd name="connsiteY9192" fmla="*/ 3626278 h 4749526"/>
              <a:gd name="connsiteX9193" fmla="*/ 3744674 w 7402822"/>
              <a:gd name="connsiteY9193" fmla="*/ 3623243 h 4749526"/>
              <a:gd name="connsiteX9194" fmla="*/ 3747709 w 7402822"/>
              <a:gd name="connsiteY9194" fmla="*/ 3611099 h 4749526"/>
              <a:gd name="connsiteX9195" fmla="*/ 3750745 w 7402822"/>
              <a:gd name="connsiteY9195" fmla="*/ 3598956 h 4749526"/>
              <a:gd name="connsiteX9196" fmla="*/ 3750745 w 7402822"/>
              <a:gd name="connsiteY9196" fmla="*/ 3589848 h 4749526"/>
              <a:gd name="connsiteX9197" fmla="*/ 3747709 w 7402822"/>
              <a:gd name="connsiteY9197" fmla="*/ 3580741 h 4749526"/>
              <a:gd name="connsiteX9198" fmla="*/ 3744674 w 7402822"/>
              <a:gd name="connsiteY9198" fmla="*/ 3574670 h 4749526"/>
              <a:gd name="connsiteX9199" fmla="*/ 3735566 w 7402822"/>
              <a:gd name="connsiteY9199" fmla="*/ 3556455 h 4749526"/>
              <a:gd name="connsiteX9200" fmla="*/ 3741638 w 7402822"/>
              <a:gd name="connsiteY9200" fmla="*/ 3538240 h 4749526"/>
              <a:gd name="connsiteX9201" fmla="*/ 3735566 w 7402822"/>
              <a:gd name="connsiteY9201" fmla="*/ 3526096 h 4749526"/>
              <a:gd name="connsiteX9202" fmla="*/ 3729494 w 7402822"/>
              <a:gd name="connsiteY9202" fmla="*/ 3513954 h 4749526"/>
              <a:gd name="connsiteX9203" fmla="*/ 3723423 w 7402822"/>
              <a:gd name="connsiteY9203" fmla="*/ 3501810 h 4749526"/>
              <a:gd name="connsiteX9204" fmla="*/ 3720387 w 7402822"/>
              <a:gd name="connsiteY9204" fmla="*/ 3489667 h 4749526"/>
              <a:gd name="connsiteX9205" fmla="*/ 3720387 w 7402822"/>
              <a:gd name="connsiteY9205" fmla="*/ 3486631 h 4749526"/>
              <a:gd name="connsiteX9206" fmla="*/ 3717351 w 7402822"/>
              <a:gd name="connsiteY9206" fmla="*/ 3483596 h 4749526"/>
              <a:gd name="connsiteX9207" fmla="*/ 3714315 w 7402822"/>
              <a:gd name="connsiteY9207" fmla="*/ 3471452 h 4749526"/>
              <a:gd name="connsiteX9208" fmla="*/ 3714315 w 7402822"/>
              <a:gd name="connsiteY9208" fmla="*/ 3468416 h 4749526"/>
              <a:gd name="connsiteX9209" fmla="*/ 3705208 w 7402822"/>
              <a:gd name="connsiteY9209" fmla="*/ 3456273 h 4749526"/>
              <a:gd name="connsiteX9210" fmla="*/ 3696101 w 7402822"/>
              <a:gd name="connsiteY9210" fmla="*/ 3447166 h 4749526"/>
              <a:gd name="connsiteX9211" fmla="*/ 3696806 w 7402822"/>
              <a:gd name="connsiteY9211" fmla="*/ 3446108 h 4749526"/>
              <a:gd name="connsiteX9212" fmla="*/ 3696100 w 7402822"/>
              <a:gd name="connsiteY9212" fmla="*/ 3447166 h 4749526"/>
              <a:gd name="connsiteX9213" fmla="*/ 3685474 w 7402822"/>
              <a:gd name="connsiteY9213" fmla="*/ 3435022 h 4749526"/>
              <a:gd name="connsiteX9214" fmla="*/ 3679404 w 7402822"/>
              <a:gd name="connsiteY9214" fmla="*/ 3425915 h 4749526"/>
              <a:gd name="connsiteX9215" fmla="*/ 3676367 w 7402822"/>
              <a:gd name="connsiteY9215" fmla="*/ 3422879 h 4749526"/>
              <a:gd name="connsiteX9216" fmla="*/ 3667260 w 7402822"/>
              <a:gd name="connsiteY9216" fmla="*/ 3413772 h 4749526"/>
              <a:gd name="connsiteX9217" fmla="*/ 3664224 w 7402822"/>
              <a:gd name="connsiteY9217" fmla="*/ 3413772 h 4749526"/>
              <a:gd name="connsiteX9218" fmla="*/ 3652081 w 7402822"/>
              <a:gd name="connsiteY9218" fmla="*/ 3389486 h 4749526"/>
              <a:gd name="connsiteX9219" fmla="*/ 3652081 w 7402822"/>
              <a:gd name="connsiteY9219" fmla="*/ 3383414 h 4749526"/>
              <a:gd name="connsiteX9220" fmla="*/ 3655116 w 7402822"/>
              <a:gd name="connsiteY9220" fmla="*/ 3377342 h 4749526"/>
              <a:gd name="connsiteX9221" fmla="*/ 3658153 w 7402822"/>
              <a:gd name="connsiteY9221" fmla="*/ 3371270 h 4749526"/>
              <a:gd name="connsiteX9222" fmla="*/ 3661188 w 7402822"/>
              <a:gd name="connsiteY9222" fmla="*/ 3362163 h 4749526"/>
              <a:gd name="connsiteX9223" fmla="*/ 3661188 w 7402822"/>
              <a:gd name="connsiteY9223" fmla="*/ 3356091 h 4749526"/>
              <a:gd name="connsiteX9224" fmla="*/ 3658153 w 7402822"/>
              <a:gd name="connsiteY9224" fmla="*/ 3353056 h 4749526"/>
              <a:gd name="connsiteX9225" fmla="*/ 3661188 w 7402822"/>
              <a:gd name="connsiteY9225" fmla="*/ 3346984 h 4749526"/>
              <a:gd name="connsiteX9226" fmla="*/ 3664603 w 7402822"/>
              <a:gd name="connsiteY9226" fmla="*/ 3345846 h 4749526"/>
              <a:gd name="connsiteX9227" fmla="*/ 3665743 w 7402822"/>
              <a:gd name="connsiteY9227" fmla="*/ 3342429 h 4749526"/>
              <a:gd name="connsiteX9228" fmla="*/ 3661188 w 7402822"/>
              <a:gd name="connsiteY9228" fmla="*/ 3340911 h 4749526"/>
              <a:gd name="connsiteX9229" fmla="*/ 3661188 w 7402822"/>
              <a:gd name="connsiteY9229" fmla="*/ 3334839 h 4749526"/>
              <a:gd name="connsiteX9230" fmla="*/ 3667260 w 7402822"/>
              <a:gd name="connsiteY9230" fmla="*/ 3331804 h 4749526"/>
              <a:gd name="connsiteX9231" fmla="*/ 3667260 w 7402822"/>
              <a:gd name="connsiteY9231" fmla="*/ 3322696 h 4749526"/>
              <a:gd name="connsiteX9232" fmla="*/ 3670295 w 7402822"/>
              <a:gd name="connsiteY9232" fmla="*/ 3316625 h 4749526"/>
              <a:gd name="connsiteX9233" fmla="*/ 3670295 w 7402822"/>
              <a:gd name="connsiteY9233" fmla="*/ 3298411 h 4749526"/>
              <a:gd name="connsiteX9234" fmla="*/ 3670295 w 7402822"/>
              <a:gd name="connsiteY9234" fmla="*/ 3289304 h 4749526"/>
              <a:gd name="connsiteX9235" fmla="*/ 3664224 w 7402822"/>
              <a:gd name="connsiteY9235" fmla="*/ 3289304 h 4749526"/>
              <a:gd name="connsiteX9236" fmla="*/ 3664224 w 7402822"/>
              <a:gd name="connsiteY9236" fmla="*/ 3286267 h 4749526"/>
              <a:gd name="connsiteX9237" fmla="*/ 3658153 w 7402822"/>
              <a:gd name="connsiteY9237" fmla="*/ 3283232 h 4749526"/>
              <a:gd name="connsiteX9238" fmla="*/ 3652081 w 7402822"/>
              <a:gd name="connsiteY9238" fmla="*/ 3277160 h 4749526"/>
              <a:gd name="connsiteX9239" fmla="*/ 3646009 w 7402822"/>
              <a:gd name="connsiteY9239" fmla="*/ 3268053 h 4749526"/>
              <a:gd name="connsiteX9240" fmla="*/ 3642974 w 7402822"/>
              <a:gd name="connsiteY9240" fmla="*/ 3265016 h 4749526"/>
              <a:gd name="connsiteX9241" fmla="*/ 3639938 w 7402822"/>
              <a:gd name="connsiteY9241" fmla="*/ 3265016 h 4749526"/>
              <a:gd name="connsiteX9242" fmla="*/ 3636902 w 7402822"/>
              <a:gd name="connsiteY9242" fmla="*/ 3265016 h 4749526"/>
              <a:gd name="connsiteX9243" fmla="*/ 3636902 w 7402822"/>
              <a:gd name="connsiteY9243" fmla="*/ 3271088 h 4749526"/>
              <a:gd name="connsiteX9244" fmla="*/ 3630830 w 7402822"/>
              <a:gd name="connsiteY9244" fmla="*/ 3271088 h 4749526"/>
              <a:gd name="connsiteX9245" fmla="*/ 3627794 w 7402822"/>
              <a:gd name="connsiteY9245" fmla="*/ 3271088 h 4749526"/>
              <a:gd name="connsiteX9246" fmla="*/ 3621723 w 7402822"/>
              <a:gd name="connsiteY9246" fmla="*/ 3268053 h 4749526"/>
              <a:gd name="connsiteX9247" fmla="*/ 3594401 w 7402822"/>
              <a:gd name="connsiteY9247" fmla="*/ 3274125 h 4749526"/>
              <a:gd name="connsiteX9248" fmla="*/ 3591364 w 7402822"/>
              <a:gd name="connsiteY9248" fmla="*/ 3274125 h 4749526"/>
              <a:gd name="connsiteX9249" fmla="*/ 3585294 w 7402822"/>
              <a:gd name="connsiteY9249" fmla="*/ 3274125 h 4749526"/>
              <a:gd name="connsiteX9250" fmla="*/ 3582257 w 7402822"/>
              <a:gd name="connsiteY9250" fmla="*/ 3268053 h 4749526"/>
              <a:gd name="connsiteX9251" fmla="*/ 3579222 w 7402822"/>
              <a:gd name="connsiteY9251" fmla="*/ 3265016 h 4749526"/>
              <a:gd name="connsiteX9252" fmla="*/ 3579222 w 7402822"/>
              <a:gd name="connsiteY9252" fmla="*/ 3258946 h 4749526"/>
              <a:gd name="connsiteX9253" fmla="*/ 3573150 w 7402822"/>
              <a:gd name="connsiteY9253" fmla="*/ 3243766 h 4749526"/>
              <a:gd name="connsiteX9254" fmla="*/ 3564043 w 7402822"/>
              <a:gd name="connsiteY9254" fmla="*/ 3240730 h 4749526"/>
              <a:gd name="connsiteX9255" fmla="*/ 3557971 w 7402822"/>
              <a:gd name="connsiteY9255" fmla="*/ 3234658 h 4749526"/>
              <a:gd name="connsiteX9256" fmla="*/ 3536720 w 7402822"/>
              <a:gd name="connsiteY9256" fmla="*/ 3228587 h 4749526"/>
              <a:gd name="connsiteX9257" fmla="*/ 3536720 w 7402822"/>
              <a:gd name="connsiteY9257" fmla="*/ 3231623 h 4749526"/>
              <a:gd name="connsiteX9258" fmla="*/ 3530649 w 7402822"/>
              <a:gd name="connsiteY9258" fmla="*/ 3234658 h 4749526"/>
              <a:gd name="connsiteX9259" fmla="*/ 3521541 w 7402822"/>
              <a:gd name="connsiteY9259" fmla="*/ 3234658 h 4749526"/>
              <a:gd name="connsiteX9260" fmla="*/ 3518505 w 7402822"/>
              <a:gd name="connsiteY9260" fmla="*/ 3234658 h 4749526"/>
              <a:gd name="connsiteX9261" fmla="*/ 3506362 w 7402822"/>
              <a:gd name="connsiteY9261" fmla="*/ 3234658 h 4749526"/>
              <a:gd name="connsiteX9262" fmla="*/ 3503326 w 7402822"/>
              <a:gd name="connsiteY9262" fmla="*/ 3234658 h 4749526"/>
              <a:gd name="connsiteX9263" fmla="*/ 3491183 w 7402822"/>
              <a:gd name="connsiteY9263" fmla="*/ 3240730 h 4749526"/>
              <a:gd name="connsiteX9264" fmla="*/ 3485112 w 7402822"/>
              <a:gd name="connsiteY9264" fmla="*/ 3246802 h 4749526"/>
              <a:gd name="connsiteX9265" fmla="*/ 3482075 w 7402822"/>
              <a:gd name="connsiteY9265" fmla="*/ 3246802 h 4749526"/>
              <a:gd name="connsiteX9266" fmla="*/ 3479040 w 7402822"/>
              <a:gd name="connsiteY9266" fmla="*/ 3246802 h 4749526"/>
              <a:gd name="connsiteX9267" fmla="*/ 3476005 w 7402822"/>
              <a:gd name="connsiteY9267" fmla="*/ 3246802 h 4749526"/>
              <a:gd name="connsiteX9268" fmla="*/ 3466896 w 7402822"/>
              <a:gd name="connsiteY9268" fmla="*/ 3249837 h 4749526"/>
              <a:gd name="connsiteX9269" fmla="*/ 3433503 w 7402822"/>
              <a:gd name="connsiteY9269" fmla="*/ 3261981 h 4749526"/>
              <a:gd name="connsiteX9270" fmla="*/ 3427431 w 7402822"/>
              <a:gd name="connsiteY9270" fmla="*/ 3268053 h 4749526"/>
              <a:gd name="connsiteX9271" fmla="*/ 3418324 w 7402822"/>
              <a:gd name="connsiteY9271" fmla="*/ 3265016 h 4749526"/>
              <a:gd name="connsiteX9272" fmla="*/ 3406181 w 7402822"/>
              <a:gd name="connsiteY9272" fmla="*/ 3258946 h 4749526"/>
              <a:gd name="connsiteX9273" fmla="*/ 3357607 w 7402822"/>
              <a:gd name="connsiteY9273" fmla="*/ 3258946 h 4749526"/>
              <a:gd name="connsiteX9274" fmla="*/ 3342428 w 7402822"/>
              <a:gd name="connsiteY9274" fmla="*/ 3261981 h 4749526"/>
              <a:gd name="connsiteX9275" fmla="*/ 3327249 w 7402822"/>
              <a:gd name="connsiteY9275" fmla="*/ 3268053 h 4749526"/>
              <a:gd name="connsiteX9276" fmla="*/ 3312070 w 7402822"/>
              <a:gd name="connsiteY9276" fmla="*/ 3274125 h 4749526"/>
              <a:gd name="connsiteX9277" fmla="*/ 3287784 w 7402822"/>
              <a:gd name="connsiteY9277" fmla="*/ 3268053 h 4749526"/>
              <a:gd name="connsiteX9278" fmla="*/ 3269569 w 7402822"/>
              <a:gd name="connsiteY9278" fmla="*/ 3252874 h 4749526"/>
              <a:gd name="connsiteX9279" fmla="*/ 3257425 w 7402822"/>
              <a:gd name="connsiteY9279" fmla="*/ 3243766 h 4749526"/>
              <a:gd name="connsiteX9280" fmla="*/ 3248318 w 7402822"/>
              <a:gd name="connsiteY9280" fmla="*/ 3237695 h 4749526"/>
              <a:gd name="connsiteX9281" fmla="*/ 3245283 w 7402822"/>
              <a:gd name="connsiteY9281" fmla="*/ 3234658 h 4749526"/>
              <a:gd name="connsiteX9282" fmla="*/ 3242247 w 7402822"/>
              <a:gd name="connsiteY9282" fmla="*/ 3231623 h 4749526"/>
              <a:gd name="connsiteX9283" fmla="*/ 3239211 w 7402822"/>
              <a:gd name="connsiteY9283" fmla="*/ 3228587 h 4749526"/>
              <a:gd name="connsiteX9284" fmla="*/ 3230104 w 7402822"/>
              <a:gd name="connsiteY9284" fmla="*/ 3222516 h 4749526"/>
              <a:gd name="connsiteX9285" fmla="*/ 3227068 w 7402822"/>
              <a:gd name="connsiteY9285" fmla="*/ 3222516 h 4749526"/>
              <a:gd name="connsiteX9286" fmla="*/ 3211889 w 7402822"/>
              <a:gd name="connsiteY9286" fmla="*/ 3213408 h 4749526"/>
              <a:gd name="connsiteX9287" fmla="*/ 3205817 w 7402822"/>
              <a:gd name="connsiteY9287" fmla="*/ 3207336 h 4749526"/>
              <a:gd name="connsiteX9288" fmla="*/ 3196710 w 7402822"/>
              <a:gd name="connsiteY9288" fmla="*/ 3201265 h 4749526"/>
              <a:gd name="connsiteX9289" fmla="*/ 3193674 w 7402822"/>
              <a:gd name="connsiteY9289" fmla="*/ 3189122 h 4749526"/>
              <a:gd name="connsiteX9290" fmla="*/ 3193674 w 7402822"/>
              <a:gd name="connsiteY9290" fmla="*/ 3180014 h 4749526"/>
              <a:gd name="connsiteX9291" fmla="*/ 3184566 w 7402822"/>
              <a:gd name="connsiteY9291" fmla="*/ 3161799 h 4749526"/>
              <a:gd name="connsiteX9292" fmla="*/ 3184566 w 7402822"/>
              <a:gd name="connsiteY9292" fmla="*/ 3158764 h 4749526"/>
              <a:gd name="connsiteX9293" fmla="*/ 3178495 w 7402822"/>
              <a:gd name="connsiteY9293" fmla="*/ 3155727 h 4749526"/>
              <a:gd name="connsiteX9294" fmla="*/ 3172424 w 7402822"/>
              <a:gd name="connsiteY9294" fmla="*/ 3155727 h 4749526"/>
              <a:gd name="connsiteX9295" fmla="*/ 3166352 w 7402822"/>
              <a:gd name="connsiteY9295" fmla="*/ 3149655 h 4749526"/>
              <a:gd name="connsiteX9296" fmla="*/ 3163315 w 7402822"/>
              <a:gd name="connsiteY9296" fmla="*/ 3146620 h 4749526"/>
              <a:gd name="connsiteX9297" fmla="*/ 3157245 w 7402822"/>
              <a:gd name="connsiteY9297" fmla="*/ 3143585 h 4749526"/>
              <a:gd name="connsiteX9298" fmla="*/ 3157245 w 7402822"/>
              <a:gd name="connsiteY9298" fmla="*/ 3140548 h 4749526"/>
              <a:gd name="connsiteX9299" fmla="*/ 3157245 w 7402822"/>
              <a:gd name="connsiteY9299" fmla="*/ 3137513 h 4749526"/>
              <a:gd name="connsiteX9300" fmla="*/ 3154208 w 7402822"/>
              <a:gd name="connsiteY9300" fmla="*/ 3137513 h 4749526"/>
              <a:gd name="connsiteX9301" fmla="*/ 3148136 w 7402822"/>
              <a:gd name="connsiteY9301" fmla="*/ 3134476 h 4749526"/>
              <a:gd name="connsiteX9302" fmla="*/ 3148136 w 7402822"/>
              <a:gd name="connsiteY9302" fmla="*/ 3128406 h 4749526"/>
              <a:gd name="connsiteX9303" fmla="*/ 3148136 w 7402822"/>
              <a:gd name="connsiteY9303" fmla="*/ 3125369 h 4749526"/>
              <a:gd name="connsiteX9304" fmla="*/ 3145101 w 7402822"/>
              <a:gd name="connsiteY9304" fmla="*/ 3122334 h 4749526"/>
              <a:gd name="connsiteX9305" fmla="*/ 3145101 w 7402822"/>
              <a:gd name="connsiteY9305" fmla="*/ 3119297 h 4749526"/>
              <a:gd name="connsiteX9306" fmla="*/ 3139029 w 7402822"/>
              <a:gd name="connsiteY9306" fmla="*/ 3122334 h 4749526"/>
              <a:gd name="connsiteX9307" fmla="*/ 3129922 w 7402822"/>
              <a:gd name="connsiteY9307" fmla="*/ 3116262 h 4749526"/>
              <a:gd name="connsiteX9308" fmla="*/ 3135994 w 7402822"/>
              <a:gd name="connsiteY9308" fmla="*/ 3110190 h 4749526"/>
              <a:gd name="connsiteX9309" fmla="*/ 3120815 w 7402822"/>
              <a:gd name="connsiteY9309" fmla="*/ 3110190 h 4749526"/>
              <a:gd name="connsiteX9310" fmla="*/ 3120815 w 7402822"/>
              <a:gd name="connsiteY9310" fmla="*/ 3104118 h 4749526"/>
              <a:gd name="connsiteX9311" fmla="*/ 3120815 w 7402822"/>
              <a:gd name="connsiteY9311" fmla="*/ 3095011 h 4749526"/>
              <a:gd name="connsiteX9312" fmla="*/ 3120815 w 7402822"/>
              <a:gd name="connsiteY9312" fmla="*/ 3088940 h 4749526"/>
              <a:gd name="connsiteX9313" fmla="*/ 3123850 w 7402822"/>
              <a:gd name="connsiteY9313" fmla="*/ 3085904 h 4749526"/>
              <a:gd name="connsiteX9314" fmla="*/ 3123850 w 7402822"/>
              <a:gd name="connsiteY9314" fmla="*/ 3082868 h 4749526"/>
              <a:gd name="connsiteX9315" fmla="*/ 3126886 w 7402822"/>
              <a:gd name="connsiteY9315" fmla="*/ 3073761 h 4749526"/>
              <a:gd name="connsiteX9316" fmla="*/ 3120815 w 7402822"/>
              <a:gd name="connsiteY9316" fmla="*/ 3073761 h 4749526"/>
              <a:gd name="connsiteX9317" fmla="*/ 3117779 w 7402822"/>
              <a:gd name="connsiteY9317" fmla="*/ 3070725 h 4749526"/>
              <a:gd name="connsiteX9318" fmla="*/ 3111707 w 7402822"/>
              <a:gd name="connsiteY9318" fmla="*/ 3061617 h 4749526"/>
              <a:gd name="connsiteX9319" fmla="*/ 3114743 w 7402822"/>
              <a:gd name="connsiteY9319" fmla="*/ 3058582 h 4749526"/>
              <a:gd name="connsiteX9320" fmla="*/ 3120815 w 7402822"/>
              <a:gd name="connsiteY9320" fmla="*/ 3046438 h 4749526"/>
              <a:gd name="connsiteX9321" fmla="*/ 3123850 w 7402822"/>
              <a:gd name="connsiteY9321" fmla="*/ 3037331 h 4749526"/>
              <a:gd name="connsiteX9322" fmla="*/ 3126886 w 7402822"/>
              <a:gd name="connsiteY9322" fmla="*/ 3031259 h 4749526"/>
              <a:gd name="connsiteX9323" fmla="*/ 3132958 w 7402822"/>
              <a:gd name="connsiteY9323" fmla="*/ 3010008 h 4749526"/>
              <a:gd name="connsiteX9324" fmla="*/ 3135994 w 7402822"/>
              <a:gd name="connsiteY9324" fmla="*/ 2985722 h 4749526"/>
              <a:gd name="connsiteX9325" fmla="*/ 3132958 w 7402822"/>
              <a:gd name="connsiteY9325" fmla="*/ 2970543 h 4749526"/>
              <a:gd name="connsiteX9326" fmla="*/ 3129922 w 7402822"/>
              <a:gd name="connsiteY9326" fmla="*/ 2952328 h 4749526"/>
              <a:gd name="connsiteX9327" fmla="*/ 3132958 w 7402822"/>
              <a:gd name="connsiteY9327" fmla="*/ 2946256 h 4749526"/>
              <a:gd name="connsiteX9328" fmla="*/ 3132958 w 7402822"/>
              <a:gd name="connsiteY9328" fmla="*/ 2940185 h 4749526"/>
              <a:gd name="connsiteX9329" fmla="*/ 3126886 w 7402822"/>
              <a:gd name="connsiteY9329" fmla="*/ 2934113 h 4749526"/>
              <a:gd name="connsiteX9330" fmla="*/ 3114743 w 7402822"/>
              <a:gd name="connsiteY9330" fmla="*/ 2918934 h 4749526"/>
              <a:gd name="connsiteX9331" fmla="*/ 3114743 w 7402822"/>
              <a:gd name="connsiteY9331" fmla="*/ 2912863 h 4749526"/>
              <a:gd name="connsiteX9332" fmla="*/ 3117779 w 7402822"/>
              <a:gd name="connsiteY9332" fmla="*/ 2900719 h 4749526"/>
              <a:gd name="connsiteX9333" fmla="*/ 3120815 w 7402822"/>
              <a:gd name="connsiteY9333" fmla="*/ 2897684 h 4749526"/>
              <a:gd name="connsiteX9334" fmla="*/ 3123850 w 7402822"/>
              <a:gd name="connsiteY9334" fmla="*/ 2894647 h 4749526"/>
              <a:gd name="connsiteX9335" fmla="*/ 3129922 w 7402822"/>
              <a:gd name="connsiteY9335" fmla="*/ 2888576 h 4749526"/>
              <a:gd name="connsiteX9336" fmla="*/ 3132958 w 7402822"/>
              <a:gd name="connsiteY9336" fmla="*/ 2876433 h 4749526"/>
              <a:gd name="connsiteX9337" fmla="*/ 3142065 w 7402822"/>
              <a:gd name="connsiteY9337" fmla="*/ 2858218 h 4749526"/>
              <a:gd name="connsiteX9338" fmla="*/ 3148136 w 7402822"/>
              <a:gd name="connsiteY9338" fmla="*/ 2855182 h 4749526"/>
              <a:gd name="connsiteX9339" fmla="*/ 3160280 w 7402822"/>
              <a:gd name="connsiteY9339" fmla="*/ 2833931 h 4749526"/>
              <a:gd name="connsiteX9340" fmla="*/ 3160280 w 7402822"/>
              <a:gd name="connsiteY9340" fmla="*/ 2824824 h 4749526"/>
              <a:gd name="connsiteX9341" fmla="*/ 3166352 w 7402822"/>
              <a:gd name="connsiteY9341" fmla="*/ 2812681 h 4749526"/>
              <a:gd name="connsiteX9342" fmla="*/ 3169387 w 7402822"/>
              <a:gd name="connsiteY9342" fmla="*/ 2806609 h 4749526"/>
              <a:gd name="connsiteX9343" fmla="*/ 3175459 w 7402822"/>
              <a:gd name="connsiteY9343" fmla="*/ 2803574 h 4749526"/>
              <a:gd name="connsiteX9344" fmla="*/ 3184566 w 7402822"/>
              <a:gd name="connsiteY9344" fmla="*/ 2797502 h 4749526"/>
              <a:gd name="connsiteX9345" fmla="*/ 3190638 w 7402822"/>
              <a:gd name="connsiteY9345" fmla="*/ 2785358 h 4749526"/>
              <a:gd name="connsiteX9346" fmla="*/ 3193674 w 7402822"/>
              <a:gd name="connsiteY9346" fmla="*/ 2773216 h 4749526"/>
              <a:gd name="connsiteX9347" fmla="*/ 3196710 w 7402822"/>
              <a:gd name="connsiteY9347" fmla="*/ 2770179 h 4749526"/>
              <a:gd name="connsiteX9348" fmla="*/ 3208853 w 7402822"/>
              <a:gd name="connsiteY9348" fmla="*/ 2767144 h 4749526"/>
              <a:gd name="connsiteX9349" fmla="*/ 3220996 w 7402822"/>
              <a:gd name="connsiteY9349" fmla="*/ 2764107 h 4749526"/>
              <a:gd name="connsiteX9350" fmla="*/ 3230104 w 7402822"/>
              <a:gd name="connsiteY9350" fmla="*/ 2755000 h 4749526"/>
              <a:gd name="connsiteX9351" fmla="*/ 3239211 w 7402822"/>
              <a:gd name="connsiteY9351" fmla="*/ 2748928 h 4749526"/>
              <a:gd name="connsiteX9352" fmla="*/ 3248318 w 7402822"/>
              <a:gd name="connsiteY9352" fmla="*/ 2742857 h 4749526"/>
              <a:gd name="connsiteX9353" fmla="*/ 3257425 w 7402822"/>
              <a:gd name="connsiteY9353" fmla="*/ 2733749 h 4749526"/>
              <a:gd name="connsiteX9354" fmla="*/ 3269569 w 7402822"/>
              <a:gd name="connsiteY9354" fmla="*/ 2709463 h 4749526"/>
              <a:gd name="connsiteX9355" fmla="*/ 3263497 w 7402822"/>
              <a:gd name="connsiteY9355" fmla="*/ 2688212 h 4749526"/>
              <a:gd name="connsiteX9356" fmla="*/ 3272604 w 7402822"/>
              <a:gd name="connsiteY9356" fmla="*/ 2669997 h 4749526"/>
              <a:gd name="connsiteX9357" fmla="*/ 3275641 w 7402822"/>
              <a:gd name="connsiteY9357" fmla="*/ 2660890 h 4749526"/>
              <a:gd name="connsiteX9358" fmla="*/ 3278676 w 7402822"/>
              <a:gd name="connsiteY9358" fmla="*/ 2654818 h 4749526"/>
              <a:gd name="connsiteX9359" fmla="*/ 3293855 w 7402822"/>
              <a:gd name="connsiteY9359" fmla="*/ 2639639 h 4749526"/>
              <a:gd name="connsiteX9360" fmla="*/ 3327249 w 7402822"/>
              <a:gd name="connsiteY9360" fmla="*/ 2621425 h 4749526"/>
              <a:gd name="connsiteX9361" fmla="*/ 3330285 w 7402822"/>
              <a:gd name="connsiteY9361" fmla="*/ 2615353 h 4749526"/>
              <a:gd name="connsiteX9362" fmla="*/ 3345465 w 7402822"/>
              <a:gd name="connsiteY9362" fmla="*/ 2578923 h 4749526"/>
              <a:gd name="connsiteX9363" fmla="*/ 3354054 w 7402822"/>
              <a:gd name="connsiteY9363" fmla="*/ 2573197 h 4749526"/>
              <a:gd name="connsiteX9364" fmla="*/ 3354572 w 7402822"/>
              <a:gd name="connsiteY9364" fmla="*/ 2573170 h 4749526"/>
              <a:gd name="connsiteX9365" fmla="*/ 3354572 w 7402822"/>
              <a:gd name="connsiteY9365" fmla="*/ 2575887 h 4749526"/>
              <a:gd name="connsiteX9366" fmla="*/ 3366714 w 7402822"/>
              <a:gd name="connsiteY9366" fmla="*/ 2591066 h 4749526"/>
              <a:gd name="connsiteX9367" fmla="*/ 3384930 w 7402822"/>
              <a:gd name="connsiteY9367" fmla="*/ 2594102 h 4749526"/>
              <a:gd name="connsiteX9368" fmla="*/ 3397073 w 7402822"/>
              <a:gd name="connsiteY9368" fmla="*/ 2594102 h 4749526"/>
              <a:gd name="connsiteX9369" fmla="*/ 3403144 w 7402822"/>
              <a:gd name="connsiteY9369" fmla="*/ 2591066 h 4749526"/>
              <a:gd name="connsiteX9370" fmla="*/ 3409216 w 7402822"/>
              <a:gd name="connsiteY9370" fmla="*/ 2594102 h 4749526"/>
              <a:gd name="connsiteX9371" fmla="*/ 3418324 w 7402822"/>
              <a:gd name="connsiteY9371" fmla="*/ 2594102 h 4749526"/>
              <a:gd name="connsiteX9372" fmla="*/ 3421360 w 7402822"/>
              <a:gd name="connsiteY9372" fmla="*/ 2594102 h 4749526"/>
              <a:gd name="connsiteX9373" fmla="*/ 3424395 w 7402822"/>
              <a:gd name="connsiteY9373" fmla="*/ 2594102 h 4749526"/>
              <a:gd name="connsiteX9374" fmla="*/ 3430467 w 7402822"/>
              <a:gd name="connsiteY9374" fmla="*/ 2594102 h 4749526"/>
              <a:gd name="connsiteX9375" fmla="*/ 3439575 w 7402822"/>
              <a:gd name="connsiteY9375" fmla="*/ 2584995 h 4749526"/>
              <a:gd name="connsiteX9376" fmla="*/ 3442610 w 7402822"/>
              <a:gd name="connsiteY9376" fmla="*/ 2581959 h 4749526"/>
              <a:gd name="connsiteX9377" fmla="*/ 3445646 w 7402822"/>
              <a:gd name="connsiteY9377" fmla="*/ 2578923 h 4749526"/>
              <a:gd name="connsiteX9378" fmla="*/ 3451717 w 7402822"/>
              <a:gd name="connsiteY9378" fmla="*/ 2578923 h 4749526"/>
              <a:gd name="connsiteX9379" fmla="*/ 3460825 w 7402822"/>
              <a:gd name="connsiteY9379" fmla="*/ 2575887 h 4749526"/>
              <a:gd name="connsiteX9380" fmla="*/ 3469933 w 7402822"/>
              <a:gd name="connsiteY9380" fmla="*/ 2569816 h 4749526"/>
              <a:gd name="connsiteX9381" fmla="*/ 3488147 w 7402822"/>
              <a:gd name="connsiteY9381" fmla="*/ 2560708 h 4749526"/>
              <a:gd name="connsiteX9382" fmla="*/ 3500291 w 7402822"/>
              <a:gd name="connsiteY9382" fmla="*/ 2557672 h 4749526"/>
              <a:gd name="connsiteX9383" fmla="*/ 3515470 w 7402822"/>
              <a:gd name="connsiteY9383" fmla="*/ 2554636 h 4749526"/>
              <a:gd name="connsiteX9384" fmla="*/ 3527613 w 7402822"/>
              <a:gd name="connsiteY9384" fmla="*/ 2554636 h 4749526"/>
              <a:gd name="connsiteX9385" fmla="*/ 3542792 w 7402822"/>
              <a:gd name="connsiteY9385" fmla="*/ 2551601 h 4749526"/>
              <a:gd name="connsiteX9386" fmla="*/ 3561006 w 7402822"/>
              <a:gd name="connsiteY9386" fmla="*/ 2548565 h 4749526"/>
              <a:gd name="connsiteX9387" fmla="*/ 3573150 w 7402822"/>
              <a:gd name="connsiteY9387" fmla="*/ 2554636 h 4749526"/>
              <a:gd name="connsiteX9388" fmla="*/ 3594401 w 7402822"/>
              <a:gd name="connsiteY9388" fmla="*/ 2551601 h 4749526"/>
              <a:gd name="connsiteX9389" fmla="*/ 3609580 w 7402822"/>
              <a:gd name="connsiteY9389" fmla="*/ 2548565 h 4749526"/>
              <a:gd name="connsiteX9390" fmla="*/ 3621723 w 7402822"/>
              <a:gd name="connsiteY9390" fmla="*/ 2545529 h 4749526"/>
              <a:gd name="connsiteX9391" fmla="*/ 3630830 w 7402822"/>
              <a:gd name="connsiteY9391" fmla="*/ 2551601 h 4749526"/>
              <a:gd name="connsiteX9392" fmla="*/ 3642974 w 7402822"/>
              <a:gd name="connsiteY9392" fmla="*/ 2548565 h 4749526"/>
              <a:gd name="connsiteX9393" fmla="*/ 3652081 w 7402822"/>
              <a:gd name="connsiteY9393" fmla="*/ 2542494 h 4749526"/>
              <a:gd name="connsiteX9394" fmla="*/ 3664224 w 7402822"/>
              <a:gd name="connsiteY9394" fmla="*/ 2539457 h 4749526"/>
              <a:gd name="connsiteX9395" fmla="*/ 3670295 w 7402822"/>
              <a:gd name="connsiteY9395" fmla="*/ 2539457 h 4749526"/>
              <a:gd name="connsiteX9396" fmla="*/ 3679404 w 7402822"/>
              <a:gd name="connsiteY9396" fmla="*/ 2542494 h 4749526"/>
              <a:gd name="connsiteX9397" fmla="*/ 3676367 w 7402822"/>
              <a:gd name="connsiteY9397" fmla="*/ 2542494 h 4749526"/>
              <a:gd name="connsiteX9398" fmla="*/ 3679404 w 7402822"/>
              <a:gd name="connsiteY9398" fmla="*/ 2551601 h 4749526"/>
              <a:gd name="connsiteX9399" fmla="*/ 3691546 w 7402822"/>
              <a:gd name="connsiteY9399" fmla="*/ 2545529 h 4749526"/>
              <a:gd name="connsiteX9400" fmla="*/ 3694583 w 7402822"/>
              <a:gd name="connsiteY9400" fmla="*/ 2545529 h 4749526"/>
              <a:gd name="connsiteX9401" fmla="*/ 3694583 w 7402822"/>
              <a:gd name="connsiteY9401" fmla="*/ 2548565 h 4749526"/>
              <a:gd name="connsiteX9402" fmla="*/ 3688511 w 7402822"/>
              <a:gd name="connsiteY9402" fmla="*/ 2557672 h 4749526"/>
              <a:gd name="connsiteX9403" fmla="*/ 3685474 w 7402822"/>
              <a:gd name="connsiteY9403" fmla="*/ 2560708 h 4749526"/>
              <a:gd name="connsiteX9404" fmla="*/ 3682439 w 7402822"/>
              <a:gd name="connsiteY9404" fmla="*/ 2563744 h 4749526"/>
              <a:gd name="connsiteX9405" fmla="*/ 3682439 w 7402822"/>
              <a:gd name="connsiteY9405" fmla="*/ 2572851 h 4749526"/>
              <a:gd name="connsiteX9406" fmla="*/ 3688511 w 7402822"/>
              <a:gd name="connsiteY9406" fmla="*/ 2578923 h 4749526"/>
              <a:gd name="connsiteX9407" fmla="*/ 3694583 w 7402822"/>
              <a:gd name="connsiteY9407" fmla="*/ 2591066 h 4749526"/>
              <a:gd name="connsiteX9408" fmla="*/ 3691546 w 7402822"/>
              <a:gd name="connsiteY9408" fmla="*/ 2600174 h 4749526"/>
              <a:gd name="connsiteX9409" fmla="*/ 3682439 w 7402822"/>
              <a:gd name="connsiteY9409" fmla="*/ 2609281 h 4749526"/>
              <a:gd name="connsiteX9410" fmla="*/ 3673332 w 7402822"/>
              <a:gd name="connsiteY9410" fmla="*/ 2621425 h 4749526"/>
              <a:gd name="connsiteX9411" fmla="*/ 3688511 w 7402822"/>
              <a:gd name="connsiteY9411" fmla="*/ 2636604 h 4749526"/>
              <a:gd name="connsiteX9412" fmla="*/ 3696101 w 7402822"/>
              <a:gd name="connsiteY9412" fmla="*/ 2642676 h 4749526"/>
              <a:gd name="connsiteX9413" fmla="*/ 3699136 w 7402822"/>
              <a:gd name="connsiteY9413" fmla="*/ 2639639 h 4749526"/>
              <a:gd name="connsiteX9414" fmla="*/ 3702173 w 7402822"/>
              <a:gd name="connsiteY9414" fmla="*/ 2642676 h 4749526"/>
              <a:gd name="connsiteX9415" fmla="*/ 3708243 w 7402822"/>
              <a:gd name="connsiteY9415" fmla="*/ 2645711 h 4749526"/>
              <a:gd name="connsiteX9416" fmla="*/ 3729493 w 7402822"/>
              <a:gd name="connsiteY9416" fmla="*/ 2651783 h 4749526"/>
              <a:gd name="connsiteX9417" fmla="*/ 3738601 w 7402822"/>
              <a:gd name="connsiteY9417" fmla="*/ 2648746 h 4749526"/>
              <a:gd name="connsiteX9418" fmla="*/ 3750744 w 7402822"/>
              <a:gd name="connsiteY9418" fmla="*/ 2651783 h 4749526"/>
              <a:gd name="connsiteX9419" fmla="*/ 3778066 w 7402822"/>
              <a:gd name="connsiteY9419" fmla="*/ 2660890 h 4749526"/>
              <a:gd name="connsiteX9420" fmla="*/ 3781103 w 7402822"/>
              <a:gd name="connsiteY9420" fmla="*/ 2669997 h 4749526"/>
              <a:gd name="connsiteX9421" fmla="*/ 3784138 w 7402822"/>
              <a:gd name="connsiteY9421" fmla="*/ 2679105 h 4749526"/>
              <a:gd name="connsiteX9422" fmla="*/ 3805389 w 7402822"/>
              <a:gd name="connsiteY9422" fmla="*/ 2691248 h 4749526"/>
              <a:gd name="connsiteX9423" fmla="*/ 3814497 w 7402822"/>
              <a:gd name="connsiteY9423" fmla="*/ 2691248 h 4749526"/>
              <a:gd name="connsiteX9424" fmla="*/ 3826640 w 7402822"/>
              <a:gd name="connsiteY9424" fmla="*/ 2694284 h 4749526"/>
              <a:gd name="connsiteX9425" fmla="*/ 3838784 w 7402822"/>
              <a:gd name="connsiteY9425" fmla="*/ 2700356 h 4749526"/>
              <a:gd name="connsiteX9426" fmla="*/ 3847891 w 7402822"/>
              <a:gd name="connsiteY9426" fmla="*/ 2709463 h 4749526"/>
              <a:gd name="connsiteX9427" fmla="*/ 3869142 w 7402822"/>
              <a:gd name="connsiteY9427" fmla="*/ 2709463 h 4749526"/>
              <a:gd name="connsiteX9428" fmla="*/ 3881284 w 7402822"/>
              <a:gd name="connsiteY9428" fmla="*/ 2691248 h 4749526"/>
              <a:gd name="connsiteX9429" fmla="*/ 3878249 w 7402822"/>
              <a:gd name="connsiteY9429" fmla="*/ 2666962 h 4749526"/>
              <a:gd name="connsiteX9430" fmla="*/ 3899500 w 7402822"/>
              <a:gd name="connsiteY9430" fmla="*/ 2651783 h 4749526"/>
              <a:gd name="connsiteX9431" fmla="*/ 3923786 w 7402822"/>
              <a:gd name="connsiteY9431" fmla="*/ 2648746 h 4749526"/>
              <a:gd name="connsiteX9432" fmla="*/ 3938965 w 7402822"/>
              <a:gd name="connsiteY9432" fmla="*/ 2654818 h 4749526"/>
              <a:gd name="connsiteX9433" fmla="*/ 3942001 w 7402822"/>
              <a:gd name="connsiteY9433" fmla="*/ 2654818 h 4749526"/>
              <a:gd name="connsiteX9434" fmla="*/ 3942001 w 7402822"/>
              <a:gd name="connsiteY9434" fmla="*/ 2660890 h 4749526"/>
              <a:gd name="connsiteX9435" fmla="*/ 3960216 w 7402822"/>
              <a:gd name="connsiteY9435" fmla="*/ 2669997 h 4749526"/>
              <a:gd name="connsiteX9436" fmla="*/ 3972359 w 7402822"/>
              <a:gd name="connsiteY9436" fmla="*/ 2669997 h 4749526"/>
              <a:gd name="connsiteX9437" fmla="*/ 3981466 w 7402822"/>
              <a:gd name="connsiteY9437" fmla="*/ 2673033 h 4749526"/>
              <a:gd name="connsiteX9438" fmla="*/ 3984503 w 7402822"/>
              <a:gd name="connsiteY9438" fmla="*/ 2679105 h 4749526"/>
              <a:gd name="connsiteX9439" fmla="*/ 3999682 w 7402822"/>
              <a:gd name="connsiteY9439" fmla="*/ 2679105 h 4749526"/>
              <a:gd name="connsiteX9440" fmla="*/ 4023968 w 7402822"/>
              <a:gd name="connsiteY9440" fmla="*/ 2685176 h 4749526"/>
              <a:gd name="connsiteX9441" fmla="*/ 4027004 w 7402822"/>
              <a:gd name="connsiteY9441" fmla="*/ 2688212 h 4749526"/>
              <a:gd name="connsiteX9442" fmla="*/ 4033075 w 7402822"/>
              <a:gd name="connsiteY9442" fmla="*/ 2691248 h 4749526"/>
              <a:gd name="connsiteX9443" fmla="*/ 4042183 w 7402822"/>
              <a:gd name="connsiteY9443" fmla="*/ 2694284 h 4749526"/>
              <a:gd name="connsiteX9444" fmla="*/ 4054326 w 7402822"/>
              <a:gd name="connsiteY9444" fmla="*/ 2694284 h 4749526"/>
              <a:gd name="connsiteX9445" fmla="*/ 4063434 w 7402822"/>
              <a:gd name="connsiteY9445" fmla="*/ 2700356 h 4749526"/>
              <a:gd name="connsiteX9446" fmla="*/ 4075576 w 7402822"/>
              <a:gd name="connsiteY9446" fmla="*/ 2694284 h 4749526"/>
              <a:gd name="connsiteX9447" fmla="*/ 4090755 w 7402822"/>
              <a:gd name="connsiteY9447" fmla="*/ 2688212 h 4749526"/>
              <a:gd name="connsiteX9448" fmla="*/ 4093792 w 7402822"/>
              <a:gd name="connsiteY9448" fmla="*/ 2685176 h 4749526"/>
              <a:gd name="connsiteX9449" fmla="*/ 4121114 w 7402822"/>
              <a:gd name="connsiteY9449" fmla="*/ 2682141 h 4749526"/>
              <a:gd name="connsiteX9450" fmla="*/ 4134907 w 7402822"/>
              <a:gd name="connsiteY9450" fmla="*/ 2690023 h 4749526"/>
              <a:gd name="connsiteX9451" fmla="*/ 4134907 w 7402822"/>
              <a:gd name="connsiteY9451" fmla="*/ 2690022 h 4749526"/>
              <a:gd name="connsiteX9452" fmla="*/ 4142363 w 7402822"/>
              <a:gd name="connsiteY9452" fmla="*/ 2694283 h 4749526"/>
              <a:gd name="connsiteX9453" fmla="*/ 4145399 w 7402822"/>
              <a:gd name="connsiteY9453" fmla="*/ 2694283 h 4749526"/>
              <a:gd name="connsiteX9454" fmla="*/ 4148434 w 7402822"/>
              <a:gd name="connsiteY9454" fmla="*/ 2691247 h 4749526"/>
              <a:gd name="connsiteX9455" fmla="*/ 4157543 w 7402822"/>
              <a:gd name="connsiteY9455" fmla="*/ 2694283 h 4749526"/>
              <a:gd name="connsiteX9456" fmla="*/ 4172722 w 7402822"/>
              <a:gd name="connsiteY9456" fmla="*/ 2688211 h 4749526"/>
              <a:gd name="connsiteX9457" fmla="*/ 4175757 w 7402822"/>
              <a:gd name="connsiteY9457" fmla="*/ 2682139 h 4749526"/>
              <a:gd name="connsiteX9458" fmla="*/ 4184864 w 7402822"/>
              <a:gd name="connsiteY9458" fmla="*/ 2654817 h 4749526"/>
              <a:gd name="connsiteX9459" fmla="*/ 4187901 w 7402822"/>
              <a:gd name="connsiteY9459" fmla="*/ 2645710 h 4749526"/>
              <a:gd name="connsiteX9460" fmla="*/ 4193972 w 7402822"/>
              <a:gd name="connsiteY9460" fmla="*/ 2639638 h 4749526"/>
              <a:gd name="connsiteX9461" fmla="*/ 4193972 w 7402822"/>
              <a:gd name="connsiteY9461" fmla="*/ 2633566 h 4749526"/>
              <a:gd name="connsiteX9462" fmla="*/ 4200044 w 7402822"/>
              <a:gd name="connsiteY9462" fmla="*/ 2621424 h 4749526"/>
              <a:gd name="connsiteX9463" fmla="*/ 4200044 w 7402822"/>
              <a:gd name="connsiteY9463" fmla="*/ 2615352 h 4749526"/>
              <a:gd name="connsiteX9464" fmla="*/ 4206115 w 7402822"/>
              <a:gd name="connsiteY9464" fmla="*/ 2609280 h 4749526"/>
              <a:gd name="connsiteX9465" fmla="*/ 4206115 w 7402822"/>
              <a:gd name="connsiteY9465" fmla="*/ 2606245 h 4749526"/>
              <a:gd name="connsiteX9466" fmla="*/ 4206115 w 7402822"/>
              <a:gd name="connsiteY9466" fmla="*/ 2603208 h 4749526"/>
              <a:gd name="connsiteX9467" fmla="*/ 4206115 w 7402822"/>
              <a:gd name="connsiteY9467" fmla="*/ 2597136 h 4749526"/>
              <a:gd name="connsiteX9468" fmla="*/ 4206115 w 7402822"/>
              <a:gd name="connsiteY9468" fmla="*/ 2584994 h 4749526"/>
              <a:gd name="connsiteX9469" fmla="*/ 4203079 w 7402822"/>
              <a:gd name="connsiteY9469" fmla="*/ 2581957 h 4749526"/>
              <a:gd name="connsiteX9470" fmla="*/ 4206115 w 7402822"/>
              <a:gd name="connsiteY9470" fmla="*/ 2572850 h 4749526"/>
              <a:gd name="connsiteX9471" fmla="*/ 4206115 w 7402822"/>
              <a:gd name="connsiteY9471" fmla="*/ 2569815 h 4749526"/>
              <a:gd name="connsiteX9472" fmla="*/ 4203080 w 7402822"/>
              <a:gd name="connsiteY9472" fmla="*/ 2563743 h 4749526"/>
              <a:gd name="connsiteX9473" fmla="*/ 4206115 w 7402822"/>
              <a:gd name="connsiteY9473" fmla="*/ 2560707 h 4749526"/>
              <a:gd name="connsiteX9474" fmla="*/ 4212187 w 7402822"/>
              <a:gd name="connsiteY9474" fmla="*/ 2554635 h 4749526"/>
              <a:gd name="connsiteX9475" fmla="*/ 4209152 w 7402822"/>
              <a:gd name="connsiteY9475" fmla="*/ 2548564 h 4749526"/>
              <a:gd name="connsiteX9476" fmla="*/ 4200044 w 7402822"/>
              <a:gd name="connsiteY9476" fmla="*/ 2557672 h 4749526"/>
              <a:gd name="connsiteX9477" fmla="*/ 4197008 w 7402822"/>
              <a:gd name="connsiteY9477" fmla="*/ 2557672 h 4749526"/>
              <a:gd name="connsiteX9478" fmla="*/ 4184864 w 7402822"/>
              <a:gd name="connsiteY9478" fmla="*/ 2554635 h 4749526"/>
              <a:gd name="connsiteX9479" fmla="*/ 4184864 w 7402822"/>
              <a:gd name="connsiteY9479" fmla="*/ 2551600 h 4749526"/>
              <a:gd name="connsiteX9480" fmla="*/ 4175757 w 7402822"/>
              <a:gd name="connsiteY9480" fmla="*/ 2554635 h 4749526"/>
              <a:gd name="connsiteX9481" fmla="*/ 4166650 w 7402822"/>
              <a:gd name="connsiteY9481" fmla="*/ 2563743 h 4749526"/>
              <a:gd name="connsiteX9482" fmla="*/ 4142363 w 7402822"/>
              <a:gd name="connsiteY9482" fmla="*/ 2569815 h 4749526"/>
              <a:gd name="connsiteX9483" fmla="*/ 4127184 w 7402822"/>
              <a:gd name="connsiteY9483" fmla="*/ 2560707 h 4749526"/>
              <a:gd name="connsiteX9484" fmla="*/ 4118077 w 7402822"/>
              <a:gd name="connsiteY9484" fmla="*/ 2554635 h 4749526"/>
              <a:gd name="connsiteX9485" fmla="*/ 4108970 w 7402822"/>
              <a:gd name="connsiteY9485" fmla="*/ 2551600 h 4749526"/>
              <a:gd name="connsiteX9486" fmla="*/ 4102898 w 7402822"/>
              <a:gd name="connsiteY9486" fmla="*/ 2551600 h 4749526"/>
              <a:gd name="connsiteX9487" fmla="*/ 4096826 w 7402822"/>
              <a:gd name="connsiteY9487" fmla="*/ 2554635 h 4749526"/>
              <a:gd name="connsiteX9488" fmla="*/ 4093791 w 7402822"/>
              <a:gd name="connsiteY9488" fmla="*/ 2563743 h 4749526"/>
              <a:gd name="connsiteX9489" fmla="*/ 4087719 w 7402822"/>
              <a:gd name="connsiteY9489" fmla="*/ 2563743 h 4749526"/>
              <a:gd name="connsiteX9490" fmla="*/ 4081647 w 7402822"/>
              <a:gd name="connsiteY9490" fmla="*/ 2566779 h 4749526"/>
              <a:gd name="connsiteX9491" fmla="*/ 4078612 w 7402822"/>
              <a:gd name="connsiteY9491" fmla="*/ 2566779 h 4749526"/>
              <a:gd name="connsiteX9492" fmla="*/ 4075575 w 7402822"/>
              <a:gd name="connsiteY9492" fmla="*/ 2566779 h 4749526"/>
              <a:gd name="connsiteX9493" fmla="*/ 4069504 w 7402822"/>
              <a:gd name="connsiteY9493" fmla="*/ 2563743 h 4749526"/>
              <a:gd name="connsiteX9494" fmla="*/ 4060396 w 7402822"/>
              <a:gd name="connsiteY9494" fmla="*/ 2554635 h 4749526"/>
              <a:gd name="connsiteX9495" fmla="*/ 4048253 w 7402822"/>
              <a:gd name="connsiteY9495" fmla="*/ 2545528 h 4749526"/>
              <a:gd name="connsiteX9496" fmla="*/ 4030038 w 7402822"/>
              <a:gd name="connsiteY9496" fmla="*/ 2545528 h 4749526"/>
              <a:gd name="connsiteX9497" fmla="*/ 4027003 w 7402822"/>
              <a:gd name="connsiteY9497" fmla="*/ 2533385 h 4749526"/>
              <a:gd name="connsiteX9498" fmla="*/ 4027003 w 7402822"/>
              <a:gd name="connsiteY9498" fmla="*/ 2521242 h 4749526"/>
              <a:gd name="connsiteX9499" fmla="*/ 4014860 w 7402822"/>
              <a:gd name="connsiteY9499" fmla="*/ 2518205 h 4749526"/>
              <a:gd name="connsiteX9500" fmla="*/ 4011823 w 7402822"/>
              <a:gd name="connsiteY9500" fmla="*/ 2518205 h 4749526"/>
              <a:gd name="connsiteX9501" fmla="*/ 4008788 w 7402822"/>
              <a:gd name="connsiteY9501" fmla="*/ 2515170 h 4749526"/>
              <a:gd name="connsiteX9502" fmla="*/ 4011823 w 7402822"/>
              <a:gd name="connsiteY9502" fmla="*/ 2503027 h 4749526"/>
              <a:gd name="connsiteX9503" fmla="*/ 4017895 w 7402822"/>
              <a:gd name="connsiteY9503" fmla="*/ 2503027 h 4749526"/>
              <a:gd name="connsiteX9504" fmla="*/ 4020931 w 7402822"/>
              <a:gd name="connsiteY9504" fmla="*/ 2496955 h 4749526"/>
              <a:gd name="connsiteX9505" fmla="*/ 4014860 w 7402822"/>
              <a:gd name="connsiteY9505" fmla="*/ 2487848 h 4749526"/>
              <a:gd name="connsiteX9506" fmla="*/ 4017895 w 7402822"/>
              <a:gd name="connsiteY9506" fmla="*/ 2484812 h 4749526"/>
              <a:gd name="connsiteX9507" fmla="*/ 4020931 w 7402822"/>
              <a:gd name="connsiteY9507" fmla="*/ 2481776 h 4749526"/>
              <a:gd name="connsiteX9508" fmla="*/ 4002716 w 7402822"/>
              <a:gd name="connsiteY9508" fmla="*/ 2481776 h 4749526"/>
              <a:gd name="connsiteX9509" fmla="*/ 4005752 w 7402822"/>
              <a:gd name="connsiteY9509" fmla="*/ 2466597 h 4749526"/>
              <a:gd name="connsiteX9510" fmla="*/ 4008788 w 7402822"/>
              <a:gd name="connsiteY9510" fmla="*/ 2469633 h 4749526"/>
              <a:gd name="connsiteX9511" fmla="*/ 4017895 w 7402822"/>
              <a:gd name="connsiteY9511" fmla="*/ 2460525 h 4749526"/>
              <a:gd name="connsiteX9512" fmla="*/ 4027003 w 7402822"/>
              <a:gd name="connsiteY9512" fmla="*/ 2454454 h 4749526"/>
              <a:gd name="connsiteX9513" fmla="*/ 4030038 w 7402822"/>
              <a:gd name="connsiteY9513" fmla="*/ 2457490 h 4749526"/>
              <a:gd name="connsiteX9514" fmla="*/ 4036110 w 7402822"/>
              <a:gd name="connsiteY9514" fmla="*/ 2460525 h 4749526"/>
              <a:gd name="connsiteX9515" fmla="*/ 4039146 w 7402822"/>
              <a:gd name="connsiteY9515" fmla="*/ 2457490 h 4749526"/>
              <a:gd name="connsiteX9516" fmla="*/ 4045217 w 7402822"/>
              <a:gd name="connsiteY9516" fmla="*/ 2454454 h 4749526"/>
              <a:gd name="connsiteX9517" fmla="*/ 4054325 w 7402822"/>
              <a:gd name="connsiteY9517" fmla="*/ 2457490 h 4749526"/>
              <a:gd name="connsiteX9518" fmla="*/ 4060396 w 7402822"/>
              <a:gd name="connsiteY9518" fmla="*/ 2454454 h 4749526"/>
              <a:gd name="connsiteX9519" fmla="*/ 4063433 w 7402822"/>
              <a:gd name="connsiteY9519" fmla="*/ 2451418 h 4749526"/>
              <a:gd name="connsiteX9520" fmla="*/ 4066468 w 7402822"/>
              <a:gd name="connsiteY9520" fmla="*/ 2442311 h 4749526"/>
              <a:gd name="connsiteX9521" fmla="*/ 4066468 w 7402822"/>
              <a:gd name="connsiteY9521" fmla="*/ 2433204 h 4749526"/>
              <a:gd name="connsiteX9522" fmla="*/ 4090754 w 7402822"/>
              <a:gd name="connsiteY9522" fmla="*/ 2436239 h 4749526"/>
              <a:gd name="connsiteX9523" fmla="*/ 4096826 w 7402822"/>
              <a:gd name="connsiteY9523" fmla="*/ 2436239 h 4749526"/>
              <a:gd name="connsiteX9524" fmla="*/ 4112005 w 7402822"/>
              <a:gd name="connsiteY9524" fmla="*/ 2436239 h 4749526"/>
              <a:gd name="connsiteX9525" fmla="*/ 4127184 w 7402822"/>
              <a:gd name="connsiteY9525" fmla="*/ 2424095 h 4749526"/>
              <a:gd name="connsiteX9526" fmla="*/ 4130220 w 7402822"/>
              <a:gd name="connsiteY9526" fmla="*/ 2424095 h 4749526"/>
              <a:gd name="connsiteX9527" fmla="*/ 4133256 w 7402822"/>
              <a:gd name="connsiteY9527" fmla="*/ 2421060 h 4749526"/>
              <a:gd name="connsiteX9528" fmla="*/ 4139328 w 7402822"/>
              <a:gd name="connsiteY9528" fmla="*/ 2418025 h 4749526"/>
              <a:gd name="connsiteX9529" fmla="*/ 4142363 w 7402822"/>
              <a:gd name="connsiteY9529" fmla="*/ 2418025 h 4749526"/>
              <a:gd name="connsiteX9530" fmla="*/ 4148435 w 7402822"/>
              <a:gd name="connsiteY9530" fmla="*/ 2414988 h 4749526"/>
              <a:gd name="connsiteX9531" fmla="*/ 4157543 w 7402822"/>
              <a:gd name="connsiteY9531" fmla="*/ 2411953 h 4749526"/>
              <a:gd name="connsiteX9532" fmla="*/ 4169685 w 7402822"/>
              <a:gd name="connsiteY9532" fmla="*/ 2414988 h 4749526"/>
              <a:gd name="connsiteX9533" fmla="*/ 4178793 w 7402822"/>
              <a:gd name="connsiteY9533" fmla="*/ 2414988 h 4749526"/>
              <a:gd name="connsiteX9534" fmla="*/ 4187901 w 7402822"/>
              <a:gd name="connsiteY9534" fmla="*/ 2411953 h 4749526"/>
              <a:gd name="connsiteX9535" fmla="*/ 4206115 w 7402822"/>
              <a:gd name="connsiteY9535" fmla="*/ 2424095 h 4749526"/>
              <a:gd name="connsiteX9536" fmla="*/ 4209152 w 7402822"/>
              <a:gd name="connsiteY9536" fmla="*/ 2421060 h 4749526"/>
              <a:gd name="connsiteX9537" fmla="*/ 4212187 w 7402822"/>
              <a:gd name="connsiteY9537" fmla="*/ 2427132 h 4749526"/>
              <a:gd name="connsiteX9538" fmla="*/ 4215224 w 7402822"/>
              <a:gd name="connsiteY9538" fmla="*/ 2433204 h 4749526"/>
              <a:gd name="connsiteX9539" fmla="*/ 4221294 w 7402822"/>
              <a:gd name="connsiteY9539" fmla="*/ 2430167 h 4749526"/>
              <a:gd name="connsiteX9540" fmla="*/ 4227366 w 7402822"/>
              <a:gd name="connsiteY9540" fmla="*/ 2433204 h 4749526"/>
              <a:gd name="connsiteX9541" fmla="*/ 4230403 w 7402822"/>
              <a:gd name="connsiteY9541" fmla="*/ 2433204 h 4749526"/>
              <a:gd name="connsiteX9542" fmla="*/ 4230403 w 7402822"/>
              <a:gd name="connsiteY9542" fmla="*/ 2436239 h 4749526"/>
              <a:gd name="connsiteX9543" fmla="*/ 4239510 w 7402822"/>
              <a:gd name="connsiteY9543" fmla="*/ 2439275 h 4749526"/>
              <a:gd name="connsiteX9544" fmla="*/ 4248617 w 7402822"/>
              <a:gd name="connsiteY9544" fmla="*/ 2442311 h 4749526"/>
              <a:gd name="connsiteX9545" fmla="*/ 4266832 w 7402822"/>
              <a:gd name="connsiteY9545" fmla="*/ 2439275 h 4749526"/>
              <a:gd name="connsiteX9546" fmla="*/ 4278975 w 7402822"/>
              <a:gd name="connsiteY9546" fmla="*/ 2439275 h 4749526"/>
              <a:gd name="connsiteX9547" fmla="*/ 4291118 w 7402822"/>
              <a:gd name="connsiteY9547" fmla="*/ 2442311 h 4749526"/>
              <a:gd name="connsiteX9548" fmla="*/ 4297190 w 7402822"/>
              <a:gd name="connsiteY9548" fmla="*/ 2442311 h 4749526"/>
              <a:gd name="connsiteX9549" fmla="*/ 4312369 w 7402822"/>
              <a:gd name="connsiteY9549" fmla="*/ 2433204 h 4749526"/>
              <a:gd name="connsiteX9550" fmla="*/ 4321476 w 7402822"/>
              <a:gd name="connsiteY9550" fmla="*/ 2427132 h 4749526"/>
              <a:gd name="connsiteX9551" fmla="*/ 4321476 w 7402822"/>
              <a:gd name="connsiteY9551" fmla="*/ 2424095 h 4749526"/>
              <a:gd name="connsiteX9552" fmla="*/ 4327548 w 7402822"/>
              <a:gd name="connsiteY9552" fmla="*/ 2408916 h 4749526"/>
              <a:gd name="connsiteX9553" fmla="*/ 4321476 w 7402822"/>
              <a:gd name="connsiteY9553" fmla="*/ 2398291 h 4749526"/>
              <a:gd name="connsiteX9554" fmla="*/ 4321476 w 7402822"/>
              <a:gd name="connsiteY9554" fmla="*/ 2395255 h 4749526"/>
              <a:gd name="connsiteX9555" fmla="*/ 4312369 w 7402822"/>
              <a:gd name="connsiteY9555" fmla="*/ 2389184 h 4749526"/>
              <a:gd name="connsiteX9556" fmla="*/ 4306297 w 7402822"/>
              <a:gd name="connsiteY9556" fmla="*/ 2386147 h 4749526"/>
              <a:gd name="connsiteX9557" fmla="*/ 4294155 w 7402822"/>
              <a:gd name="connsiteY9557" fmla="*/ 2377040 h 4749526"/>
              <a:gd name="connsiteX9558" fmla="*/ 4291118 w 7402822"/>
              <a:gd name="connsiteY9558" fmla="*/ 2377040 h 4749526"/>
              <a:gd name="connsiteX9559" fmla="*/ 4272904 w 7402822"/>
              <a:gd name="connsiteY9559" fmla="*/ 2358825 h 4749526"/>
              <a:gd name="connsiteX9560" fmla="*/ 4254689 w 7402822"/>
              <a:gd name="connsiteY9560" fmla="*/ 2346682 h 4749526"/>
              <a:gd name="connsiteX9561" fmla="*/ 4245581 w 7402822"/>
              <a:gd name="connsiteY9561" fmla="*/ 2340611 h 4749526"/>
              <a:gd name="connsiteX9562" fmla="*/ 4239510 w 7402822"/>
              <a:gd name="connsiteY9562" fmla="*/ 2337574 h 4749526"/>
              <a:gd name="connsiteX9563" fmla="*/ 4230403 w 7402822"/>
              <a:gd name="connsiteY9563" fmla="*/ 2331503 h 4749526"/>
              <a:gd name="connsiteX9564" fmla="*/ 4227366 w 7402822"/>
              <a:gd name="connsiteY9564" fmla="*/ 2322395 h 4749526"/>
              <a:gd name="connsiteX9565" fmla="*/ 4236474 w 7402822"/>
              <a:gd name="connsiteY9565" fmla="*/ 2322395 h 4749526"/>
              <a:gd name="connsiteX9566" fmla="*/ 4245581 w 7402822"/>
              <a:gd name="connsiteY9566" fmla="*/ 2307216 h 4749526"/>
              <a:gd name="connsiteX9567" fmla="*/ 4248617 w 7402822"/>
              <a:gd name="connsiteY9567" fmla="*/ 2301145 h 4749526"/>
              <a:gd name="connsiteX9568" fmla="*/ 4254689 w 7402822"/>
              <a:gd name="connsiteY9568" fmla="*/ 2298109 h 4749526"/>
              <a:gd name="connsiteX9569" fmla="*/ 4260760 w 7402822"/>
              <a:gd name="connsiteY9569" fmla="*/ 2298109 h 4749526"/>
              <a:gd name="connsiteX9570" fmla="*/ 4248617 w 7402822"/>
              <a:gd name="connsiteY9570" fmla="*/ 2289002 h 4749526"/>
              <a:gd name="connsiteX9571" fmla="*/ 4245581 w 7402822"/>
              <a:gd name="connsiteY9571" fmla="*/ 2279895 h 4749526"/>
              <a:gd name="connsiteX9572" fmla="*/ 4257724 w 7402822"/>
              <a:gd name="connsiteY9572" fmla="*/ 2273823 h 4749526"/>
              <a:gd name="connsiteX9573" fmla="*/ 4263796 w 7402822"/>
              <a:gd name="connsiteY9573" fmla="*/ 2273823 h 4749526"/>
              <a:gd name="connsiteX9574" fmla="*/ 4275939 w 7402822"/>
              <a:gd name="connsiteY9574" fmla="*/ 2267751 h 4749526"/>
              <a:gd name="connsiteX9575" fmla="*/ 4275939 w 7402822"/>
              <a:gd name="connsiteY9575" fmla="*/ 2264715 h 4749526"/>
              <a:gd name="connsiteX9576" fmla="*/ 4275939 w 7402822"/>
              <a:gd name="connsiteY9576" fmla="*/ 2261679 h 4749526"/>
              <a:gd name="connsiteX9577" fmla="*/ 4272904 w 7402822"/>
              <a:gd name="connsiteY9577" fmla="*/ 2261679 h 4749526"/>
              <a:gd name="connsiteX9578" fmla="*/ 4269868 w 7402822"/>
              <a:gd name="connsiteY9578" fmla="*/ 2261679 h 4749526"/>
              <a:gd name="connsiteX9579" fmla="*/ 4266832 w 7402822"/>
              <a:gd name="connsiteY9579" fmla="*/ 2264715 h 4749526"/>
              <a:gd name="connsiteX9580" fmla="*/ 4254689 w 7402822"/>
              <a:gd name="connsiteY9580" fmla="*/ 2267751 h 4749526"/>
              <a:gd name="connsiteX9581" fmla="*/ 4239510 w 7402822"/>
              <a:gd name="connsiteY9581" fmla="*/ 2267751 h 4749526"/>
              <a:gd name="connsiteX9582" fmla="*/ 4221294 w 7402822"/>
              <a:gd name="connsiteY9582" fmla="*/ 2276858 h 4749526"/>
              <a:gd name="connsiteX9583" fmla="*/ 4193973 w 7402822"/>
              <a:gd name="connsiteY9583" fmla="*/ 2289002 h 4749526"/>
              <a:gd name="connsiteX9584" fmla="*/ 4190936 w 7402822"/>
              <a:gd name="connsiteY9584" fmla="*/ 2285966 h 4749526"/>
              <a:gd name="connsiteX9585" fmla="*/ 4184864 w 7402822"/>
              <a:gd name="connsiteY9585" fmla="*/ 2295074 h 4749526"/>
              <a:gd name="connsiteX9586" fmla="*/ 4184864 w 7402822"/>
              <a:gd name="connsiteY9586" fmla="*/ 2298109 h 4749526"/>
              <a:gd name="connsiteX9587" fmla="*/ 4187901 w 7402822"/>
              <a:gd name="connsiteY9587" fmla="*/ 2310253 h 4749526"/>
              <a:gd name="connsiteX9588" fmla="*/ 4197008 w 7402822"/>
              <a:gd name="connsiteY9588" fmla="*/ 2322395 h 4749526"/>
              <a:gd name="connsiteX9589" fmla="*/ 4203080 w 7402822"/>
              <a:gd name="connsiteY9589" fmla="*/ 2319360 h 4749526"/>
              <a:gd name="connsiteX9590" fmla="*/ 4209152 w 7402822"/>
              <a:gd name="connsiteY9590" fmla="*/ 2316324 h 4749526"/>
              <a:gd name="connsiteX9591" fmla="*/ 4212187 w 7402822"/>
              <a:gd name="connsiteY9591" fmla="*/ 2316324 h 4749526"/>
              <a:gd name="connsiteX9592" fmla="*/ 4218259 w 7402822"/>
              <a:gd name="connsiteY9592" fmla="*/ 2316324 h 4749526"/>
              <a:gd name="connsiteX9593" fmla="*/ 4218259 w 7402822"/>
              <a:gd name="connsiteY9593" fmla="*/ 2328467 h 4749526"/>
              <a:gd name="connsiteX9594" fmla="*/ 4212187 w 7402822"/>
              <a:gd name="connsiteY9594" fmla="*/ 2328467 h 4749526"/>
              <a:gd name="connsiteX9595" fmla="*/ 4206115 w 7402822"/>
              <a:gd name="connsiteY9595" fmla="*/ 2328467 h 4749526"/>
              <a:gd name="connsiteX9596" fmla="*/ 4200044 w 7402822"/>
              <a:gd name="connsiteY9596" fmla="*/ 2325432 h 4749526"/>
              <a:gd name="connsiteX9597" fmla="*/ 4193973 w 7402822"/>
              <a:gd name="connsiteY9597" fmla="*/ 2328467 h 4749526"/>
              <a:gd name="connsiteX9598" fmla="*/ 4178793 w 7402822"/>
              <a:gd name="connsiteY9598" fmla="*/ 2337574 h 4749526"/>
              <a:gd name="connsiteX9599" fmla="*/ 4160578 w 7402822"/>
              <a:gd name="connsiteY9599" fmla="*/ 2346682 h 4749526"/>
              <a:gd name="connsiteX9600" fmla="*/ 4154507 w 7402822"/>
              <a:gd name="connsiteY9600" fmla="*/ 2340611 h 4749526"/>
              <a:gd name="connsiteX9601" fmla="*/ 4157543 w 7402822"/>
              <a:gd name="connsiteY9601" fmla="*/ 2340611 h 4749526"/>
              <a:gd name="connsiteX9602" fmla="*/ 4157543 w 7402822"/>
              <a:gd name="connsiteY9602" fmla="*/ 2334539 h 4749526"/>
              <a:gd name="connsiteX9603" fmla="*/ 4154507 w 7402822"/>
              <a:gd name="connsiteY9603" fmla="*/ 2325432 h 4749526"/>
              <a:gd name="connsiteX9604" fmla="*/ 4142363 w 7402822"/>
              <a:gd name="connsiteY9604" fmla="*/ 2319360 h 4749526"/>
              <a:gd name="connsiteX9605" fmla="*/ 4136292 w 7402822"/>
              <a:gd name="connsiteY9605" fmla="*/ 2319360 h 4749526"/>
              <a:gd name="connsiteX9606" fmla="*/ 4142363 w 7402822"/>
              <a:gd name="connsiteY9606" fmla="*/ 2313288 h 4749526"/>
              <a:gd name="connsiteX9607" fmla="*/ 4151471 w 7402822"/>
              <a:gd name="connsiteY9607" fmla="*/ 2307216 h 4749526"/>
              <a:gd name="connsiteX9608" fmla="*/ 4160578 w 7402822"/>
              <a:gd name="connsiteY9608" fmla="*/ 2304181 h 4749526"/>
              <a:gd name="connsiteX9609" fmla="*/ 4160578 w 7402822"/>
              <a:gd name="connsiteY9609" fmla="*/ 2298109 h 4749526"/>
              <a:gd name="connsiteX9610" fmla="*/ 4148435 w 7402822"/>
              <a:gd name="connsiteY9610" fmla="*/ 2295074 h 4749526"/>
              <a:gd name="connsiteX9611" fmla="*/ 4136292 w 7402822"/>
              <a:gd name="connsiteY9611" fmla="*/ 2298109 h 4749526"/>
              <a:gd name="connsiteX9612" fmla="*/ 4124149 w 7402822"/>
              <a:gd name="connsiteY9612" fmla="*/ 2289002 h 4749526"/>
              <a:gd name="connsiteX9613" fmla="*/ 4118077 w 7402822"/>
              <a:gd name="connsiteY9613" fmla="*/ 2282930 h 4749526"/>
              <a:gd name="connsiteX9614" fmla="*/ 4108970 w 7402822"/>
              <a:gd name="connsiteY9614" fmla="*/ 2282930 h 4749526"/>
              <a:gd name="connsiteX9615" fmla="*/ 4099863 w 7402822"/>
              <a:gd name="connsiteY9615" fmla="*/ 2285966 h 4749526"/>
              <a:gd name="connsiteX9616" fmla="*/ 4093791 w 7402822"/>
              <a:gd name="connsiteY9616" fmla="*/ 2298109 h 4749526"/>
              <a:gd name="connsiteX9617" fmla="*/ 4087719 w 7402822"/>
              <a:gd name="connsiteY9617" fmla="*/ 2304181 h 4749526"/>
              <a:gd name="connsiteX9618" fmla="*/ 4081647 w 7402822"/>
              <a:gd name="connsiteY9618" fmla="*/ 2304181 h 4749526"/>
              <a:gd name="connsiteX9619" fmla="*/ 4075575 w 7402822"/>
              <a:gd name="connsiteY9619" fmla="*/ 2310253 h 4749526"/>
              <a:gd name="connsiteX9620" fmla="*/ 4075575 w 7402822"/>
              <a:gd name="connsiteY9620" fmla="*/ 2316324 h 4749526"/>
              <a:gd name="connsiteX9621" fmla="*/ 4078612 w 7402822"/>
              <a:gd name="connsiteY9621" fmla="*/ 2316324 h 4749526"/>
              <a:gd name="connsiteX9622" fmla="*/ 4078612 w 7402822"/>
              <a:gd name="connsiteY9622" fmla="*/ 2322395 h 4749526"/>
              <a:gd name="connsiteX9623" fmla="*/ 4075575 w 7402822"/>
              <a:gd name="connsiteY9623" fmla="*/ 2334539 h 4749526"/>
              <a:gd name="connsiteX9624" fmla="*/ 4066468 w 7402822"/>
              <a:gd name="connsiteY9624" fmla="*/ 2337574 h 4749526"/>
              <a:gd name="connsiteX9625" fmla="*/ 4060396 w 7402822"/>
              <a:gd name="connsiteY9625" fmla="*/ 2340611 h 4749526"/>
              <a:gd name="connsiteX9626" fmla="*/ 4057361 w 7402822"/>
              <a:gd name="connsiteY9626" fmla="*/ 2349718 h 4749526"/>
              <a:gd name="connsiteX9627" fmla="*/ 4057361 w 7402822"/>
              <a:gd name="connsiteY9627" fmla="*/ 2352754 h 4749526"/>
              <a:gd name="connsiteX9628" fmla="*/ 4054325 w 7402822"/>
              <a:gd name="connsiteY9628" fmla="*/ 2364897 h 4749526"/>
              <a:gd name="connsiteX9629" fmla="*/ 4051289 w 7402822"/>
              <a:gd name="connsiteY9629" fmla="*/ 2374005 h 4749526"/>
              <a:gd name="connsiteX9630" fmla="*/ 4048253 w 7402822"/>
              <a:gd name="connsiteY9630" fmla="*/ 2374005 h 4749526"/>
              <a:gd name="connsiteX9631" fmla="*/ 4042182 w 7402822"/>
              <a:gd name="connsiteY9631" fmla="*/ 2383112 h 4749526"/>
              <a:gd name="connsiteX9632" fmla="*/ 4036110 w 7402822"/>
              <a:gd name="connsiteY9632" fmla="*/ 2404363 h 4749526"/>
              <a:gd name="connsiteX9633" fmla="*/ 4042182 w 7402822"/>
              <a:gd name="connsiteY9633" fmla="*/ 2414988 h 4749526"/>
              <a:gd name="connsiteX9634" fmla="*/ 4042182 w 7402822"/>
              <a:gd name="connsiteY9634" fmla="*/ 2418025 h 4749526"/>
              <a:gd name="connsiteX9635" fmla="*/ 4045217 w 7402822"/>
              <a:gd name="connsiteY9635" fmla="*/ 2424095 h 4749526"/>
              <a:gd name="connsiteX9636" fmla="*/ 4057361 w 7402822"/>
              <a:gd name="connsiteY9636" fmla="*/ 2430167 h 4749526"/>
              <a:gd name="connsiteX9637" fmla="*/ 4063433 w 7402822"/>
              <a:gd name="connsiteY9637" fmla="*/ 2433204 h 4749526"/>
              <a:gd name="connsiteX9638" fmla="*/ 4066468 w 7402822"/>
              <a:gd name="connsiteY9638" fmla="*/ 2433204 h 4749526"/>
              <a:gd name="connsiteX9639" fmla="*/ 4060396 w 7402822"/>
              <a:gd name="connsiteY9639" fmla="*/ 2442311 h 4749526"/>
              <a:gd name="connsiteX9640" fmla="*/ 4045217 w 7402822"/>
              <a:gd name="connsiteY9640" fmla="*/ 2439275 h 4749526"/>
              <a:gd name="connsiteX9641" fmla="*/ 4036110 w 7402822"/>
              <a:gd name="connsiteY9641" fmla="*/ 2439275 h 4749526"/>
              <a:gd name="connsiteX9642" fmla="*/ 4033074 w 7402822"/>
              <a:gd name="connsiteY9642" fmla="*/ 2442311 h 4749526"/>
              <a:gd name="connsiteX9643" fmla="*/ 4033074 w 7402822"/>
              <a:gd name="connsiteY9643" fmla="*/ 2445346 h 4749526"/>
              <a:gd name="connsiteX9644" fmla="*/ 4030038 w 7402822"/>
              <a:gd name="connsiteY9644" fmla="*/ 2448382 h 4749526"/>
              <a:gd name="connsiteX9645" fmla="*/ 4027003 w 7402822"/>
              <a:gd name="connsiteY9645" fmla="*/ 2451418 h 4749526"/>
              <a:gd name="connsiteX9646" fmla="*/ 4011823 w 7402822"/>
              <a:gd name="connsiteY9646" fmla="*/ 2463561 h 4749526"/>
              <a:gd name="connsiteX9647" fmla="*/ 4005752 w 7402822"/>
              <a:gd name="connsiteY9647" fmla="*/ 2466597 h 4749526"/>
              <a:gd name="connsiteX9648" fmla="*/ 4005752 w 7402822"/>
              <a:gd name="connsiteY9648" fmla="*/ 2460525 h 4749526"/>
              <a:gd name="connsiteX9649" fmla="*/ 4014860 w 7402822"/>
              <a:gd name="connsiteY9649" fmla="*/ 2454454 h 4749526"/>
              <a:gd name="connsiteX9650" fmla="*/ 4017895 w 7402822"/>
              <a:gd name="connsiteY9650" fmla="*/ 2451418 h 4749526"/>
              <a:gd name="connsiteX9651" fmla="*/ 4014860 w 7402822"/>
              <a:gd name="connsiteY9651" fmla="*/ 2451418 h 4749526"/>
              <a:gd name="connsiteX9652" fmla="*/ 4005752 w 7402822"/>
              <a:gd name="connsiteY9652" fmla="*/ 2451418 h 4749526"/>
              <a:gd name="connsiteX9653" fmla="*/ 4002716 w 7402822"/>
              <a:gd name="connsiteY9653" fmla="*/ 2448382 h 4749526"/>
              <a:gd name="connsiteX9654" fmla="*/ 4004916 w 7402822"/>
              <a:gd name="connsiteY9654" fmla="*/ 2446183 h 4749526"/>
              <a:gd name="connsiteX9655" fmla="*/ 4004915 w 7402822"/>
              <a:gd name="connsiteY9655" fmla="*/ 2446182 h 4749526"/>
              <a:gd name="connsiteX9656" fmla="*/ 4002715 w 7402822"/>
              <a:gd name="connsiteY9656" fmla="*/ 2448382 h 4749526"/>
              <a:gd name="connsiteX9657" fmla="*/ 3987536 w 7402822"/>
              <a:gd name="connsiteY9657" fmla="*/ 2442311 h 4749526"/>
              <a:gd name="connsiteX9658" fmla="*/ 3975393 w 7402822"/>
              <a:gd name="connsiteY9658" fmla="*/ 2445346 h 4749526"/>
              <a:gd name="connsiteX9659" fmla="*/ 3963250 w 7402822"/>
              <a:gd name="connsiteY9659" fmla="*/ 2445346 h 4749526"/>
              <a:gd name="connsiteX9660" fmla="*/ 3957178 w 7402822"/>
              <a:gd name="connsiteY9660" fmla="*/ 2445346 h 4749526"/>
              <a:gd name="connsiteX9661" fmla="*/ 3954142 w 7402822"/>
              <a:gd name="connsiteY9661" fmla="*/ 2454454 h 4749526"/>
              <a:gd name="connsiteX9662" fmla="*/ 3954142 w 7402822"/>
              <a:gd name="connsiteY9662" fmla="*/ 2460525 h 4749526"/>
              <a:gd name="connsiteX9663" fmla="*/ 3948071 w 7402822"/>
              <a:gd name="connsiteY9663" fmla="*/ 2460525 h 4749526"/>
              <a:gd name="connsiteX9664" fmla="*/ 3938963 w 7402822"/>
              <a:gd name="connsiteY9664" fmla="*/ 2451418 h 4749526"/>
              <a:gd name="connsiteX9665" fmla="*/ 3932892 w 7402822"/>
              <a:gd name="connsiteY9665" fmla="*/ 2454454 h 4749526"/>
              <a:gd name="connsiteX9666" fmla="*/ 3929856 w 7402822"/>
              <a:gd name="connsiteY9666" fmla="*/ 2463561 h 4749526"/>
              <a:gd name="connsiteX9667" fmla="*/ 3932892 w 7402822"/>
              <a:gd name="connsiteY9667" fmla="*/ 2469633 h 4749526"/>
              <a:gd name="connsiteX9668" fmla="*/ 3945035 w 7402822"/>
              <a:gd name="connsiteY9668" fmla="*/ 2487848 h 4749526"/>
              <a:gd name="connsiteX9669" fmla="*/ 3945035 w 7402822"/>
              <a:gd name="connsiteY9669" fmla="*/ 2490884 h 4749526"/>
              <a:gd name="connsiteX9670" fmla="*/ 3941999 w 7402822"/>
              <a:gd name="connsiteY9670" fmla="*/ 2490884 h 4749526"/>
              <a:gd name="connsiteX9671" fmla="*/ 3938963 w 7402822"/>
              <a:gd name="connsiteY9671" fmla="*/ 2484812 h 4749526"/>
              <a:gd name="connsiteX9672" fmla="*/ 3935927 w 7402822"/>
              <a:gd name="connsiteY9672" fmla="*/ 2490884 h 4749526"/>
              <a:gd name="connsiteX9673" fmla="*/ 3938963 w 7402822"/>
              <a:gd name="connsiteY9673" fmla="*/ 2490884 h 4749526"/>
              <a:gd name="connsiteX9674" fmla="*/ 3935927 w 7402822"/>
              <a:gd name="connsiteY9674" fmla="*/ 2496955 h 4749526"/>
              <a:gd name="connsiteX9675" fmla="*/ 3929856 w 7402822"/>
              <a:gd name="connsiteY9675" fmla="*/ 2496955 h 4749526"/>
              <a:gd name="connsiteX9676" fmla="*/ 3932892 w 7402822"/>
              <a:gd name="connsiteY9676" fmla="*/ 2499991 h 4749526"/>
              <a:gd name="connsiteX9677" fmla="*/ 3935927 w 7402822"/>
              <a:gd name="connsiteY9677" fmla="*/ 2499991 h 4749526"/>
              <a:gd name="connsiteX9678" fmla="*/ 3945035 w 7402822"/>
              <a:gd name="connsiteY9678" fmla="*/ 2493919 h 4749526"/>
              <a:gd name="connsiteX9679" fmla="*/ 3954142 w 7402822"/>
              <a:gd name="connsiteY9679" fmla="*/ 2503027 h 4749526"/>
              <a:gd name="connsiteX9680" fmla="*/ 3960214 w 7402822"/>
              <a:gd name="connsiteY9680" fmla="*/ 2503027 h 4749526"/>
              <a:gd name="connsiteX9681" fmla="*/ 3963250 w 7402822"/>
              <a:gd name="connsiteY9681" fmla="*/ 2509098 h 4749526"/>
              <a:gd name="connsiteX9682" fmla="*/ 3966285 w 7402822"/>
              <a:gd name="connsiteY9682" fmla="*/ 2515170 h 4749526"/>
              <a:gd name="connsiteX9683" fmla="*/ 3972357 w 7402822"/>
              <a:gd name="connsiteY9683" fmla="*/ 2518205 h 4749526"/>
              <a:gd name="connsiteX9684" fmla="*/ 3969322 w 7402822"/>
              <a:gd name="connsiteY9684" fmla="*/ 2521242 h 4749526"/>
              <a:gd name="connsiteX9685" fmla="*/ 3966285 w 7402822"/>
              <a:gd name="connsiteY9685" fmla="*/ 2518205 h 4749526"/>
              <a:gd name="connsiteX9686" fmla="*/ 3960214 w 7402822"/>
              <a:gd name="connsiteY9686" fmla="*/ 2509098 h 4749526"/>
              <a:gd name="connsiteX9687" fmla="*/ 3951106 w 7402822"/>
              <a:gd name="connsiteY9687" fmla="*/ 2506063 h 4749526"/>
              <a:gd name="connsiteX9688" fmla="*/ 3941999 w 7402822"/>
              <a:gd name="connsiteY9688" fmla="*/ 2499991 h 4749526"/>
              <a:gd name="connsiteX9689" fmla="*/ 3938963 w 7402822"/>
              <a:gd name="connsiteY9689" fmla="*/ 2499991 h 4749526"/>
              <a:gd name="connsiteX9690" fmla="*/ 3941999 w 7402822"/>
              <a:gd name="connsiteY9690" fmla="*/ 2503027 h 4749526"/>
              <a:gd name="connsiteX9691" fmla="*/ 3957178 w 7402822"/>
              <a:gd name="connsiteY9691" fmla="*/ 2512135 h 4749526"/>
              <a:gd name="connsiteX9692" fmla="*/ 3960214 w 7402822"/>
              <a:gd name="connsiteY9692" fmla="*/ 2515170 h 4749526"/>
              <a:gd name="connsiteX9693" fmla="*/ 3963250 w 7402822"/>
              <a:gd name="connsiteY9693" fmla="*/ 2524277 h 4749526"/>
              <a:gd name="connsiteX9694" fmla="*/ 3960214 w 7402822"/>
              <a:gd name="connsiteY9694" fmla="*/ 2530349 h 4749526"/>
              <a:gd name="connsiteX9695" fmla="*/ 3954142 w 7402822"/>
              <a:gd name="connsiteY9695" fmla="*/ 2527314 h 4749526"/>
              <a:gd name="connsiteX9696" fmla="*/ 3948071 w 7402822"/>
              <a:gd name="connsiteY9696" fmla="*/ 2521242 h 4749526"/>
              <a:gd name="connsiteX9697" fmla="*/ 3941999 w 7402822"/>
              <a:gd name="connsiteY9697" fmla="*/ 2521242 h 4749526"/>
              <a:gd name="connsiteX9698" fmla="*/ 3938963 w 7402822"/>
              <a:gd name="connsiteY9698" fmla="*/ 2527314 h 4749526"/>
              <a:gd name="connsiteX9699" fmla="*/ 3935927 w 7402822"/>
              <a:gd name="connsiteY9699" fmla="*/ 2536421 h 4749526"/>
              <a:gd name="connsiteX9700" fmla="*/ 3938963 w 7402822"/>
              <a:gd name="connsiteY9700" fmla="*/ 2542493 h 4749526"/>
              <a:gd name="connsiteX9701" fmla="*/ 3941999 w 7402822"/>
              <a:gd name="connsiteY9701" fmla="*/ 2557672 h 4749526"/>
              <a:gd name="connsiteX9702" fmla="*/ 3941999 w 7402822"/>
              <a:gd name="connsiteY9702" fmla="*/ 2560707 h 4749526"/>
              <a:gd name="connsiteX9703" fmla="*/ 3935927 w 7402822"/>
              <a:gd name="connsiteY9703" fmla="*/ 2551600 h 4749526"/>
              <a:gd name="connsiteX9704" fmla="*/ 3929856 w 7402822"/>
              <a:gd name="connsiteY9704" fmla="*/ 2551600 h 4749526"/>
              <a:gd name="connsiteX9705" fmla="*/ 3929856 w 7402822"/>
              <a:gd name="connsiteY9705" fmla="*/ 2560707 h 4749526"/>
              <a:gd name="connsiteX9706" fmla="*/ 3926820 w 7402822"/>
              <a:gd name="connsiteY9706" fmla="*/ 2560707 h 4749526"/>
              <a:gd name="connsiteX9707" fmla="*/ 3926820 w 7402822"/>
              <a:gd name="connsiteY9707" fmla="*/ 2554635 h 4749526"/>
              <a:gd name="connsiteX9708" fmla="*/ 3923784 w 7402822"/>
              <a:gd name="connsiteY9708" fmla="*/ 2548564 h 4749526"/>
              <a:gd name="connsiteX9709" fmla="*/ 3917712 w 7402822"/>
              <a:gd name="connsiteY9709" fmla="*/ 2545528 h 4749526"/>
              <a:gd name="connsiteX9710" fmla="*/ 3917712 w 7402822"/>
              <a:gd name="connsiteY9710" fmla="*/ 2551600 h 4749526"/>
              <a:gd name="connsiteX9711" fmla="*/ 3911641 w 7402822"/>
              <a:gd name="connsiteY9711" fmla="*/ 2545528 h 4749526"/>
              <a:gd name="connsiteX9712" fmla="*/ 3911641 w 7402822"/>
              <a:gd name="connsiteY9712" fmla="*/ 2542493 h 4749526"/>
              <a:gd name="connsiteX9713" fmla="*/ 3911641 w 7402822"/>
              <a:gd name="connsiteY9713" fmla="*/ 2539456 h 4749526"/>
              <a:gd name="connsiteX9714" fmla="*/ 3905570 w 7402822"/>
              <a:gd name="connsiteY9714" fmla="*/ 2530349 h 4749526"/>
              <a:gd name="connsiteX9715" fmla="*/ 3902533 w 7402822"/>
              <a:gd name="connsiteY9715" fmla="*/ 2521242 h 4749526"/>
              <a:gd name="connsiteX9716" fmla="*/ 3905570 w 7402822"/>
              <a:gd name="connsiteY9716" fmla="*/ 2515170 h 4749526"/>
              <a:gd name="connsiteX9717" fmla="*/ 3914677 w 7402822"/>
              <a:gd name="connsiteY9717" fmla="*/ 2515170 h 4749526"/>
              <a:gd name="connsiteX9718" fmla="*/ 3923784 w 7402822"/>
              <a:gd name="connsiteY9718" fmla="*/ 2515170 h 4749526"/>
              <a:gd name="connsiteX9719" fmla="*/ 3932892 w 7402822"/>
              <a:gd name="connsiteY9719" fmla="*/ 2521242 h 4749526"/>
              <a:gd name="connsiteX9720" fmla="*/ 3941999 w 7402822"/>
              <a:gd name="connsiteY9720" fmla="*/ 2518205 h 4749526"/>
              <a:gd name="connsiteX9721" fmla="*/ 3941999 w 7402822"/>
              <a:gd name="connsiteY9721" fmla="*/ 2515170 h 4749526"/>
              <a:gd name="connsiteX9722" fmla="*/ 3926820 w 7402822"/>
              <a:gd name="connsiteY9722" fmla="*/ 2509098 h 4749526"/>
              <a:gd name="connsiteX9723" fmla="*/ 3914677 w 7402822"/>
              <a:gd name="connsiteY9723" fmla="*/ 2509098 h 4749526"/>
              <a:gd name="connsiteX9724" fmla="*/ 3902533 w 7402822"/>
              <a:gd name="connsiteY9724" fmla="*/ 2512135 h 4749526"/>
              <a:gd name="connsiteX9725" fmla="*/ 3896462 w 7402822"/>
              <a:gd name="connsiteY9725" fmla="*/ 2503027 h 4749526"/>
              <a:gd name="connsiteX9726" fmla="*/ 3893426 w 7402822"/>
              <a:gd name="connsiteY9726" fmla="*/ 2499991 h 4749526"/>
              <a:gd name="connsiteX9727" fmla="*/ 3890391 w 7402822"/>
              <a:gd name="connsiteY9727" fmla="*/ 2490884 h 4749526"/>
              <a:gd name="connsiteX9728" fmla="*/ 3887354 w 7402822"/>
              <a:gd name="connsiteY9728" fmla="*/ 2487848 h 4749526"/>
              <a:gd name="connsiteX9729" fmla="*/ 3884319 w 7402822"/>
              <a:gd name="connsiteY9729" fmla="*/ 2487848 h 4749526"/>
              <a:gd name="connsiteX9730" fmla="*/ 3881282 w 7402822"/>
              <a:gd name="connsiteY9730" fmla="*/ 2481776 h 4749526"/>
              <a:gd name="connsiteX9731" fmla="*/ 3878247 w 7402822"/>
              <a:gd name="connsiteY9731" fmla="*/ 2475705 h 4749526"/>
              <a:gd name="connsiteX9732" fmla="*/ 3878248 w 7402822"/>
              <a:gd name="connsiteY9732" fmla="*/ 2475704 h 4749526"/>
              <a:gd name="connsiteX9733" fmla="*/ 3875213 w 7402822"/>
              <a:gd name="connsiteY9733" fmla="*/ 2466597 h 4749526"/>
              <a:gd name="connsiteX9734" fmla="*/ 3866104 w 7402822"/>
              <a:gd name="connsiteY9734" fmla="*/ 2463561 h 4749526"/>
              <a:gd name="connsiteX9735" fmla="*/ 3863069 w 7402822"/>
              <a:gd name="connsiteY9735" fmla="*/ 2454454 h 4749526"/>
              <a:gd name="connsiteX9736" fmla="*/ 3869141 w 7402822"/>
              <a:gd name="connsiteY9736" fmla="*/ 2424095 h 4749526"/>
              <a:gd name="connsiteX9737" fmla="*/ 3866104 w 7402822"/>
              <a:gd name="connsiteY9737" fmla="*/ 2418025 h 4749526"/>
              <a:gd name="connsiteX9738" fmla="*/ 3853962 w 7402822"/>
              <a:gd name="connsiteY9738" fmla="*/ 2408916 h 4749526"/>
              <a:gd name="connsiteX9739" fmla="*/ 3847890 w 7402822"/>
              <a:gd name="connsiteY9739" fmla="*/ 2404363 h 4749526"/>
              <a:gd name="connsiteX9740" fmla="*/ 3847890 w 7402822"/>
              <a:gd name="connsiteY9740" fmla="*/ 2401326 h 4749526"/>
              <a:gd name="connsiteX9741" fmla="*/ 3844854 w 7402822"/>
              <a:gd name="connsiteY9741" fmla="*/ 2398291 h 4749526"/>
              <a:gd name="connsiteX9742" fmla="*/ 3829675 w 7402822"/>
              <a:gd name="connsiteY9742" fmla="*/ 2392219 h 4749526"/>
              <a:gd name="connsiteX9743" fmla="*/ 3829675 w 7402822"/>
              <a:gd name="connsiteY9743" fmla="*/ 2389184 h 4749526"/>
              <a:gd name="connsiteX9744" fmla="*/ 3799317 w 7402822"/>
              <a:gd name="connsiteY9744" fmla="*/ 2370969 h 4749526"/>
              <a:gd name="connsiteX9745" fmla="*/ 3781103 w 7402822"/>
              <a:gd name="connsiteY9745" fmla="*/ 2358825 h 4749526"/>
              <a:gd name="connsiteX9746" fmla="*/ 3775031 w 7402822"/>
              <a:gd name="connsiteY9746" fmla="*/ 2346682 h 4749526"/>
              <a:gd name="connsiteX9747" fmla="*/ 3771994 w 7402822"/>
              <a:gd name="connsiteY9747" fmla="*/ 2334539 h 4749526"/>
              <a:gd name="connsiteX9748" fmla="*/ 3768959 w 7402822"/>
              <a:gd name="connsiteY9748" fmla="*/ 2322395 h 4749526"/>
              <a:gd name="connsiteX9749" fmla="*/ 3759852 w 7402822"/>
              <a:gd name="connsiteY9749" fmla="*/ 2322395 h 4749526"/>
              <a:gd name="connsiteX9750" fmla="*/ 3756815 w 7402822"/>
              <a:gd name="connsiteY9750" fmla="*/ 2331503 h 4749526"/>
              <a:gd name="connsiteX9751" fmla="*/ 3750744 w 7402822"/>
              <a:gd name="connsiteY9751" fmla="*/ 2334539 h 4749526"/>
              <a:gd name="connsiteX9752" fmla="*/ 3747708 w 7402822"/>
              <a:gd name="connsiteY9752" fmla="*/ 2328467 h 4749526"/>
              <a:gd name="connsiteX9753" fmla="*/ 3747708 w 7402822"/>
              <a:gd name="connsiteY9753" fmla="*/ 2313288 h 4749526"/>
              <a:gd name="connsiteX9754" fmla="*/ 3750744 w 7402822"/>
              <a:gd name="connsiteY9754" fmla="*/ 2310253 h 4749526"/>
              <a:gd name="connsiteX9755" fmla="*/ 3750743 w 7402822"/>
              <a:gd name="connsiteY9755" fmla="*/ 2310252 h 4749526"/>
              <a:gd name="connsiteX9756" fmla="*/ 3747707 w 7402822"/>
              <a:gd name="connsiteY9756" fmla="*/ 2313287 h 4749526"/>
              <a:gd name="connsiteX9757" fmla="*/ 3747707 w 7402822"/>
              <a:gd name="connsiteY9757" fmla="*/ 2310252 h 4749526"/>
              <a:gd name="connsiteX9758" fmla="*/ 3744672 w 7402822"/>
              <a:gd name="connsiteY9758" fmla="*/ 2307215 h 4749526"/>
              <a:gd name="connsiteX9759" fmla="*/ 3729492 w 7402822"/>
              <a:gd name="connsiteY9759" fmla="*/ 2310252 h 4749526"/>
              <a:gd name="connsiteX9760" fmla="*/ 3717349 w 7402822"/>
              <a:gd name="connsiteY9760" fmla="*/ 2316324 h 4749526"/>
              <a:gd name="connsiteX9761" fmla="*/ 3714313 w 7402822"/>
              <a:gd name="connsiteY9761" fmla="*/ 2322394 h 4749526"/>
              <a:gd name="connsiteX9762" fmla="*/ 3720385 w 7402822"/>
              <a:gd name="connsiteY9762" fmla="*/ 2322394 h 4749526"/>
              <a:gd name="connsiteX9763" fmla="*/ 3720385 w 7402822"/>
              <a:gd name="connsiteY9763" fmla="*/ 2325431 h 4749526"/>
              <a:gd name="connsiteX9764" fmla="*/ 3720385 w 7402822"/>
              <a:gd name="connsiteY9764" fmla="*/ 2328466 h 4749526"/>
              <a:gd name="connsiteX9765" fmla="*/ 3723421 w 7402822"/>
              <a:gd name="connsiteY9765" fmla="*/ 2331502 h 4749526"/>
              <a:gd name="connsiteX9766" fmla="*/ 3720385 w 7402822"/>
              <a:gd name="connsiteY9766" fmla="*/ 2334538 h 4749526"/>
              <a:gd name="connsiteX9767" fmla="*/ 3717349 w 7402822"/>
              <a:gd name="connsiteY9767" fmla="*/ 2334538 h 4749526"/>
              <a:gd name="connsiteX9768" fmla="*/ 3717349 w 7402822"/>
              <a:gd name="connsiteY9768" fmla="*/ 2343645 h 4749526"/>
              <a:gd name="connsiteX9769" fmla="*/ 3723421 w 7402822"/>
              <a:gd name="connsiteY9769" fmla="*/ 2355789 h 4749526"/>
              <a:gd name="connsiteX9770" fmla="*/ 3738600 w 7402822"/>
              <a:gd name="connsiteY9770" fmla="*/ 2367932 h 4749526"/>
              <a:gd name="connsiteX9771" fmla="*/ 3741635 w 7402822"/>
              <a:gd name="connsiteY9771" fmla="*/ 2367932 h 4749526"/>
              <a:gd name="connsiteX9772" fmla="*/ 3744672 w 7402822"/>
              <a:gd name="connsiteY9772" fmla="*/ 2374004 h 4749526"/>
              <a:gd name="connsiteX9773" fmla="*/ 3750743 w 7402822"/>
              <a:gd name="connsiteY9773" fmla="*/ 2389183 h 4749526"/>
              <a:gd name="connsiteX9774" fmla="*/ 3756814 w 7402822"/>
              <a:gd name="connsiteY9774" fmla="*/ 2401325 h 4749526"/>
              <a:gd name="connsiteX9775" fmla="*/ 3781102 w 7402822"/>
              <a:gd name="connsiteY9775" fmla="*/ 2414987 h 4749526"/>
              <a:gd name="connsiteX9776" fmla="*/ 3790209 w 7402822"/>
              <a:gd name="connsiteY9776" fmla="*/ 2414987 h 4749526"/>
              <a:gd name="connsiteX9777" fmla="*/ 3799316 w 7402822"/>
              <a:gd name="connsiteY9777" fmla="*/ 2418024 h 4749526"/>
              <a:gd name="connsiteX9778" fmla="*/ 3793244 w 7402822"/>
              <a:gd name="connsiteY9778" fmla="*/ 2424094 h 4749526"/>
              <a:gd name="connsiteX9779" fmla="*/ 3799316 w 7402822"/>
              <a:gd name="connsiteY9779" fmla="*/ 2430166 h 4749526"/>
              <a:gd name="connsiteX9780" fmla="*/ 3811459 w 7402822"/>
              <a:gd name="connsiteY9780" fmla="*/ 2436238 h 4749526"/>
              <a:gd name="connsiteX9781" fmla="*/ 3823602 w 7402822"/>
              <a:gd name="connsiteY9781" fmla="*/ 2442310 h 4749526"/>
              <a:gd name="connsiteX9782" fmla="*/ 3835746 w 7402822"/>
              <a:gd name="connsiteY9782" fmla="*/ 2451417 h 4749526"/>
              <a:gd name="connsiteX9783" fmla="*/ 3844853 w 7402822"/>
              <a:gd name="connsiteY9783" fmla="*/ 2460524 h 4749526"/>
              <a:gd name="connsiteX9784" fmla="*/ 3847889 w 7402822"/>
              <a:gd name="connsiteY9784" fmla="*/ 2466596 h 4749526"/>
              <a:gd name="connsiteX9785" fmla="*/ 3844853 w 7402822"/>
              <a:gd name="connsiteY9785" fmla="*/ 2472668 h 4749526"/>
              <a:gd name="connsiteX9786" fmla="*/ 3838782 w 7402822"/>
              <a:gd name="connsiteY9786" fmla="*/ 2469632 h 4749526"/>
              <a:gd name="connsiteX9787" fmla="*/ 3835746 w 7402822"/>
              <a:gd name="connsiteY9787" fmla="*/ 2463560 h 4749526"/>
              <a:gd name="connsiteX9788" fmla="*/ 3832710 w 7402822"/>
              <a:gd name="connsiteY9788" fmla="*/ 2460524 h 4749526"/>
              <a:gd name="connsiteX9789" fmla="*/ 3817531 w 7402822"/>
              <a:gd name="connsiteY9789" fmla="*/ 2454453 h 4749526"/>
              <a:gd name="connsiteX9790" fmla="*/ 3811459 w 7402822"/>
              <a:gd name="connsiteY9790" fmla="*/ 2460524 h 4749526"/>
              <a:gd name="connsiteX9791" fmla="*/ 3805388 w 7402822"/>
              <a:gd name="connsiteY9791" fmla="*/ 2472668 h 4749526"/>
              <a:gd name="connsiteX9792" fmla="*/ 3811459 w 7402822"/>
              <a:gd name="connsiteY9792" fmla="*/ 2478739 h 4749526"/>
              <a:gd name="connsiteX9793" fmla="*/ 3817531 w 7402822"/>
              <a:gd name="connsiteY9793" fmla="*/ 2484811 h 4749526"/>
              <a:gd name="connsiteX9794" fmla="*/ 3814495 w 7402822"/>
              <a:gd name="connsiteY9794" fmla="*/ 2496954 h 4749526"/>
              <a:gd name="connsiteX9795" fmla="*/ 3808423 w 7402822"/>
              <a:gd name="connsiteY9795" fmla="*/ 2499990 h 4749526"/>
              <a:gd name="connsiteX9796" fmla="*/ 3808423 w 7402822"/>
              <a:gd name="connsiteY9796" fmla="*/ 2506062 h 4749526"/>
              <a:gd name="connsiteX9797" fmla="*/ 3802352 w 7402822"/>
              <a:gd name="connsiteY9797" fmla="*/ 2515169 h 4749526"/>
              <a:gd name="connsiteX9798" fmla="*/ 3796281 w 7402822"/>
              <a:gd name="connsiteY9798" fmla="*/ 2521241 h 4749526"/>
              <a:gd name="connsiteX9799" fmla="*/ 3787172 w 7402822"/>
              <a:gd name="connsiteY9799" fmla="*/ 2521241 h 4749526"/>
              <a:gd name="connsiteX9800" fmla="*/ 3790209 w 7402822"/>
              <a:gd name="connsiteY9800" fmla="*/ 2515169 h 4749526"/>
              <a:gd name="connsiteX9801" fmla="*/ 3793244 w 7402822"/>
              <a:gd name="connsiteY9801" fmla="*/ 2509097 h 4749526"/>
              <a:gd name="connsiteX9802" fmla="*/ 3796281 w 7402822"/>
              <a:gd name="connsiteY9802" fmla="*/ 2503026 h 4749526"/>
              <a:gd name="connsiteX9803" fmla="*/ 3799316 w 7402822"/>
              <a:gd name="connsiteY9803" fmla="*/ 2496954 h 4749526"/>
              <a:gd name="connsiteX9804" fmla="*/ 3796281 w 7402822"/>
              <a:gd name="connsiteY9804" fmla="*/ 2484811 h 4749526"/>
              <a:gd name="connsiteX9805" fmla="*/ 3790209 w 7402822"/>
              <a:gd name="connsiteY9805" fmla="*/ 2469632 h 4749526"/>
              <a:gd name="connsiteX9806" fmla="*/ 3784137 w 7402822"/>
              <a:gd name="connsiteY9806" fmla="*/ 2463560 h 4749526"/>
              <a:gd name="connsiteX9807" fmla="*/ 3771993 w 7402822"/>
              <a:gd name="connsiteY9807" fmla="*/ 2460524 h 4749526"/>
              <a:gd name="connsiteX9808" fmla="*/ 3771993 w 7402822"/>
              <a:gd name="connsiteY9808" fmla="*/ 2454453 h 4749526"/>
              <a:gd name="connsiteX9809" fmla="*/ 3768958 w 7402822"/>
              <a:gd name="connsiteY9809" fmla="*/ 2448382 h 4749526"/>
              <a:gd name="connsiteX9810" fmla="*/ 3750743 w 7402822"/>
              <a:gd name="connsiteY9810" fmla="*/ 2439274 h 4749526"/>
              <a:gd name="connsiteX9811" fmla="*/ 3744672 w 7402822"/>
              <a:gd name="connsiteY9811" fmla="*/ 2433203 h 4749526"/>
              <a:gd name="connsiteX9812" fmla="*/ 3732528 w 7402822"/>
              <a:gd name="connsiteY9812" fmla="*/ 2433203 h 4749526"/>
              <a:gd name="connsiteX9813" fmla="*/ 3717349 w 7402822"/>
              <a:gd name="connsiteY9813" fmla="*/ 2421059 h 4749526"/>
              <a:gd name="connsiteX9814" fmla="*/ 3708242 w 7402822"/>
              <a:gd name="connsiteY9814" fmla="*/ 2411952 h 4749526"/>
              <a:gd name="connsiteX9815" fmla="*/ 3699134 w 7402822"/>
              <a:gd name="connsiteY9815" fmla="*/ 2404362 h 4749526"/>
              <a:gd name="connsiteX9816" fmla="*/ 3688509 w 7402822"/>
              <a:gd name="connsiteY9816" fmla="*/ 2389183 h 4749526"/>
              <a:gd name="connsiteX9817" fmla="*/ 3685472 w 7402822"/>
              <a:gd name="connsiteY9817" fmla="*/ 2383111 h 4749526"/>
              <a:gd name="connsiteX9818" fmla="*/ 3682437 w 7402822"/>
              <a:gd name="connsiteY9818" fmla="*/ 2377039 h 4749526"/>
              <a:gd name="connsiteX9819" fmla="*/ 3679402 w 7402822"/>
              <a:gd name="connsiteY9819" fmla="*/ 2361860 h 4749526"/>
              <a:gd name="connsiteX9820" fmla="*/ 3670293 w 7402822"/>
              <a:gd name="connsiteY9820" fmla="*/ 2355789 h 4749526"/>
              <a:gd name="connsiteX9821" fmla="*/ 3658151 w 7402822"/>
              <a:gd name="connsiteY9821" fmla="*/ 2349717 h 4749526"/>
              <a:gd name="connsiteX9822" fmla="*/ 3649043 w 7402822"/>
              <a:gd name="connsiteY9822" fmla="*/ 2346681 h 4749526"/>
              <a:gd name="connsiteX9823" fmla="*/ 3639935 w 7402822"/>
              <a:gd name="connsiteY9823" fmla="*/ 2352753 h 4749526"/>
              <a:gd name="connsiteX9824" fmla="*/ 3633864 w 7402822"/>
              <a:gd name="connsiteY9824" fmla="*/ 2361860 h 4749526"/>
              <a:gd name="connsiteX9825" fmla="*/ 3621722 w 7402822"/>
              <a:gd name="connsiteY9825" fmla="*/ 2364896 h 4749526"/>
              <a:gd name="connsiteX9826" fmla="*/ 3621721 w 7402822"/>
              <a:gd name="connsiteY9826" fmla="*/ 2364896 h 4749526"/>
              <a:gd name="connsiteX9827" fmla="*/ 3618686 w 7402822"/>
              <a:gd name="connsiteY9827" fmla="*/ 2364896 h 4749526"/>
              <a:gd name="connsiteX9828" fmla="*/ 3615650 w 7402822"/>
              <a:gd name="connsiteY9828" fmla="*/ 2367932 h 4749526"/>
              <a:gd name="connsiteX9829" fmla="*/ 3606543 w 7402822"/>
              <a:gd name="connsiteY9829" fmla="*/ 2374004 h 4749526"/>
              <a:gd name="connsiteX9830" fmla="*/ 3594400 w 7402822"/>
              <a:gd name="connsiteY9830" fmla="*/ 2383111 h 4749526"/>
              <a:gd name="connsiteX9831" fmla="*/ 3576184 w 7402822"/>
              <a:gd name="connsiteY9831" fmla="*/ 2380075 h 4749526"/>
              <a:gd name="connsiteX9832" fmla="*/ 3573149 w 7402822"/>
              <a:gd name="connsiteY9832" fmla="*/ 2377039 h 4749526"/>
              <a:gd name="connsiteX9833" fmla="*/ 3567077 w 7402822"/>
              <a:gd name="connsiteY9833" fmla="*/ 2377039 h 4749526"/>
              <a:gd name="connsiteX9834" fmla="*/ 3564042 w 7402822"/>
              <a:gd name="connsiteY9834" fmla="*/ 2370968 h 4749526"/>
              <a:gd name="connsiteX9835" fmla="*/ 3557970 w 7402822"/>
              <a:gd name="connsiteY9835" fmla="*/ 2374004 h 4749526"/>
              <a:gd name="connsiteX9836" fmla="*/ 3548863 w 7402822"/>
              <a:gd name="connsiteY9836" fmla="*/ 2370968 h 4749526"/>
              <a:gd name="connsiteX9837" fmla="*/ 3545826 w 7402822"/>
              <a:gd name="connsiteY9837" fmla="*/ 2370968 h 4749526"/>
              <a:gd name="connsiteX9838" fmla="*/ 3539755 w 7402822"/>
              <a:gd name="connsiteY9838" fmla="*/ 2377039 h 4749526"/>
              <a:gd name="connsiteX9839" fmla="*/ 3533683 w 7402822"/>
              <a:gd name="connsiteY9839" fmla="*/ 2380075 h 4749526"/>
              <a:gd name="connsiteX9840" fmla="*/ 3533683 w 7402822"/>
              <a:gd name="connsiteY9840" fmla="*/ 2397531 h 4749526"/>
              <a:gd name="connsiteX9841" fmla="*/ 3533683 w 7402822"/>
              <a:gd name="connsiteY9841" fmla="*/ 2401325 h 4749526"/>
              <a:gd name="connsiteX9842" fmla="*/ 3531154 w 7402822"/>
              <a:gd name="connsiteY9842" fmla="*/ 2401325 h 4749526"/>
              <a:gd name="connsiteX9843" fmla="*/ 3531154 w 7402822"/>
              <a:gd name="connsiteY9843" fmla="*/ 2401326 h 4749526"/>
              <a:gd name="connsiteX9844" fmla="*/ 3533683 w 7402822"/>
              <a:gd name="connsiteY9844" fmla="*/ 2401326 h 4749526"/>
              <a:gd name="connsiteX9845" fmla="*/ 3533683 w 7402822"/>
              <a:gd name="connsiteY9845" fmla="*/ 2407398 h 4749526"/>
              <a:gd name="connsiteX9846" fmla="*/ 3533683 w 7402822"/>
              <a:gd name="connsiteY9846" fmla="*/ 2414987 h 4749526"/>
              <a:gd name="connsiteX9847" fmla="*/ 3527612 w 7402822"/>
              <a:gd name="connsiteY9847" fmla="*/ 2421060 h 4749526"/>
              <a:gd name="connsiteX9848" fmla="*/ 3509397 w 7402822"/>
              <a:gd name="connsiteY9848" fmla="*/ 2430167 h 4749526"/>
              <a:gd name="connsiteX9849" fmla="*/ 3491182 w 7402822"/>
              <a:gd name="connsiteY9849" fmla="*/ 2436239 h 4749526"/>
              <a:gd name="connsiteX9850" fmla="*/ 3482074 w 7402822"/>
              <a:gd name="connsiteY9850" fmla="*/ 2442311 h 4749526"/>
              <a:gd name="connsiteX9851" fmla="*/ 3485111 w 7402822"/>
              <a:gd name="connsiteY9851" fmla="*/ 2448382 h 4749526"/>
              <a:gd name="connsiteX9852" fmla="*/ 3476003 w 7402822"/>
              <a:gd name="connsiteY9852" fmla="*/ 2457490 h 4749526"/>
              <a:gd name="connsiteX9853" fmla="*/ 3472967 w 7402822"/>
              <a:gd name="connsiteY9853" fmla="*/ 2463561 h 4749526"/>
              <a:gd name="connsiteX9854" fmla="*/ 3469932 w 7402822"/>
              <a:gd name="connsiteY9854" fmla="*/ 2466597 h 4749526"/>
              <a:gd name="connsiteX9855" fmla="*/ 3466895 w 7402822"/>
              <a:gd name="connsiteY9855" fmla="*/ 2466597 h 4749526"/>
              <a:gd name="connsiteX9856" fmla="*/ 3460823 w 7402822"/>
              <a:gd name="connsiteY9856" fmla="*/ 2478740 h 4749526"/>
              <a:gd name="connsiteX9857" fmla="*/ 3460823 w 7402822"/>
              <a:gd name="connsiteY9857" fmla="*/ 2493919 h 4749526"/>
              <a:gd name="connsiteX9858" fmla="*/ 3469932 w 7402822"/>
              <a:gd name="connsiteY9858" fmla="*/ 2503027 h 4749526"/>
              <a:gd name="connsiteX9859" fmla="*/ 3454753 w 7402822"/>
              <a:gd name="connsiteY9859" fmla="*/ 2515170 h 4749526"/>
              <a:gd name="connsiteX9860" fmla="*/ 3448681 w 7402822"/>
              <a:gd name="connsiteY9860" fmla="*/ 2524277 h 4749526"/>
              <a:gd name="connsiteX9861" fmla="*/ 3451716 w 7402822"/>
              <a:gd name="connsiteY9861" fmla="*/ 2530349 h 4749526"/>
              <a:gd name="connsiteX9862" fmla="*/ 3430466 w 7402822"/>
              <a:gd name="connsiteY9862" fmla="*/ 2539456 h 4749526"/>
              <a:gd name="connsiteX9863" fmla="*/ 3424394 w 7402822"/>
              <a:gd name="connsiteY9863" fmla="*/ 2551600 h 4749526"/>
              <a:gd name="connsiteX9864" fmla="*/ 3418323 w 7402822"/>
              <a:gd name="connsiteY9864" fmla="*/ 2551600 h 4749526"/>
              <a:gd name="connsiteX9865" fmla="*/ 3415287 w 7402822"/>
              <a:gd name="connsiteY9865" fmla="*/ 2551600 h 4749526"/>
              <a:gd name="connsiteX9866" fmla="*/ 3412251 w 7402822"/>
              <a:gd name="connsiteY9866" fmla="*/ 2554635 h 4749526"/>
              <a:gd name="connsiteX9867" fmla="*/ 3406179 w 7402822"/>
              <a:gd name="connsiteY9867" fmla="*/ 2551600 h 4749526"/>
              <a:gd name="connsiteX9868" fmla="*/ 3378857 w 7402822"/>
              <a:gd name="connsiteY9868" fmla="*/ 2554635 h 4749526"/>
              <a:gd name="connsiteX9869" fmla="*/ 3375821 w 7402822"/>
              <a:gd name="connsiteY9869" fmla="*/ 2554635 h 4749526"/>
              <a:gd name="connsiteX9870" fmla="*/ 3369750 w 7402822"/>
              <a:gd name="connsiteY9870" fmla="*/ 2560707 h 4749526"/>
              <a:gd name="connsiteX9871" fmla="*/ 3366713 w 7402822"/>
              <a:gd name="connsiteY9871" fmla="*/ 2560707 h 4749526"/>
              <a:gd name="connsiteX9872" fmla="*/ 3354571 w 7402822"/>
              <a:gd name="connsiteY9872" fmla="*/ 2566779 h 4749526"/>
              <a:gd name="connsiteX9873" fmla="*/ 3354571 w 7402822"/>
              <a:gd name="connsiteY9873" fmla="*/ 2569815 h 4749526"/>
              <a:gd name="connsiteX9874" fmla="*/ 3348499 w 7402822"/>
              <a:gd name="connsiteY9874" fmla="*/ 2569815 h 4749526"/>
              <a:gd name="connsiteX9875" fmla="*/ 3339392 w 7402822"/>
              <a:gd name="connsiteY9875" fmla="*/ 2563743 h 4749526"/>
              <a:gd name="connsiteX9876" fmla="*/ 3333320 w 7402822"/>
              <a:gd name="connsiteY9876" fmla="*/ 2554635 h 4749526"/>
              <a:gd name="connsiteX9877" fmla="*/ 3333320 w 7402822"/>
              <a:gd name="connsiteY9877" fmla="*/ 2548564 h 4749526"/>
              <a:gd name="connsiteX9878" fmla="*/ 3327248 w 7402822"/>
              <a:gd name="connsiteY9878" fmla="*/ 2542493 h 4749526"/>
              <a:gd name="connsiteX9879" fmla="*/ 3315105 w 7402822"/>
              <a:gd name="connsiteY9879" fmla="*/ 2542493 h 4749526"/>
              <a:gd name="connsiteX9880" fmla="*/ 3314386 w 7402822"/>
              <a:gd name="connsiteY9880" fmla="*/ 2540335 h 4749526"/>
              <a:gd name="connsiteX9881" fmla="*/ 3314385 w 7402822"/>
              <a:gd name="connsiteY9881" fmla="*/ 2540335 h 4749526"/>
              <a:gd name="connsiteX9882" fmla="*/ 3315104 w 7402822"/>
              <a:gd name="connsiteY9882" fmla="*/ 2542493 h 4749526"/>
              <a:gd name="connsiteX9883" fmla="*/ 3312068 w 7402822"/>
              <a:gd name="connsiteY9883" fmla="*/ 2542493 h 4749526"/>
              <a:gd name="connsiteX9884" fmla="*/ 3305997 w 7402822"/>
              <a:gd name="connsiteY9884" fmla="*/ 2545528 h 4749526"/>
              <a:gd name="connsiteX9885" fmla="*/ 3293853 w 7402822"/>
              <a:gd name="connsiteY9885" fmla="*/ 2545528 h 4749526"/>
              <a:gd name="connsiteX9886" fmla="*/ 3284746 w 7402822"/>
              <a:gd name="connsiteY9886" fmla="*/ 2539456 h 4749526"/>
              <a:gd name="connsiteX9887" fmla="*/ 3284746 w 7402822"/>
              <a:gd name="connsiteY9887" fmla="*/ 2530349 h 4749526"/>
              <a:gd name="connsiteX9888" fmla="*/ 3284746 w 7402822"/>
              <a:gd name="connsiteY9888" fmla="*/ 2515170 h 4749526"/>
              <a:gd name="connsiteX9889" fmla="*/ 3281710 w 7402822"/>
              <a:gd name="connsiteY9889" fmla="*/ 2509098 h 4749526"/>
              <a:gd name="connsiteX9890" fmla="*/ 3278674 w 7402822"/>
              <a:gd name="connsiteY9890" fmla="*/ 2509098 h 4749526"/>
              <a:gd name="connsiteX9891" fmla="*/ 3278674 w 7402822"/>
              <a:gd name="connsiteY9891" fmla="*/ 2499991 h 4749526"/>
              <a:gd name="connsiteX9892" fmla="*/ 3269567 w 7402822"/>
              <a:gd name="connsiteY9892" fmla="*/ 2503027 h 4749526"/>
              <a:gd name="connsiteX9893" fmla="*/ 3281710 w 7402822"/>
              <a:gd name="connsiteY9893" fmla="*/ 2469633 h 4749526"/>
              <a:gd name="connsiteX9894" fmla="*/ 3287782 w 7402822"/>
              <a:gd name="connsiteY9894" fmla="*/ 2436239 h 4749526"/>
              <a:gd name="connsiteX9895" fmla="*/ 3284746 w 7402822"/>
              <a:gd name="connsiteY9895" fmla="*/ 2427132 h 4749526"/>
              <a:gd name="connsiteX9896" fmla="*/ 3284746 w 7402822"/>
              <a:gd name="connsiteY9896" fmla="*/ 2414988 h 4749526"/>
              <a:gd name="connsiteX9897" fmla="*/ 3287783 w 7402822"/>
              <a:gd name="connsiteY9897" fmla="*/ 2413470 h 4749526"/>
              <a:gd name="connsiteX9898" fmla="*/ 3284747 w 7402822"/>
              <a:gd name="connsiteY9898" fmla="*/ 2414987 h 4749526"/>
              <a:gd name="connsiteX9899" fmla="*/ 3281711 w 7402822"/>
              <a:gd name="connsiteY9899" fmla="*/ 2414987 h 4749526"/>
              <a:gd name="connsiteX9900" fmla="*/ 3284747 w 7402822"/>
              <a:gd name="connsiteY9900" fmla="*/ 2404363 h 4749526"/>
              <a:gd name="connsiteX9901" fmla="*/ 3281711 w 7402822"/>
              <a:gd name="connsiteY9901" fmla="*/ 2395255 h 4749526"/>
              <a:gd name="connsiteX9902" fmla="*/ 3275640 w 7402822"/>
              <a:gd name="connsiteY9902" fmla="*/ 2383112 h 4749526"/>
              <a:gd name="connsiteX9903" fmla="*/ 3278675 w 7402822"/>
              <a:gd name="connsiteY9903" fmla="*/ 2380076 h 4749526"/>
              <a:gd name="connsiteX9904" fmla="*/ 3284747 w 7402822"/>
              <a:gd name="connsiteY9904" fmla="*/ 2377040 h 4749526"/>
              <a:gd name="connsiteX9905" fmla="*/ 3293854 w 7402822"/>
              <a:gd name="connsiteY9905" fmla="*/ 2370969 h 4749526"/>
              <a:gd name="connsiteX9906" fmla="*/ 3302962 w 7402822"/>
              <a:gd name="connsiteY9906" fmla="*/ 2364897 h 4749526"/>
              <a:gd name="connsiteX9907" fmla="*/ 3312069 w 7402822"/>
              <a:gd name="connsiteY9907" fmla="*/ 2367933 h 4749526"/>
              <a:gd name="connsiteX9908" fmla="*/ 3318141 w 7402822"/>
              <a:gd name="connsiteY9908" fmla="*/ 2370969 h 4749526"/>
              <a:gd name="connsiteX9909" fmla="*/ 3336355 w 7402822"/>
              <a:gd name="connsiteY9909" fmla="*/ 2370969 h 4749526"/>
              <a:gd name="connsiteX9910" fmla="*/ 3354571 w 7402822"/>
              <a:gd name="connsiteY9910" fmla="*/ 2370969 h 4749526"/>
              <a:gd name="connsiteX9911" fmla="*/ 3372785 w 7402822"/>
              <a:gd name="connsiteY9911" fmla="*/ 2377040 h 4749526"/>
              <a:gd name="connsiteX9912" fmla="*/ 3387964 w 7402822"/>
              <a:gd name="connsiteY9912" fmla="*/ 2370969 h 4749526"/>
              <a:gd name="connsiteX9913" fmla="*/ 3394036 w 7402822"/>
              <a:gd name="connsiteY9913" fmla="*/ 2374005 h 4749526"/>
              <a:gd name="connsiteX9914" fmla="*/ 3400108 w 7402822"/>
              <a:gd name="connsiteY9914" fmla="*/ 2377040 h 4749526"/>
              <a:gd name="connsiteX9915" fmla="*/ 3415287 w 7402822"/>
              <a:gd name="connsiteY9915" fmla="*/ 2377040 h 4749526"/>
              <a:gd name="connsiteX9916" fmla="*/ 3430466 w 7402822"/>
              <a:gd name="connsiteY9916" fmla="*/ 2377040 h 4749526"/>
              <a:gd name="connsiteX9917" fmla="*/ 3432719 w 7402822"/>
              <a:gd name="connsiteY9917" fmla="*/ 2378328 h 4749526"/>
              <a:gd name="connsiteX9918" fmla="*/ 3432720 w 7402822"/>
              <a:gd name="connsiteY9918" fmla="*/ 2378327 h 4749526"/>
              <a:gd name="connsiteX9919" fmla="*/ 3430466 w 7402822"/>
              <a:gd name="connsiteY9919" fmla="*/ 2377039 h 4749526"/>
              <a:gd name="connsiteX9920" fmla="*/ 3439574 w 7402822"/>
              <a:gd name="connsiteY9920" fmla="*/ 2358824 h 4749526"/>
              <a:gd name="connsiteX9921" fmla="*/ 3442609 w 7402822"/>
              <a:gd name="connsiteY9921" fmla="*/ 2325431 h 4749526"/>
              <a:gd name="connsiteX9922" fmla="*/ 3439574 w 7402822"/>
              <a:gd name="connsiteY9922" fmla="*/ 2310252 h 4749526"/>
              <a:gd name="connsiteX9923" fmla="*/ 3445644 w 7402822"/>
              <a:gd name="connsiteY9923" fmla="*/ 2307215 h 4749526"/>
              <a:gd name="connsiteX9924" fmla="*/ 3442609 w 7402822"/>
              <a:gd name="connsiteY9924" fmla="*/ 2295073 h 4749526"/>
              <a:gd name="connsiteX9925" fmla="*/ 3433502 w 7402822"/>
              <a:gd name="connsiteY9925" fmla="*/ 2289001 h 4749526"/>
              <a:gd name="connsiteX9926" fmla="*/ 3424394 w 7402822"/>
              <a:gd name="connsiteY9926" fmla="*/ 2279894 h 4749526"/>
              <a:gd name="connsiteX9927" fmla="*/ 3424394 w 7402822"/>
              <a:gd name="connsiteY9927" fmla="*/ 2270786 h 4749526"/>
              <a:gd name="connsiteX9928" fmla="*/ 3430466 w 7402822"/>
              <a:gd name="connsiteY9928" fmla="*/ 2264714 h 4749526"/>
              <a:gd name="connsiteX9929" fmla="*/ 3424394 w 7402822"/>
              <a:gd name="connsiteY9929" fmla="*/ 2261678 h 4749526"/>
              <a:gd name="connsiteX9930" fmla="*/ 3418323 w 7402822"/>
              <a:gd name="connsiteY9930" fmla="*/ 2261678 h 4749526"/>
              <a:gd name="connsiteX9931" fmla="*/ 3409215 w 7402822"/>
              <a:gd name="connsiteY9931" fmla="*/ 2255607 h 4749526"/>
              <a:gd name="connsiteX9932" fmla="*/ 3391000 w 7402822"/>
              <a:gd name="connsiteY9932" fmla="*/ 2246500 h 4749526"/>
              <a:gd name="connsiteX9933" fmla="*/ 3369750 w 7402822"/>
              <a:gd name="connsiteY9933" fmla="*/ 2237392 h 4749526"/>
              <a:gd name="connsiteX9934" fmla="*/ 3369750 w 7402822"/>
              <a:gd name="connsiteY9934" fmla="*/ 2228284 h 4749526"/>
              <a:gd name="connsiteX9935" fmla="*/ 3366713 w 7402822"/>
              <a:gd name="connsiteY9935" fmla="*/ 2225249 h 4749526"/>
              <a:gd name="connsiteX9936" fmla="*/ 3372785 w 7402822"/>
              <a:gd name="connsiteY9936" fmla="*/ 2222213 h 4749526"/>
              <a:gd name="connsiteX9937" fmla="*/ 3381893 w 7402822"/>
              <a:gd name="connsiteY9937" fmla="*/ 2219177 h 4749526"/>
              <a:gd name="connsiteX9938" fmla="*/ 3391000 w 7402822"/>
              <a:gd name="connsiteY9938" fmla="*/ 2219177 h 4749526"/>
              <a:gd name="connsiteX9939" fmla="*/ 3394036 w 7402822"/>
              <a:gd name="connsiteY9939" fmla="*/ 2216142 h 4749526"/>
              <a:gd name="connsiteX9940" fmla="*/ 3400108 w 7402822"/>
              <a:gd name="connsiteY9940" fmla="*/ 2213105 h 4749526"/>
              <a:gd name="connsiteX9941" fmla="*/ 3403143 w 7402822"/>
              <a:gd name="connsiteY9941" fmla="*/ 2216142 h 4749526"/>
              <a:gd name="connsiteX9942" fmla="*/ 3409215 w 7402822"/>
              <a:gd name="connsiteY9942" fmla="*/ 2222213 h 4749526"/>
              <a:gd name="connsiteX9943" fmla="*/ 3415287 w 7402822"/>
              <a:gd name="connsiteY9943" fmla="*/ 2219177 h 4749526"/>
              <a:gd name="connsiteX9944" fmla="*/ 3418323 w 7402822"/>
              <a:gd name="connsiteY9944" fmla="*/ 2219177 h 4749526"/>
              <a:gd name="connsiteX9945" fmla="*/ 3439574 w 7402822"/>
              <a:gd name="connsiteY9945" fmla="*/ 2219177 h 4749526"/>
              <a:gd name="connsiteX9946" fmla="*/ 3433502 w 7402822"/>
              <a:gd name="connsiteY9946" fmla="*/ 2216142 h 4749526"/>
              <a:gd name="connsiteX9947" fmla="*/ 3433502 w 7402822"/>
              <a:gd name="connsiteY9947" fmla="*/ 2210070 h 4749526"/>
              <a:gd name="connsiteX9948" fmla="*/ 3433502 w 7402822"/>
              <a:gd name="connsiteY9948" fmla="*/ 2200963 h 4749526"/>
              <a:gd name="connsiteX9949" fmla="*/ 3430466 w 7402822"/>
              <a:gd name="connsiteY9949" fmla="*/ 2194891 h 4749526"/>
              <a:gd name="connsiteX9950" fmla="*/ 3427430 w 7402822"/>
              <a:gd name="connsiteY9950" fmla="*/ 2188819 h 4749526"/>
              <a:gd name="connsiteX9951" fmla="*/ 3433502 w 7402822"/>
              <a:gd name="connsiteY9951" fmla="*/ 2188819 h 4749526"/>
              <a:gd name="connsiteX9952" fmla="*/ 3439574 w 7402822"/>
              <a:gd name="connsiteY9952" fmla="*/ 2185784 h 4749526"/>
              <a:gd name="connsiteX9953" fmla="*/ 3439574 w 7402822"/>
              <a:gd name="connsiteY9953" fmla="*/ 2191855 h 4749526"/>
              <a:gd name="connsiteX9954" fmla="*/ 3439574 w 7402822"/>
              <a:gd name="connsiteY9954" fmla="*/ 2194891 h 4749526"/>
              <a:gd name="connsiteX9955" fmla="*/ 3460823 w 7402822"/>
              <a:gd name="connsiteY9955" fmla="*/ 2200963 h 4749526"/>
              <a:gd name="connsiteX9956" fmla="*/ 3476003 w 7402822"/>
              <a:gd name="connsiteY9956" fmla="*/ 2194891 h 4749526"/>
              <a:gd name="connsiteX9957" fmla="*/ 3469932 w 7402822"/>
              <a:gd name="connsiteY9957" fmla="*/ 2194891 h 4749526"/>
              <a:gd name="connsiteX9958" fmla="*/ 3472967 w 7402822"/>
              <a:gd name="connsiteY9958" fmla="*/ 2185784 h 4749526"/>
              <a:gd name="connsiteX9959" fmla="*/ 3482074 w 7402822"/>
              <a:gd name="connsiteY9959" fmla="*/ 2179712 h 4749526"/>
              <a:gd name="connsiteX9960" fmla="*/ 3491182 w 7402822"/>
              <a:gd name="connsiteY9960" fmla="*/ 2176676 h 4749526"/>
              <a:gd name="connsiteX9961" fmla="*/ 3500289 w 7402822"/>
              <a:gd name="connsiteY9961" fmla="*/ 2167568 h 4749526"/>
              <a:gd name="connsiteX9962" fmla="*/ 3500289 w 7402822"/>
              <a:gd name="connsiteY9962" fmla="*/ 2152389 h 4749526"/>
              <a:gd name="connsiteX9963" fmla="*/ 3506361 w 7402822"/>
              <a:gd name="connsiteY9963" fmla="*/ 2146318 h 4749526"/>
              <a:gd name="connsiteX9964" fmla="*/ 3518504 w 7402822"/>
              <a:gd name="connsiteY9964" fmla="*/ 2143282 h 4749526"/>
              <a:gd name="connsiteX9965" fmla="*/ 3533683 w 7402822"/>
              <a:gd name="connsiteY9965" fmla="*/ 2131140 h 4749526"/>
              <a:gd name="connsiteX9966" fmla="*/ 3536719 w 7402822"/>
              <a:gd name="connsiteY9966" fmla="*/ 2131140 h 4749526"/>
              <a:gd name="connsiteX9967" fmla="*/ 3545826 w 7402822"/>
              <a:gd name="connsiteY9967" fmla="*/ 2125068 h 4749526"/>
              <a:gd name="connsiteX9968" fmla="*/ 3554933 w 7402822"/>
              <a:gd name="connsiteY9968" fmla="*/ 2131140 h 4749526"/>
              <a:gd name="connsiteX9969" fmla="*/ 3551898 w 7402822"/>
              <a:gd name="connsiteY9969" fmla="*/ 2112925 h 4749526"/>
              <a:gd name="connsiteX9970" fmla="*/ 3557970 w 7402822"/>
              <a:gd name="connsiteY9970" fmla="*/ 2100782 h 4749526"/>
              <a:gd name="connsiteX9971" fmla="*/ 3564042 w 7402822"/>
              <a:gd name="connsiteY9971" fmla="*/ 2088638 h 4749526"/>
              <a:gd name="connsiteX9972" fmla="*/ 3567077 w 7402822"/>
              <a:gd name="connsiteY9972" fmla="*/ 2079531 h 4749526"/>
              <a:gd name="connsiteX9973" fmla="*/ 3579221 w 7402822"/>
              <a:gd name="connsiteY9973" fmla="*/ 2073459 h 4749526"/>
              <a:gd name="connsiteX9974" fmla="*/ 3588328 w 7402822"/>
              <a:gd name="connsiteY9974" fmla="*/ 2064352 h 4749526"/>
              <a:gd name="connsiteX9975" fmla="*/ 3606543 w 7402822"/>
              <a:gd name="connsiteY9975" fmla="*/ 2061316 h 4749526"/>
              <a:gd name="connsiteX9976" fmla="*/ 3612613 w 7402822"/>
              <a:gd name="connsiteY9976" fmla="*/ 2064352 h 4749526"/>
              <a:gd name="connsiteX9977" fmla="*/ 3618685 w 7402822"/>
              <a:gd name="connsiteY9977" fmla="*/ 2055245 h 4749526"/>
              <a:gd name="connsiteX9978" fmla="*/ 3630828 w 7402822"/>
              <a:gd name="connsiteY9978" fmla="*/ 2052209 h 4749526"/>
              <a:gd name="connsiteX9979" fmla="*/ 3639935 w 7402822"/>
              <a:gd name="connsiteY9979" fmla="*/ 2058280 h 4749526"/>
              <a:gd name="connsiteX9980" fmla="*/ 3646007 w 7402822"/>
              <a:gd name="connsiteY9980" fmla="*/ 2046137 h 4749526"/>
              <a:gd name="connsiteX9981" fmla="*/ 3652079 w 7402822"/>
              <a:gd name="connsiteY9981" fmla="*/ 2040066 h 4749526"/>
              <a:gd name="connsiteX9982" fmla="*/ 3652079 w 7402822"/>
              <a:gd name="connsiteY9982" fmla="*/ 2030958 h 4749526"/>
              <a:gd name="connsiteX9983" fmla="*/ 3649043 w 7402822"/>
              <a:gd name="connsiteY9983" fmla="*/ 2018815 h 4749526"/>
              <a:gd name="connsiteX9984" fmla="*/ 3646007 w 7402822"/>
              <a:gd name="connsiteY9984" fmla="*/ 2009707 h 4749526"/>
              <a:gd name="connsiteX9985" fmla="*/ 3650250 w 7402822"/>
              <a:gd name="connsiteY9985" fmla="*/ 2011404 h 4749526"/>
              <a:gd name="connsiteX9986" fmla="*/ 3650250 w 7402822"/>
              <a:gd name="connsiteY9986" fmla="*/ 2011403 h 4749526"/>
              <a:gd name="connsiteX9987" fmla="*/ 3646008 w 7402822"/>
              <a:gd name="connsiteY9987" fmla="*/ 2009707 h 4749526"/>
              <a:gd name="connsiteX9988" fmla="*/ 3646008 w 7402822"/>
              <a:gd name="connsiteY9988" fmla="*/ 2003636 h 4749526"/>
              <a:gd name="connsiteX9989" fmla="*/ 3642973 w 7402822"/>
              <a:gd name="connsiteY9989" fmla="*/ 1991493 h 4749526"/>
              <a:gd name="connsiteX9990" fmla="*/ 3636901 w 7402822"/>
              <a:gd name="connsiteY9990" fmla="*/ 1985421 h 4749526"/>
              <a:gd name="connsiteX9991" fmla="*/ 3633865 w 7402822"/>
              <a:gd name="connsiteY9991" fmla="*/ 1967206 h 4749526"/>
              <a:gd name="connsiteX9992" fmla="*/ 3633865 w 7402822"/>
              <a:gd name="connsiteY9992" fmla="*/ 1948991 h 4749526"/>
              <a:gd name="connsiteX9993" fmla="*/ 3636901 w 7402822"/>
              <a:gd name="connsiteY9993" fmla="*/ 1939884 h 4749526"/>
              <a:gd name="connsiteX9994" fmla="*/ 3642973 w 7402822"/>
              <a:gd name="connsiteY9994" fmla="*/ 1930776 h 4749526"/>
              <a:gd name="connsiteX9995" fmla="*/ 3652080 w 7402822"/>
              <a:gd name="connsiteY9995" fmla="*/ 1930776 h 4749526"/>
              <a:gd name="connsiteX9996" fmla="*/ 3661187 w 7402822"/>
              <a:gd name="connsiteY9996" fmla="*/ 1927740 h 4749526"/>
              <a:gd name="connsiteX9997" fmla="*/ 3670294 w 7402822"/>
              <a:gd name="connsiteY9997" fmla="*/ 1918633 h 4749526"/>
              <a:gd name="connsiteX9998" fmla="*/ 3679402 w 7402822"/>
              <a:gd name="connsiteY9998" fmla="*/ 1909526 h 4749526"/>
              <a:gd name="connsiteX9999" fmla="*/ 3682438 w 7402822"/>
              <a:gd name="connsiteY9999" fmla="*/ 1912562 h 4749526"/>
              <a:gd name="connsiteX10000" fmla="*/ 3682438 w 7402822"/>
              <a:gd name="connsiteY10000" fmla="*/ 1921669 h 4749526"/>
              <a:gd name="connsiteX10001" fmla="*/ 3676366 w 7402822"/>
              <a:gd name="connsiteY10001" fmla="*/ 1933812 h 4749526"/>
              <a:gd name="connsiteX10002" fmla="*/ 3679402 w 7402822"/>
              <a:gd name="connsiteY10002" fmla="*/ 1948991 h 4749526"/>
              <a:gd name="connsiteX10003" fmla="*/ 3682438 w 7402822"/>
              <a:gd name="connsiteY10003" fmla="*/ 1952027 h 4749526"/>
              <a:gd name="connsiteX10004" fmla="*/ 3688510 w 7402822"/>
              <a:gd name="connsiteY10004" fmla="*/ 1952027 h 4749526"/>
              <a:gd name="connsiteX10005" fmla="*/ 3691545 w 7402822"/>
              <a:gd name="connsiteY10005" fmla="*/ 1961135 h 4749526"/>
              <a:gd name="connsiteX10006" fmla="*/ 3682438 w 7402822"/>
              <a:gd name="connsiteY10006" fmla="*/ 1970242 h 4749526"/>
              <a:gd name="connsiteX10007" fmla="*/ 3667259 w 7402822"/>
              <a:gd name="connsiteY10007" fmla="*/ 1988456 h 4749526"/>
              <a:gd name="connsiteX10008" fmla="*/ 3661187 w 7402822"/>
              <a:gd name="connsiteY10008" fmla="*/ 2003636 h 4749526"/>
              <a:gd name="connsiteX10009" fmla="*/ 3664223 w 7402822"/>
              <a:gd name="connsiteY10009" fmla="*/ 2009707 h 4749526"/>
              <a:gd name="connsiteX10010" fmla="*/ 3661187 w 7402822"/>
              <a:gd name="connsiteY10010" fmla="*/ 2015779 h 4749526"/>
              <a:gd name="connsiteX10011" fmla="*/ 3660555 w 7402822"/>
              <a:gd name="connsiteY10011" fmla="*/ 2015526 h 4749526"/>
              <a:gd name="connsiteX10012" fmla="*/ 3659923 w 7402822"/>
              <a:gd name="connsiteY10012" fmla="*/ 2015273 h 4749526"/>
              <a:gd name="connsiteX10013" fmla="*/ 3659922 w 7402822"/>
              <a:gd name="connsiteY10013" fmla="*/ 2015273 h 4749526"/>
              <a:gd name="connsiteX10014" fmla="*/ 3660555 w 7402822"/>
              <a:gd name="connsiteY10014" fmla="*/ 2015526 h 4749526"/>
              <a:gd name="connsiteX10015" fmla="*/ 3661186 w 7402822"/>
              <a:gd name="connsiteY10015" fmla="*/ 2015779 h 4749526"/>
              <a:gd name="connsiteX10016" fmla="*/ 3670293 w 7402822"/>
              <a:gd name="connsiteY10016" fmla="*/ 2018815 h 4749526"/>
              <a:gd name="connsiteX10017" fmla="*/ 3682437 w 7402822"/>
              <a:gd name="connsiteY10017" fmla="*/ 2027922 h 4749526"/>
              <a:gd name="connsiteX10018" fmla="*/ 3694580 w 7402822"/>
              <a:gd name="connsiteY10018" fmla="*/ 2030958 h 4749526"/>
              <a:gd name="connsiteX10019" fmla="*/ 3691544 w 7402822"/>
              <a:gd name="connsiteY10019" fmla="*/ 2046137 h 4749526"/>
              <a:gd name="connsiteX10020" fmla="*/ 3699134 w 7402822"/>
              <a:gd name="connsiteY10020" fmla="*/ 2043101 h 4749526"/>
              <a:gd name="connsiteX10021" fmla="*/ 3705206 w 7402822"/>
              <a:gd name="connsiteY10021" fmla="*/ 2043101 h 4749526"/>
              <a:gd name="connsiteX10022" fmla="*/ 3720385 w 7402822"/>
              <a:gd name="connsiteY10022" fmla="*/ 2030958 h 4749526"/>
              <a:gd name="connsiteX10023" fmla="*/ 3732528 w 7402822"/>
              <a:gd name="connsiteY10023" fmla="*/ 2027922 h 4749526"/>
              <a:gd name="connsiteX10024" fmla="*/ 3735564 w 7402822"/>
              <a:gd name="connsiteY10024" fmla="*/ 2030958 h 4749526"/>
              <a:gd name="connsiteX10025" fmla="*/ 3738600 w 7402822"/>
              <a:gd name="connsiteY10025" fmla="*/ 2033994 h 4749526"/>
              <a:gd name="connsiteX10026" fmla="*/ 3747707 w 7402822"/>
              <a:gd name="connsiteY10026" fmla="*/ 2037030 h 4749526"/>
              <a:gd name="connsiteX10027" fmla="*/ 3750743 w 7402822"/>
              <a:gd name="connsiteY10027" fmla="*/ 2049173 h 4749526"/>
              <a:gd name="connsiteX10028" fmla="*/ 3757372 w 7402822"/>
              <a:gd name="connsiteY10028" fmla="*/ 2053592 h 4749526"/>
              <a:gd name="connsiteX10029" fmla="*/ 3759852 w 7402822"/>
              <a:gd name="connsiteY10029" fmla="*/ 2052209 h 4749526"/>
              <a:gd name="connsiteX10030" fmla="*/ 3759852 w 7402822"/>
              <a:gd name="connsiteY10030" fmla="*/ 2049173 h 4749526"/>
              <a:gd name="connsiteX10031" fmla="*/ 3759852 w 7402822"/>
              <a:gd name="connsiteY10031" fmla="*/ 2046137 h 4749526"/>
              <a:gd name="connsiteX10032" fmla="*/ 3765924 w 7402822"/>
              <a:gd name="connsiteY10032" fmla="*/ 2043101 h 4749526"/>
              <a:gd name="connsiteX10033" fmla="*/ 3799317 w 7402822"/>
              <a:gd name="connsiteY10033" fmla="*/ 2030958 h 4749526"/>
              <a:gd name="connsiteX10034" fmla="*/ 3808424 w 7402822"/>
              <a:gd name="connsiteY10034" fmla="*/ 2021851 h 4749526"/>
              <a:gd name="connsiteX10035" fmla="*/ 3820568 w 7402822"/>
              <a:gd name="connsiteY10035" fmla="*/ 2015779 h 4749526"/>
              <a:gd name="connsiteX10036" fmla="*/ 3844854 w 7402822"/>
              <a:gd name="connsiteY10036" fmla="*/ 2015779 h 4749526"/>
              <a:gd name="connsiteX10037" fmla="*/ 3847890 w 7402822"/>
              <a:gd name="connsiteY10037" fmla="*/ 2015779 h 4749526"/>
              <a:gd name="connsiteX10038" fmla="*/ 3847890 w 7402822"/>
              <a:gd name="connsiteY10038" fmla="*/ 2027922 h 4749526"/>
              <a:gd name="connsiteX10039" fmla="*/ 3856997 w 7402822"/>
              <a:gd name="connsiteY10039" fmla="*/ 2030958 h 4749526"/>
              <a:gd name="connsiteX10040" fmla="*/ 3869141 w 7402822"/>
              <a:gd name="connsiteY10040" fmla="*/ 2027922 h 4749526"/>
              <a:gd name="connsiteX10041" fmla="*/ 3878248 w 7402822"/>
              <a:gd name="connsiteY10041" fmla="*/ 2015779 h 4749526"/>
              <a:gd name="connsiteX10042" fmla="*/ 3878248 w 7402822"/>
              <a:gd name="connsiteY10042" fmla="*/ 2009707 h 4749526"/>
              <a:gd name="connsiteX10043" fmla="*/ 3881283 w 7402822"/>
              <a:gd name="connsiteY10043" fmla="*/ 2009707 h 4749526"/>
              <a:gd name="connsiteX10044" fmla="*/ 3887355 w 7402822"/>
              <a:gd name="connsiteY10044" fmla="*/ 2009707 h 4749526"/>
              <a:gd name="connsiteX10045" fmla="*/ 3896463 w 7402822"/>
              <a:gd name="connsiteY10045" fmla="*/ 1997564 h 4749526"/>
              <a:gd name="connsiteX10046" fmla="*/ 3899499 w 7402822"/>
              <a:gd name="connsiteY10046" fmla="*/ 1994528 h 4749526"/>
              <a:gd name="connsiteX10047" fmla="*/ 3899499 w 7402822"/>
              <a:gd name="connsiteY10047" fmla="*/ 1988456 h 4749526"/>
              <a:gd name="connsiteX10048" fmla="*/ 3899499 w 7402822"/>
              <a:gd name="connsiteY10048" fmla="*/ 1979349 h 4749526"/>
              <a:gd name="connsiteX10049" fmla="*/ 3899499 w 7402822"/>
              <a:gd name="connsiteY10049" fmla="*/ 1970242 h 4749526"/>
              <a:gd name="connsiteX10050" fmla="*/ 3899499 w 7402822"/>
              <a:gd name="connsiteY10050" fmla="*/ 1961135 h 4749526"/>
              <a:gd name="connsiteX10051" fmla="*/ 3899499 w 7402822"/>
              <a:gd name="connsiteY10051" fmla="*/ 1942919 h 4749526"/>
              <a:gd name="connsiteX10052" fmla="*/ 3908606 w 7402822"/>
              <a:gd name="connsiteY10052" fmla="*/ 1924705 h 4749526"/>
              <a:gd name="connsiteX10053" fmla="*/ 3914678 w 7402822"/>
              <a:gd name="connsiteY10053" fmla="*/ 1912562 h 4749526"/>
              <a:gd name="connsiteX10054" fmla="*/ 3926821 w 7402822"/>
              <a:gd name="connsiteY10054" fmla="*/ 1906490 h 4749526"/>
              <a:gd name="connsiteX10055" fmla="*/ 3935928 w 7402822"/>
              <a:gd name="connsiteY10055" fmla="*/ 1915597 h 4749526"/>
              <a:gd name="connsiteX10056" fmla="*/ 3942000 w 7402822"/>
              <a:gd name="connsiteY10056" fmla="*/ 1924705 h 4749526"/>
              <a:gd name="connsiteX10057" fmla="*/ 3945036 w 7402822"/>
              <a:gd name="connsiteY10057" fmla="*/ 1930776 h 4749526"/>
              <a:gd name="connsiteX10058" fmla="*/ 3960215 w 7402822"/>
              <a:gd name="connsiteY10058" fmla="*/ 1930776 h 4749526"/>
              <a:gd name="connsiteX10059" fmla="*/ 3969323 w 7402822"/>
              <a:gd name="connsiteY10059" fmla="*/ 1924705 h 4749526"/>
              <a:gd name="connsiteX10060" fmla="*/ 3966286 w 7402822"/>
              <a:gd name="connsiteY10060" fmla="*/ 1906490 h 4749526"/>
              <a:gd name="connsiteX10061" fmla="*/ 3966286 w 7402822"/>
              <a:gd name="connsiteY10061" fmla="*/ 1900418 h 4749526"/>
              <a:gd name="connsiteX10062" fmla="*/ 3972358 w 7402822"/>
              <a:gd name="connsiteY10062" fmla="*/ 1882204 h 4749526"/>
              <a:gd name="connsiteX10063" fmla="*/ 3966286 w 7402822"/>
              <a:gd name="connsiteY10063" fmla="*/ 1882204 h 4749526"/>
              <a:gd name="connsiteX10064" fmla="*/ 3966286 w 7402822"/>
              <a:gd name="connsiteY10064" fmla="*/ 1885239 h 4749526"/>
              <a:gd name="connsiteX10065" fmla="*/ 3957179 w 7402822"/>
              <a:gd name="connsiteY10065" fmla="*/ 1882204 h 4749526"/>
              <a:gd name="connsiteX10066" fmla="*/ 3951107 w 7402822"/>
              <a:gd name="connsiteY10066" fmla="*/ 1873096 h 4749526"/>
              <a:gd name="connsiteX10067" fmla="*/ 3948072 w 7402822"/>
              <a:gd name="connsiteY10067" fmla="*/ 1863988 h 4749526"/>
              <a:gd name="connsiteX10068" fmla="*/ 3951107 w 7402822"/>
              <a:gd name="connsiteY10068" fmla="*/ 1845774 h 4749526"/>
              <a:gd name="connsiteX10069" fmla="*/ 3966286 w 7402822"/>
              <a:gd name="connsiteY10069" fmla="*/ 1839702 h 4749526"/>
              <a:gd name="connsiteX10070" fmla="*/ 3990573 w 7402822"/>
              <a:gd name="connsiteY10070" fmla="*/ 1836666 h 4749526"/>
              <a:gd name="connsiteX10071" fmla="*/ 4002716 w 7402822"/>
              <a:gd name="connsiteY10071" fmla="*/ 1830595 h 4749526"/>
              <a:gd name="connsiteX10072" fmla="*/ 4014860 w 7402822"/>
              <a:gd name="connsiteY10072" fmla="*/ 1833630 h 4749526"/>
              <a:gd name="connsiteX10073" fmla="*/ 4020931 w 7402822"/>
              <a:gd name="connsiteY10073" fmla="*/ 1836666 h 4749526"/>
              <a:gd name="connsiteX10074" fmla="*/ 4039146 w 7402822"/>
              <a:gd name="connsiteY10074" fmla="*/ 1839702 h 4749526"/>
              <a:gd name="connsiteX10075" fmla="*/ 4042182 w 7402822"/>
              <a:gd name="connsiteY10075" fmla="*/ 1836666 h 4749526"/>
              <a:gd name="connsiteX10076" fmla="*/ 4045217 w 7402822"/>
              <a:gd name="connsiteY10076" fmla="*/ 1830595 h 4749526"/>
              <a:gd name="connsiteX10077" fmla="*/ 4057361 w 7402822"/>
              <a:gd name="connsiteY10077" fmla="*/ 1824523 h 4749526"/>
              <a:gd name="connsiteX10078" fmla="*/ 4063433 w 7402822"/>
              <a:gd name="connsiteY10078" fmla="*/ 1821487 h 4749526"/>
              <a:gd name="connsiteX10079" fmla="*/ 4066468 w 7402822"/>
              <a:gd name="connsiteY10079" fmla="*/ 1815416 h 4749526"/>
              <a:gd name="connsiteX10080" fmla="*/ 4063433 w 7402822"/>
              <a:gd name="connsiteY10080" fmla="*/ 1806308 h 4749526"/>
              <a:gd name="connsiteX10081" fmla="*/ 4051289 w 7402822"/>
              <a:gd name="connsiteY10081" fmla="*/ 1794165 h 4749526"/>
              <a:gd name="connsiteX10082" fmla="*/ 4039146 w 7402822"/>
              <a:gd name="connsiteY10082" fmla="*/ 1794165 h 4749526"/>
              <a:gd name="connsiteX10083" fmla="*/ 4027003 w 7402822"/>
              <a:gd name="connsiteY10083" fmla="*/ 1797201 h 4749526"/>
              <a:gd name="connsiteX10084" fmla="*/ 4014860 w 7402822"/>
              <a:gd name="connsiteY10084" fmla="*/ 1797201 h 4749526"/>
              <a:gd name="connsiteX10085" fmla="*/ 3987537 w 7402822"/>
              <a:gd name="connsiteY10085" fmla="*/ 1806308 h 4749526"/>
              <a:gd name="connsiteX10086" fmla="*/ 3975393 w 7402822"/>
              <a:gd name="connsiteY10086" fmla="*/ 1812380 h 4749526"/>
              <a:gd name="connsiteX10087" fmla="*/ 3966286 w 7402822"/>
              <a:gd name="connsiteY10087" fmla="*/ 1815416 h 4749526"/>
              <a:gd name="connsiteX10088" fmla="*/ 3966286 w 7402822"/>
              <a:gd name="connsiteY10088" fmla="*/ 1812380 h 4749526"/>
              <a:gd name="connsiteX10089" fmla="*/ 3963251 w 7402822"/>
              <a:gd name="connsiteY10089" fmla="*/ 1815416 h 4749526"/>
              <a:gd name="connsiteX10090" fmla="*/ 3942000 w 7402822"/>
              <a:gd name="connsiteY10090" fmla="*/ 1818451 h 4749526"/>
              <a:gd name="connsiteX10091" fmla="*/ 3935928 w 7402822"/>
              <a:gd name="connsiteY10091" fmla="*/ 1809344 h 4749526"/>
              <a:gd name="connsiteX10092" fmla="*/ 3929857 w 7402822"/>
              <a:gd name="connsiteY10092" fmla="*/ 1800236 h 4749526"/>
              <a:gd name="connsiteX10093" fmla="*/ 3920749 w 7402822"/>
              <a:gd name="connsiteY10093" fmla="*/ 1797201 h 4749526"/>
              <a:gd name="connsiteX10094" fmla="*/ 3908606 w 7402822"/>
              <a:gd name="connsiteY10094" fmla="*/ 1794165 h 4749526"/>
              <a:gd name="connsiteX10095" fmla="*/ 3905570 w 7402822"/>
              <a:gd name="connsiteY10095" fmla="*/ 1785057 h 4749526"/>
              <a:gd name="connsiteX10096" fmla="*/ 3905570 w 7402822"/>
              <a:gd name="connsiteY10096" fmla="*/ 1769878 h 4749526"/>
              <a:gd name="connsiteX10097" fmla="*/ 3908606 w 7402822"/>
              <a:gd name="connsiteY10097" fmla="*/ 1763806 h 4749526"/>
              <a:gd name="connsiteX10098" fmla="*/ 3911642 w 7402822"/>
              <a:gd name="connsiteY10098" fmla="*/ 1748627 h 4749526"/>
              <a:gd name="connsiteX10099" fmla="*/ 3902534 w 7402822"/>
              <a:gd name="connsiteY10099" fmla="*/ 1724341 h 4749526"/>
              <a:gd name="connsiteX10100" fmla="*/ 3902534 w 7402822"/>
              <a:gd name="connsiteY10100" fmla="*/ 1693983 h 4749526"/>
              <a:gd name="connsiteX10101" fmla="*/ 3914678 w 7402822"/>
              <a:gd name="connsiteY10101" fmla="*/ 1678804 h 4749526"/>
              <a:gd name="connsiteX10102" fmla="*/ 3917713 w 7402822"/>
              <a:gd name="connsiteY10102" fmla="*/ 1678804 h 4749526"/>
              <a:gd name="connsiteX10103" fmla="*/ 3920749 w 7402822"/>
              <a:gd name="connsiteY10103" fmla="*/ 1675768 h 4749526"/>
              <a:gd name="connsiteX10104" fmla="*/ 3926821 w 7402822"/>
              <a:gd name="connsiteY10104" fmla="*/ 1666661 h 4749526"/>
              <a:gd name="connsiteX10105" fmla="*/ 3926821 w 7402822"/>
              <a:gd name="connsiteY10105" fmla="*/ 1660589 h 4749526"/>
              <a:gd name="connsiteX10106" fmla="*/ 3932893 w 7402822"/>
              <a:gd name="connsiteY10106" fmla="*/ 1654517 h 4749526"/>
              <a:gd name="connsiteX10107" fmla="*/ 3948072 w 7402822"/>
              <a:gd name="connsiteY10107" fmla="*/ 1639338 h 4749526"/>
              <a:gd name="connsiteX10108" fmla="*/ 3966286 w 7402822"/>
              <a:gd name="connsiteY10108" fmla="*/ 1618088 h 4749526"/>
              <a:gd name="connsiteX10109" fmla="*/ 3969323 w 7402822"/>
              <a:gd name="connsiteY10109" fmla="*/ 1612016 h 4749526"/>
              <a:gd name="connsiteX10110" fmla="*/ 3969323 w 7402822"/>
              <a:gd name="connsiteY10110" fmla="*/ 1605945 h 4749526"/>
              <a:gd name="connsiteX10111" fmla="*/ 3981465 w 7402822"/>
              <a:gd name="connsiteY10111" fmla="*/ 1596837 h 4749526"/>
              <a:gd name="connsiteX10112" fmla="*/ 3987537 w 7402822"/>
              <a:gd name="connsiteY10112" fmla="*/ 1599873 h 4749526"/>
              <a:gd name="connsiteX10113" fmla="*/ 3987537 w 7402822"/>
              <a:gd name="connsiteY10113" fmla="*/ 1572551 h 4749526"/>
              <a:gd name="connsiteX10114" fmla="*/ 3978430 w 7402822"/>
              <a:gd name="connsiteY10114" fmla="*/ 1560407 h 4749526"/>
              <a:gd name="connsiteX10115" fmla="*/ 3975393 w 7402822"/>
              <a:gd name="connsiteY10115" fmla="*/ 1560407 h 4749526"/>
              <a:gd name="connsiteX10116" fmla="*/ 3972358 w 7402822"/>
              <a:gd name="connsiteY10116" fmla="*/ 1554336 h 4749526"/>
              <a:gd name="connsiteX10117" fmla="*/ 3969323 w 7402822"/>
              <a:gd name="connsiteY10117" fmla="*/ 1554336 h 4749526"/>
              <a:gd name="connsiteX10118" fmla="*/ 3966781 w 7402822"/>
              <a:gd name="connsiteY10118" fmla="*/ 1553065 h 4749526"/>
              <a:gd name="connsiteX10119" fmla="*/ 3963598 w 7402822"/>
              <a:gd name="connsiteY10119" fmla="*/ 1553861 h 4749526"/>
              <a:gd name="connsiteX10120" fmla="*/ 3958993 w 7402822"/>
              <a:gd name="connsiteY10120" fmla="*/ 1552365 h 4749526"/>
              <a:gd name="connsiteX10121" fmla="*/ 3951106 w 7402822"/>
              <a:gd name="connsiteY10121" fmla="*/ 1554336 h 4749526"/>
              <a:gd name="connsiteX10122" fmla="*/ 3935927 w 7402822"/>
              <a:gd name="connsiteY10122" fmla="*/ 1551300 h 4749526"/>
              <a:gd name="connsiteX10123" fmla="*/ 3926820 w 7402822"/>
              <a:gd name="connsiteY10123" fmla="*/ 1551300 h 4749526"/>
              <a:gd name="connsiteX10124" fmla="*/ 3920748 w 7402822"/>
              <a:gd name="connsiteY10124" fmla="*/ 1563444 h 4749526"/>
              <a:gd name="connsiteX10125" fmla="*/ 3917712 w 7402822"/>
              <a:gd name="connsiteY10125" fmla="*/ 1572551 h 4749526"/>
              <a:gd name="connsiteX10126" fmla="*/ 3908605 w 7402822"/>
              <a:gd name="connsiteY10126" fmla="*/ 1593801 h 4749526"/>
              <a:gd name="connsiteX10127" fmla="*/ 3902533 w 7402822"/>
              <a:gd name="connsiteY10127" fmla="*/ 1599873 h 4749526"/>
              <a:gd name="connsiteX10128" fmla="*/ 3905570 w 7402822"/>
              <a:gd name="connsiteY10128" fmla="*/ 1612016 h 4749526"/>
              <a:gd name="connsiteX10129" fmla="*/ 3905570 w 7402822"/>
              <a:gd name="connsiteY10129" fmla="*/ 1615052 h 4749526"/>
              <a:gd name="connsiteX10130" fmla="*/ 3905570 w 7402822"/>
              <a:gd name="connsiteY10130" fmla="*/ 1624159 h 4749526"/>
              <a:gd name="connsiteX10131" fmla="*/ 3902533 w 7402822"/>
              <a:gd name="connsiteY10131" fmla="*/ 1630231 h 4749526"/>
              <a:gd name="connsiteX10132" fmla="*/ 3890391 w 7402822"/>
              <a:gd name="connsiteY10132" fmla="*/ 1648447 h 4749526"/>
              <a:gd name="connsiteX10133" fmla="*/ 3878247 w 7402822"/>
              <a:gd name="connsiteY10133" fmla="*/ 1657554 h 4749526"/>
              <a:gd name="connsiteX10134" fmla="*/ 3863068 w 7402822"/>
              <a:gd name="connsiteY10134" fmla="*/ 1666661 h 4749526"/>
              <a:gd name="connsiteX10135" fmla="*/ 3860033 w 7402822"/>
              <a:gd name="connsiteY10135" fmla="*/ 1672733 h 4749526"/>
              <a:gd name="connsiteX10136" fmla="*/ 3844853 w 7402822"/>
              <a:gd name="connsiteY10136" fmla="*/ 1687912 h 4749526"/>
              <a:gd name="connsiteX10137" fmla="*/ 3847889 w 7402822"/>
              <a:gd name="connsiteY10137" fmla="*/ 1690947 h 4749526"/>
              <a:gd name="connsiteX10138" fmla="*/ 3838782 w 7402822"/>
              <a:gd name="connsiteY10138" fmla="*/ 1700055 h 4749526"/>
              <a:gd name="connsiteX10139" fmla="*/ 3832710 w 7402822"/>
              <a:gd name="connsiteY10139" fmla="*/ 1709162 h 4749526"/>
              <a:gd name="connsiteX10140" fmla="*/ 3829674 w 7402822"/>
              <a:gd name="connsiteY10140" fmla="*/ 1709162 h 4749526"/>
              <a:gd name="connsiteX10141" fmla="*/ 3826638 w 7402822"/>
              <a:gd name="connsiteY10141" fmla="*/ 1709162 h 4749526"/>
              <a:gd name="connsiteX10142" fmla="*/ 3823601 w 7402822"/>
              <a:gd name="connsiteY10142" fmla="*/ 1727377 h 4749526"/>
              <a:gd name="connsiteX10143" fmla="*/ 3823601 w 7402822"/>
              <a:gd name="connsiteY10143" fmla="*/ 1742557 h 4749526"/>
              <a:gd name="connsiteX10144" fmla="*/ 3817530 w 7402822"/>
              <a:gd name="connsiteY10144" fmla="*/ 1745592 h 4749526"/>
              <a:gd name="connsiteX10145" fmla="*/ 3817530 w 7402822"/>
              <a:gd name="connsiteY10145" fmla="*/ 1754699 h 4749526"/>
              <a:gd name="connsiteX10146" fmla="*/ 3820566 w 7402822"/>
              <a:gd name="connsiteY10146" fmla="*/ 1760771 h 4749526"/>
              <a:gd name="connsiteX10147" fmla="*/ 3820566 w 7402822"/>
              <a:gd name="connsiteY10147" fmla="*/ 1763806 h 4749526"/>
              <a:gd name="connsiteX10148" fmla="*/ 3820566 w 7402822"/>
              <a:gd name="connsiteY10148" fmla="*/ 1775950 h 4749526"/>
              <a:gd name="connsiteX10149" fmla="*/ 3826638 w 7402822"/>
              <a:gd name="connsiteY10149" fmla="*/ 1788094 h 4749526"/>
              <a:gd name="connsiteX10150" fmla="*/ 3835746 w 7402822"/>
              <a:gd name="connsiteY10150" fmla="*/ 1791129 h 4749526"/>
              <a:gd name="connsiteX10151" fmla="*/ 3847889 w 7402822"/>
              <a:gd name="connsiteY10151" fmla="*/ 1806308 h 4749526"/>
              <a:gd name="connsiteX10152" fmla="*/ 3853961 w 7402822"/>
              <a:gd name="connsiteY10152" fmla="*/ 1809344 h 4749526"/>
              <a:gd name="connsiteX10153" fmla="*/ 3853961 w 7402822"/>
              <a:gd name="connsiteY10153" fmla="*/ 1818451 h 4749526"/>
              <a:gd name="connsiteX10154" fmla="*/ 3850925 w 7402822"/>
              <a:gd name="connsiteY10154" fmla="*/ 1830595 h 4749526"/>
              <a:gd name="connsiteX10155" fmla="*/ 3835746 w 7402822"/>
              <a:gd name="connsiteY10155" fmla="*/ 1857917 h 4749526"/>
              <a:gd name="connsiteX10156" fmla="*/ 3820566 w 7402822"/>
              <a:gd name="connsiteY10156" fmla="*/ 1867025 h 4749526"/>
              <a:gd name="connsiteX10157" fmla="*/ 3814494 w 7402822"/>
              <a:gd name="connsiteY10157" fmla="*/ 1870060 h 4749526"/>
              <a:gd name="connsiteX10158" fmla="*/ 3811458 w 7402822"/>
              <a:gd name="connsiteY10158" fmla="*/ 1882204 h 4749526"/>
              <a:gd name="connsiteX10159" fmla="*/ 3808422 w 7402822"/>
              <a:gd name="connsiteY10159" fmla="*/ 1897383 h 4749526"/>
              <a:gd name="connsiteX10160" fmla="*/ 3811458 w 7402822"/>
              <a:gd name="connsiteY10160" fmla="*/ 1906490 h 4749526"/>
              <a:gd name="connsiteX10161" fmla="*/ 3811458 w 7402822"/>
              <a:gd name="connsiteY10161" fmla="*/ 1909526 h 4749526"/>
              <a:gd name="connsiteX10162" fmla="*/ 3808422 w 7402822"/>
              <a:gd name="connsiteY10162" fmla="*/ 1918633 h 4749526"/>
              <a:gd name="connsiteX10163" fmla="*/ 3802351 w 7402822"/>
              <a:gd name="connsiteY10163" fmla="*/ 1942919 h 4749526"/>
              <a:gd name="connsiteX10164" fmla="*/ 3796280 w 7402822"/>
              <a:gd name="connsiteY10164" fmla="*/ 1964170 h 4749526"/>
              <a:gd name="connsiteX10165" fmla="*/ 3787171 w 7402822"/>
              <a:gd name="connsiteY10165" fmla="*/ 1964170 h 4749526"/>
              <a:gd name="connsiteX10166" fmla="*/ 3771992 w 7402822"/>
              <a:gd name="connsiteY10166" fmla="*/ 1964170 h 4749526"/>
              <a:gd name="connsiteX10167" fmla="*/ 3759850 w 7402822"/>
              <a:gd name="connsiteY10167" fmla="*/ 1973277 h 4749526"/>
              <a:gd name="connsiteX10168" fmla="*/ 3756813 w 7402822"/>
              <a:gd name="connsiteY10168" fmla="*/ 1979349 h 4749526"/>
              <a:gd name="connsiteX10169" fmla="*/ 3759850 w 7402822"/>
              <a:gd name="connsiteY10169" fmla="*/ 1985421 h 4749526"/>
              <a:gd name="connsiteX10170" fmla="*/ 3759850 w 7402822"/>
              <a:gd name="connsiteY10170" fmla="*/ 1988456 h 4749526"/>
              <a:gd name="connsiteX10171" fmla="*/ 3756813 w 7402822"/>
              <a:gd name="connsiteY10171" fmla="*/ 1994528 h 4749526"/>
              <a:gd name="connsiteX10172" fmla="*/ 3750742 w 7402822"/>
              <a:gd name="connsiteY10172" fmla="*/ 1994528 h 4749526"/>
              <a:gd name="connsiteX10173" fmla="*/ 3744671 w 7402822"/>
              <a:gd name="connsiteY10173" fmla="*/ 1994528 h 4749526"/>
              <a:gd name="connsiteX10174" fmla="*/ 3732527 w 7402822"/>
              <a:gd name="connsiteY10174" fmla="*/ 1994528 h 4749526"/>
              <a:gd name="connsiteX10175" fmla="*/ 3732527 w 7402822"/>
              <a:gd name="connsiteY10175" fmla="*/ 1985421 h 4749526"/>
              <a:gd name="connsiteX10176" fmla="*/ 3729491 w 7402822"/>
              <a:gd name="connsiteY10176" fmla="*/ 1976314 h 4749526"/>
              <a:gd name="connsiteX10177" fmla="*/ 3726456 w 7402822"/>
              <a:gd name="connsiteY10177" fmla="*/ 1961135 h 4749526"/>
              <a:gd name="connsiteX10178" fmla="*/ 3729491 w 7402822"/>
              <a:gd name="connsiteY10178" fmla="*/ 1948991 h 4749526"/>
              <a:gd name="connsiteX10179" fmla="*/ 3726456 w 7402822"/>
              <a:gd name="connsiteY10179" fmla="*/ 1942919 h 4749526"/>
              <a:gd name="connsiteX10180" fmla="*/ 3717348 w 7402822"/>
              <a:gd name="connsiteY10180" fmla="*/ 1933812 h 4749526"/>
              <a:gd name="connsiteX10181" fmla="*/ 3714312 w 7402822"/>
              <a:gd name="connsiteY10181" fmla="*/ 1921669 h 4749526"/>
              <a:gd name="connsiteX10182" fmla="*/ 3711277 w 7402822"/>
              <a:gd name="connsiteY10182" fmla="*/ 1909526 h 4749526"/>
              <a:gd name="connsiteX10183" fmla="*/ 3708241 w 7402822"/>
              <a:gd name="connsiteY10183" fmla="*/ 1894346 h 4749526"/>
              <a:gd name="connsiteX10184" fmla="*/ 3702169 w 7402822"/>
              <a:gd name="connsiteY10184" fmla="*/ 1882204 h 4749526"/>
              <a:gd name="connsiteX10185" fmla="*/ 3696098 w 7402822"/>
              <a:gd name="connsiteY10185" fmla="*/ 1876132 h 4749526"/>
              <a:gd name="connsiteX10186" fmla="*/ 3694580 w 7402822"/>
              <a:gd name="connsiteY10186" fmla="*/ 1857917 h 4749526"/>
              <a:gd name="connsiteX10187" fmla="*/ 3696098 w 7402822"/>
              <a:gd name="connsiteY10187" fmla="*/ 1851846 h 4749526"/>
              <a:gd name="connsiteX10188" fmla="*/ 3705205 w 7402822"/>
              <a:gd name="connsiteY10188" fmla="*/ 1860953 h 4749526"/>
              <a:gd name="connsiteX10189" fmla="*/ 3705205 w 7402822"/>
              <a:gd name="connsiteY10189" fmla="*/ 1860951 h 4749526"/>
              <a:gd name="connsiteX10190" fmla="*/ 3696100 w 7402822"/>
              <a:gd name="connsiteY10190" fmla="*/ 1851846 h 4749526"/>
              <a:gd name="connsiteX10191" fmla="*/ 3696098 w 7402822"/>
              <a:gd name="connsiteY10191" fmla="*/ 1851846 h 4749526"/>
              <a:gd name="connsiteX10192" fmla="*/ 3691545 w 7402822"/>
              <a:gd name="connsiteY10192" fmla="*/ 1851846 h 4749526"/>
              <a:gd name="connsiteX10193" fmla="*/ 3682438 w 7402822"/>
              <a:gd name="connsiteY10193" fmla="*/ 1848809 h 4749526"/>
              <a:gd name="connsiteX10194" fmla="*/ 3673331 w 7402822"/>
              <a:gd name="connsiteY10194" fmla="*/ 1857917 h 4749526"/>
              <a:gd name="connsiteX10195" fmla="*/ 3649044 w 7402822"/>
              <a:gd name="connsiteY10195" fmla="*/ 1879167 h 4749526"/>
              <a:gd name="connsiteX10196" fmla="*/ 3636901 w 7402822"/>
              <a:gd name="connsiteY10196" fmla="*/ 1891311 h 4749526"/>
              <a:gd name="connsiteX10197" fmla="*/ 3624757 w 7402822"/>
              <a:gd name="connsiteY10197" fmla="*/ 1894346 h 4749526"/>
              <a:gd name="connsiteX10198" fmla="*/ 3600471 w 7402822"/>
              <a:gd name="connsiteY10198" fmla="*/ 1888275 h 4749526"/>
              <a:gd name="connsiteX10199" fmla="*/ 3588328 w 7402822"/>
              <a:gd name="connsiteY10199" fmla="*/ 1879167 h 4749526"/>
              <a:gd name="connsiteX10200" fmla="*/ 3579221 w 7402822"/>
              <a:gd name="connsiteY10200" fmla="*/ 1867025 h 4749526"/>
              <a:gd name="connsiteX10201" fmla="*/ 3582256 w 7402822"/>
              <a:gd name="connsiteY10201" fmla="*/ 1857917 h 4749526"/>
              <a:gd name="connsiteX10202" fmla="*/ 3588328 w 7402822"/>
              <a:gd name="connsiteY10202" fmla="*/ 1854881 h 4749526"/>
              <a:gd name="connsiteX10203" fmla="*/ 3594400 w 7402822"/>
              <a:gd name="connsiteY10203" fmla="*/ 1842738 h 4749526"/>
              <a:gd name="connsiteX10204" fmla="*/ 3585292 w 7402822"/>
              <a:gd name="connsiteY10204" fmla="*/ 1842738 h 4749526"/>
              <a:gd name="connsiteX10205" fmla="*/ 3579221 w 7402822"/>
              <a:gd name="connsiteY10205" fmla="*/ 1845774 h 4749526"/>
              <a:gd name="connsiteX10206" fmla="*/ 3576184 w 7402822"/>
              <a:gd name="connsiteY10206" fmla="*/ 1842738 h 4749526"/>
              <a:gd name="connsiteX10207" fmla="*/ 3576184 w 7402822"/>
              <a:gd name="connsiteY10207" fmla="*/ 1830595 h 4749526"/>
              <a:gd name="connsiteX10208" fmla="*/ 3579221 w 7402822"/>
              <a:gd name="connsiteY10208" fmla="*/ 1827559 h 4749526"/>
              <a:gd name="connsiteX10209" fmla="*/ 3585292 w 7402822"/>
              <a:gd name="connsiteY10209" fmla="*/ 1818451 h 4749526"/>
              <a:gd name="connsiteX10210" fmla="*/ 3585292 w 7402822"/>
              <a:gd name="connsiteY10210" fmla="*/ 1815416 h 4749526"/>
              <a:gd name="connsiteX10211" fmla="*/ 3582256 w 7402822"/>
              <a:gd name="connsiteY10211" fmla="*/ 1809344 h 4749526"/>
              <a:gd name="connsiteX10212" fmla="*/ 3576184 w 7402822"/>
              <a:gd name="connsiteY10212" fmla="*/ 1809344 h 4749526"/>
              <a:gd name="connsiteX10213" fmla="*/ 3573149 w 7402822"/>
              <a:gd name="connsiteY10213" fmla="*/ 1800236 h 4749526"/>
              <a:gd name="connsiteX10214" fmla="*/ 3576184 w 7402822"/>
              <a:gd name="connsiteY10214" fmla="*/ 1794165 h 4749526"/>
              <a:gd name="connsiteX10215" fmla="*/ 3573149 w 7402822"/>
              <a:gd name="connsiteY10215" fmla="*/ 1782022 h 4749526"/>
              <a:gd name="connsiteX10216" fmla="*/ 3570113 w 7402822"/>
              <a:gd name="connsiteY10216" fmla="*/ 1772915 h 4749526"/>
              <a:gd name="connsiteX10217" fmla="*/ 3570113 w 7402822"/>
              <a:gd name="connsiteY10217" fmla="*/ 1766843 h 4749526"/>
              <a:gd name="connsiteX10218" fmla="*/ 3573149 w 7402822"/>
              <a:gd name="connsiteY10218" fmla="*/ 1760771 h 4749526"/>
              <a:gd name="connsiteX10219" fmla="*/ 3573149 w 7402822"/>
              <a:gd name="connsiteY10219" fmla="*/ 1754699 h 4749526"/>
              <a:gd name="connsiteX10220" fmla="*/ 3567077 w 7402822"/>
              <a:gd name="connsiteY10220" fmla="*/ 1745592 h 4749526"/>
              <a:gd name="connsiteX10221" fmla="*/ 3573149 w 7402822"/>
              <a:gd name="connsiteY10221" fmla="*/ 1736485 h 4749526"/>
              <a:gd name="connsiteX10222" fmla="*/ 3573149 w 7402822"/>
              <a:gd name="connsiteY10222" fmla="*/ 1721306 h 4749526"/>
              <a:gd name="connsiteX10223" fmla="*/ 3582256 w 7402822"/>
              <a:gd name="connsiteY10223" fmla="*/ 1721306 h 4749526"/>
              <a:gd name="connsiteX10224" fmla="*/ 3591363 w 7402822"/>
              <a:gd name="connsiteY10224" fmla="*/ 1718270 h 4749526"/>
              <a:gd name="connsiteX10225" fmla="*/ 3594400 w 7402822"/>
              <a:gd name="connsiteY10225" fmla="*/ 1706126 h 4749526"/>
              <a:gd name="connsiteX10226" fmla="*/ 3597435 w 7402822"/>
              <a:gd name="connsiteY10226" fmla="*/ 1703091 h 4749526"/>
              <a:gd name="connsiteX10227" fmla="*/ 3609579 w 7402822"/>
              <a:gd name="connsiteY10227" fmla="*/ 1703091 h 4749526"/>
              <a:gd name="connsiteX10228" fmla="*/ 3609579 w 7402822"/>
              <a:gd name="connsiteY10228" fmla="*/ 1697019 h 4749526"/>
              <a:gd name="connsiteX10229" fmla="*/ 3609579 w 7402822"/>
              <a:gd name="connsiteY10229" fmla="*/ 1687912 h 4749526"/>
              <a:gd name="connsiteX10230" fmla="*/ 3618686 w 7402822"/>
              <a:gd name="connsiteY10230" fmla="*/ 1684876 h 4749526"/>
              <a:gd name="connsiteX10231" fmla="*/ 3630829 w 7402822"/>
              <a:gd name="connsiteY10231" fmla="*/ 1687912 h 4749526"/>
              <a:gd name="connsiteX10232" fmla="*/ 3633865 w 7402822"/>
              <a:gd name="connsiteY10232" fmla="*/ 1681840 h 4749526"/>
              <a:gd name="connsiteX10233" fmla="*/ 3642973 w 7402822"/>
              <a:gd name="connsiteY10233" fmla="*/ 1669696 h 4749526"/>
              <a:gd name="connsiteX10234" fmla="*/ 3658152 w 7402822"/>
              <a:gd name="connsiteY10234" fmla="*/ 1666661 h 4749526"/>
              <a:gd name="connsiteX10235" fmla="*/ 3658152 w 7402822"/>
              <a:gd name="connsiteY10235" fmla="*/ 1660589 h 4749526"/>
              <a:gd name="connsiteX10236" fmla="*/ 3664223 w 7402822"/>
              <a:gd name="connsiteY10236" fmla="*/ 1657554 h 4749526"/>
              <a:gd name="connsiteX10237" fmla="*/ 3664223 w 7402822"/>
              <a:gd name="connsiteY10237" fmla="*/ 1648447 h 4749526"/>
              <a:gd name="connsiteX10238" fmla="*/ 3673331 w 7402822"/>
              <a:gd name="connsiteY10238" fmla="*/ 1636303 h 4749526"/>
              <a:gd name="connsiteX10239" fmla="*/ 3679402 w 7402822"/>
              <a:gd name="connsiteY10239" fmla="*/ 1630231 h 4749526"/>
              <a:gd name="connsiteX10240" fmla="*/ 3682438 w 7402822"/>
              <a:gd name="connsiteY10240" fmla="*/ 1621124 h 4749526"/>
              <a:gd name="connsiteX10241" fmla="*/ 3691545 w 7402822"/>
              <a:gd name="connsiteY10241" fmla="*/ 1621124 h 4749526"/>
              <a:gd name="connsiteX10242" fmla="*/ 3691545 w 7402822"/>
              <a:gd name="connsiteY10242" fmla="*/ 1615052 h 4749526"/>
              <a:gd name="connsiteX10243" fmla="*/ 3694581 w 7402822"/>
              <a:gd name="connsiteY10243" fmla="*/ 1615052 h 4749526"/>
              <a:gd name="connsiteX10244" fmla="*/ 3699135 w 7402822"/>
              <a:gd name="connsiteY10244" fmla="*/ 1618088 h 4749526"/>
              <a:gd name="connsiteX10245" fmla="*/ 3705207 w 7402822"/>
              <a:gd name="connsiteY10245" fmla="*/ 1615052 h 4749526"/>
              <a:gd name="connsiteX10246" fmla="*/ 3699135 w 7402822"/>
              <a:gd name="connsiteY10246" fmla="*/ 1608980 h 4749526"/>
              <a:gd name="connsiteX10247" fmla="*/ 3696100 w 7402822"/>
              <a:gd name="connsiteY10247" fmla="*/ 1602909 h 4749526"/>
              <a:gd name="connsiteX10248" fmla="*/ 3702171 w 7402822"/>
              <a:gd name="connsiteY10248" fmla="*/ 1593801 h 4749526"/>
              <a:gd name="connsiteX10249" fmla="*/ 3711279 w 7402822"/>
              <a:gd name="connsiteY10249" fmla="*/ 1587730 h 4749526"/>
              <a:gd name="connsiteX10250" fmla="*/ 3720386 w 7402822"/>
              <a:gd name="connsiteY10250" fmla="*/ 1587730 h 4749526"/>
              <a:gd name="connsiteX10251" fmla="*/ 3723422 w 7402822"/>
              <a:gd name="connsiteY10251" fmla="*/ 1575586 h 4749526"/>
              <a:gd name="connsiteX10252" fmla="*/ 3720386 w 7402822"/>
              <a:gd name="connsiteY10252" fmla="*/ 1563444 h 4749526"/>
              <a:gd name="connsiteX10253" fmla="*/ 3720386 w 7402822"/>
              <a:gd name="connsiteY10253" fmla="*/ 1554336 h 4749526"/>
              <a:gd name="connsiteX10254" fmla="*/ 3726457 w 7402822"/>
              <a:gd name="connsiteY10254" fmla="*/ 1539156 h 4749526"/>
              <a:gd name="connsiteX10255" fmla="*/ 3729493 w 7402822"/>
              <a:gd name="connsiteY10255" fmla="*/ 1536121 h 4749526"/>
              <a:gd name="connsiteX10256" fmla="*/ 3732529 w 7402822"/>
              <a:gd name="connsiteY10256" fmla="*/ 1523977 h 4749526"/>
              <a:gd name="connsiteX10257" fmla="*/ 3735565 w 7402822"/>
              <a:gd name="connsiteY10257" fmla="*/ 1514870 h 4749526"/>
              <a:gd name="connsiteX10258" fmla="*/ 3747708 w 7402822"/>
              <a:gd name="connsiteY10258" fmla="*/ 1493620 h 4749526"/>
              <a:gd name="connsiteX10259" fmla="*/ 3756815 w 7402822"/>
              <a:gd name="connsiteY10259" fmla="*/ 1493620 h 4749526"/>
              <a:gd name="connsiteX10260" fmla="*/ 3762887 w 7402822"/>
              <a:gd name="connsiteY10260" fmla="*/ 1481476 h 4749526"/>
              <a:gd name="connsiteX10261" fmla="*/ 3771994 w 7402822"/>
              <a:gd name="connsiteY10261" fmla="*/ 1478441 h 4749526"/>
              <a:gd name="connsiteX10262" fmla="*/ 3768959 w 7402822"/>
              <a:gd name="connsiteY10262" fmla="*/ 1463262 h 4749526"/>
              <a:gd name="connsiteX10263" fmla="*/ 3778066 w 7402822"/>
              <a:gd name="connsiteY10263" fmla="*/ 1451118 h 4749526"/>
              <a:gd name="connsiteX10264" fmla="*/ 3768959 w 7402822"/>
              <a:gd name="connsiteY10264" fmla="*/ 1448083 h 4749526"/>
              <a:gd name="connsiteX10265" fmla="*/ 3775031 w 7402822"/>
              <a:gd name="connsiteY10265" fmla="*/ 1442011 h 4749526"/>
              <a:gd name="connsiteX10266" fmla="*/ 3781103 w 7402822"/>
              <a:gd name="connsiteY10266" fmla="*/ 1442011 h 4749526"/>
              <a:gd name="connsiteX10267" fmla="*/ 3790210 w 7402822"/>
              <a:gd name="connsiteY10267" fmla="*/ 1442011 h 4749526"/>
              <a:gd name="connsiteX10268" fmla="*/ 3793245 w 7402822"/>
              <a:gd name="connsiteY10268" fmla="*/ 1435939 h 4749526"/>
              <a:gd name="connsiteX10269" fmla="*/ 3799317 w 7402822"/>
              <a:gd name="connsiteY10269" fmla="*/ 1438976 h 4749526"/>
              <a:gd name="connsiteX10270" fmla="*/ 3811460 w 7402822"/>
              <a:gd name="connsiteY10270" fmla="*/ 1432904 h 4749526"/>
              <a:gd name="connsiteX10271" fmla="*/ 3805389 w 7402822"/>
              <a:gd name="connsiteY10271" fmla="*/ 1423796 h 4749526"/>
              <a:gd name="connsiteX10272" fmla="*/ 3805389 w 7402822"/>
              <a:gd name="connsiteY10272" fmla="*/ 1411653 h 4749526"/>
              <a:gd name="connsiteX10273" fmla="*/ 3808424 w 7402822"/>
              <a:gd name="connsiteY10273" fmla="*/ 1402545 h 4749526"/>
              <a:gd name="connsiteX10274" fmla="*/ 3811460 w 7402822"/>
              <a:gd name="connsiteY10274" fmla="*/ 1399509 h 4749526"/>
              <a:gd name="connsiteX10275" fmla="*/ 3820568 w 7402822"/>
              <a:gd name="connsiteY10275" fmla="*/ 1390402 h 4749526"/>
              <a:gd name="connsiteX10276" fmla="*/ 3826639 w 7402822"/>
              <a:gd name="connsiteY10276" fmla="*/ 1384330 h 4749526"/>
              <a:gd name="connsiteX10277" fmla="*/ 3829675 w 7402822"/>
              <a:gd name="connsiteY10277" fmla="*/ 1375223 h 4749526"/>
              <a:gd name="connsiteX10278" fmla="*/ 3841818 w 7402822"/>
              <a:gd name="connsiteY10278" fmla="*/ 1353972 h 4749526"/>
              <a:gd name="connsiteX10279" fmla="*/ 3844854 w 7402822"/>
              <a:gd name="connsiteY10279" fmla="*/ 1350936 h 4749526"/>
              <a:gd name="connsiteX10280" fmla="*/ 3847890 w 7402822"/>
              <a:gd name="connsiteY10280" fmla="*/ 1347900 h 4749526"/>
              <a:gd name="connsiteX10281" fmla="*/ 3853962 w 7402822"/>
              <a:gd name="connsiteY10281" fmla="*/ 1341829 h 4749526"/>
              <a:gd name="connsiteX10282" fmla="*/ 3881283 w 7402822"/>
              <a:gd name="connsiteY10282" fmla="*/ 1323614 h 4749526"/>
              <a:gd name="connsiteX10283" fmla="*/ 3887355 w 7402822"/>
              <a:gd name="connsiteY10283" fmla="*/ 1326650 h 4749526"/>
              <a:gd name="connsiteX10284" fmla="*/ 3890392 w 7402822"/>
              <a:gd name="connsiteY10284" fmla="*/ 1335757 h 4749526"/>
              <a:gd name="connsiteX10285" fmla="*/ 3896463 w 7402822"/>
              <a:gd name="connsiteY10285" fmla="*/ 1329686 h 4749526"/>
              <a:gd name="connsiteX10286" fmla="*/ 3902534 w 7402822"/>
              <a:gd name="connsiteY10286" fmla="*/ 1320578 h 4749526"/>
              <a:gd name="connsiteX10287" fmla="*/ 3902534 w 7402822"/>
              <a:gd name="connsiteY10287" fmla="*/ 1308435 h 4749526"/>
              <a:gd name="connsiteX10288" fmla="*/ 3920749 w 7402822"/>
              <a:gd name="connsiteY10288" fmla="*/ 1302364 h 4749526"/>
              <a:gd name="connsiteX10289" fmla="*/ 3929857 w 7402822"/>
              <a:gd name="connsiteY10289" fmla="*/ 1305399 h 4749526"/>
              <a:gd name="connsiteX10290" fmla="*/ 3938964 w 7402822"/>
              <a:gd name="connsiteY10290" fmla="*/ 1308435 h 4749526"/>
              <a:gd name="connsiteX10291" fmla="*/ 3951107 w 7402822"/>
              <a:gd name="connsiteY10291" fmla="*/ 1302364 h 4749526"/>
              <a:gd name="connsiteX10292" fmla="*/ 3960215 w 7402822"/>
              <a:gd name="connsiteY10292" fmla="*/ 1284148 h 4749526"/>
              <a:gd name="connsiteX10293" fmla="*/ 3966286 w 7402822"/>
              <a:gd name="connsiteY10293" fmla="*/ 1268969 h 4749526"/>
              <a:gd name="connsiteX10294" fmla="*/ 3972358 w 7402822"/>
              <a:gd name="connsiteY10294" fmla="*/ 1272006 h 4749526"/>
              <a:gd name="connsiteX10295" fmla="*/ 3975393 w 7402822"/>
              <a:gd name="connsiteY10295" fmla="*/ 1262897 h 4749526"/>
              <a:gd name="connsiteX10296" fmla="*/ 3987537 w 7402822"/>
              <a:gd name="connsiteY10296" fmla="*/ 1262897 h 4749526"/>
              <a:gd name="connsiteX10297" fmla="*/ 3993609 w 7402822"/>
              <a:gd name="connsiteY10297" fmla="*/ 1262897 h 4749526"/>
              <a:gd name="connsiteX10298" fmla="*/ 3999681 w 7402822"/>
              <a:gd name="connsiteY10298" fmla="*/ 1268969 h 4749526"/>
              <a:gd name="connsiteX10299" fmla="*/ 3993609 w 7402822"/>
              <a:gd name="connsiteY10299" fmla="*/ 1281113 h 4749526"/>
              <a:gd name="connsiteX10300" fmla="*/ 3984502 w 7402822"/>
              <a:gd name="connsiteY10300" fmla="*/ 1290220 h 4749526"/>
              <a:gd name="connsiteX10301" fmla="*/ 3981465 w 7402822"/>
              <a:gd name="connsiteY10301" fmla="*/ 1311471 h 4749526"/>
              <a:gd name="connsiteX10302" fmla="*/ 3984502 w 7402822"/>
              <a:gd name="connsiteY10302" fmla="*/ 1317543 h 4749526"/>
              <a:gd name="connsiteX10303" fmla="*/ 3990573 w 7402822"/>
              <a:gd name="connsiteY10303" fmla="*/ 1308435 h 4749526"/>
              <a:gd name="connsiteX10304" fmla="*/ 3996644 w 7402822"/>
              <a:gd name="connsiteY10304" fmla="*/ 1293256 h 4749526"/>
              <a:gd name="connsiteX10305" fmla="*/ 4008788 w 7402822"/>
              <a:gd name="connsiteY10305" fmla="*/ 1268969 h 4749526"/>
              <a:gd name="connsiteX10306" fmla="*/ 4014860 w 7402822"/>
              <a:gd name="connsiteY10306" fmla="*/ 1272006 h 4749526"/>
              <a:gd name="connsiteX10307" fmla="*/ 4014860 w 7402822"/>
              <a:gd name="connsiteY10307" fmla="*/ 1287185 h 4749526"/>
              <a:gd name="connsiteX10308" fmla="*/ 4011823 w 7402822"/>
              <a:gd name="connsiteY10308" fmla="*/ 1299327 h 4749526"/>
              <a:gd name="connsiteX10309" fmla="*/ 4020931 w 7402822"/>
              <a:gd name="connsiteY10309" fmla="*/ 1293256 h 4749526"/>
              <a:gd name="connsiteX10310" fmla="*/ 4023967 w 7402822"/>
              <a:gd name="connsiteY10310" fmla="*/ 1275041 h 4749526"/>
              <a:gd name="connsiteX10311" fmla="*/ 4023967 w 7402822"/>
              <a:gd name="connsiteY10311" fmla="*/ 1265934 h 4749526"/>
              <a:gd name="connsiteX10312" fmla="*/ 4033074 w 7402822"/>
              <a:gd name="connsiteY10312" fmla="*/ 1256827 h 4749526"/>
              <a:gd name="connsiteX10313" fmla="*/ 4048253 w 7402822"/>
              <a:gd name="connsiteY10313" fmla="*/ 1253790 h 4749526"/>
              <a:gd name="connsiteX10314" fmla="*/ 4054325 w 7402822"/>
              <a:gd name="connsiteY10314" fmla="*/ 1259862 h 4749526"/>
              <a:gd name="connsiteX10315" fmla="*/ 4051289 w 7402822"/>
              <a:gd name="connsiteY10315" fmla="*/ 1268969 h 4749526"/>
              <a:gd name="connsiteX10316" fmla="*/ 4054325 w 7402822"/>
              <a:gd name="connsiteY10316" fmla="*/ 1275041 h 4749526"/>
              <a:gd name="connsiteX10317" fmla="*/ 4072540 w 7402822"/>
              <a:gd name="connsiteY10317" fmla="*/ 1275041 h 4749526"/>
              <a:gd name="connsiteX10318" fmla="*/ 4069504 w 7402822"/>
              <a:gd name="connsiteY10318" fmla="*/ 1281113 h 4749526"/>
              <a:gd name="connsiteX10319" fmla="*/ 4075575 w 7402822"/>
              <a:gd name="connsiteY10319" fmla="*/ 1278076 h 4749526"/>
              <a:gd name="connsiteX10320" fmla="*/ 4078612 w 7402822"/>
              <a:gd name="connsiteY10320" fmla="*/ 1275041 h 4749526"/>
              <a:gd name="connsiteX10321" fmla="*/ 4087719 w 7402822"/>
              <a:gd name="connsiteY10321" fmla="*/ 1278076 h 4749526"/>
              <a:gd name="connsiteX10322" fmla="*/ 4099863 w 7402822"/>
              <a:gd name="connsiteY10322" fmla="*/ 1290220 h 4749526"/>
              <a:gd name="connsiteX10323" fmla="*/ 4105933 w 7402822"/>
              <a:gd name="connsiteY10323" fmla="*/ 1296292 h 4749526"/>
              <a:gd name="connsiteX10324" fmla="*/ 4105933 w 7402822"/>
              <a:gd name="connsiteY10324" fmla="*/ 1305399 h 4749526"/>
              <a:gd name="connsiteX10325" fmla="*/ 4078612 w 7402822"/>
              <a:gd name="connsiteY10325" fmla="*/ 1317543 h 4749526"/>
              <a:gd name="connsiteX10326" fmla="*/ 4066468 w 7402822"/>
              <a:gd name="connsiteY10326" fmla="*/ 1314506 h 4749526"/>
              <a:gd name="connsiteX10327" fmla="*/ 4054325 w 7402822"/>
              <a:gd name="connsiteY10327" fmla="*/ 1311471 h 4749526"/>
              <a:gd name="connsiteX10328" fmla="*/ 4069504 w 7402822"/>
              <a:gd name="connsiteY10328" fmla="*/ 1320578 h 4749526"/>
              <a:gd name="connsiteX10329" fmla="*/ 4078612 w 7402822"/>
              <a:gd name="connsiteY10329" fmla="*/ 1323614 h 4749526"/>
              <a:gd name="connsiteX10330" fmla="*/ 4078612 w 7402822"/>
              <a:gd name="connsiteY10330" fmla="*/ 1335757 h 4749526"/>
              <a:gd name="connsiteX10331" fmla="*/ 4084683 w 7402822"/>
              <a:gd name="connsiteY10331" fmla="*/ 1335757 h 4749526"/>
              <a:gd name="connsiteX10332" fmla="*/ 4087719 w 7402822"/>
              <a:gd name="connsiteY10332" fmla="*/ 1341829 h 4749526"/>
              <a:gd name="connsiteX10333" fmla="*/ 4087719 w 7402822"/>
              <a:gd name="connsiteY10333" fmla="*/ 1335757 h 4749526"/>
              <a:gd name="connsiteX10334" fmla="*/ 4087719 w 7402822"/>
              <a:gd name="connsiteY10334" fmla="*/ 1329686 h 4749526"/>
              <a:gd name="connsiteX10335" fmla="*/ 4090754 w 7402822"/>
              <a:gd name="connsiteY10335" fmla="*/ 1329686 h 4749526"/>
              <a:gd name="connsiteX10336" fmla="*/ 4099863 w 7402822"/>
              <a:gd name="connsiteY10336" fmla="*/ 1332721 h 4749526"/>
              <a:gd name="connsiteX10337" fmla="*/ 4102898 w 7402822"/>
              <a:gd name="connsiteY10337" fmla="*/ 1332721 h 4749526"/>
              <a:gd name="connsiteX10338" fmla="*/ 4112005 w 7402822"/>
              <a:gd name="connsiteY10338" fmla="*/ 1338792 h 4749526"/>
              <a:gd name="connsiteX10339" fmla="*/ 4118077 w 7402822"/>
              <a:gd name="connsiteY10339" fmla="*/ 1338792 h 4749526"/>
              <a:gd name="connsiteX10340" fmla="*/ 4121113 w 7402822"/>
              <a:gd name="connsiteY10340" fmla="*/ 1332721 h 4749526"/>
              <a:gd name="connsiteX10341" fmla="*/ 4127184 w 7402822"/>
              <a:gd name="connsiteY10341" fmla="*/ 1323613 h 4749526"/>
              <a:gd name="connsiteX10342" fmla="*/ 4139328 w 7402822"/>
              <a:gd name="connsiteY10342" fmla="*/ 1332721 h 4749526"/>
              <a:gd name="connsiteX10343" fmla="*/ 4148435 w 7402822"/>
              <a:gd name="connsiteY10343" fmla="*/ 1335756 h 4749526"/>
              <a:gd name="connsiteX10344" fmla="*/ 4145399 w 7402822"/>
              <a:gd name="connsiteY10344" fmla="*/ 1347899 h 4749526"/>
              <a:gd name="connsiteX10345" fmla="*/ 4154507 w 7402822"/>
              <a:gd name="connsiteY10345" fmla="*/ 1353971 h 4749526"/>
              <a:gd name="connsiteX10346" fmla="*/ 4166650 w 7402822"/>
              <a:gd name="connsiteY10346" fmla="*/ 1360043 h 4749526"/>
              <a:gd name="connsiteX10347" fmla="*/ 4184864 w 7402822"/>
              <a:gd name="connsiteY10347" fmla="*/ 1363078 h 4749526"/>
              <a:gd name="connsiteX10348" fmla="*/ 4206115 w 7402822"/>
              <a:gd name="connsiteY10348" fmla="*/ 1369150 h 4749526"/>
              <a:gd name="connsiteX10349" fmla="*/ 4233438 w 7402822"/>
              <a:gd name="connsiteY10349" fmla="*/ 1390401 h 4749526"/>
              <a:gd name="connsiteX10350" fmla="*/ 4245581 w 7402822"/>
              <a:gd name="connsiteY10350" fmla="*/ 1399508 h 4749526"/>
              <a:gd name="connsiteX10351" fmla="*/ 4257724 w 7402822"/>
              <a:gd name="connsiteY10351" fmla="*/ 1411652 h 4749526"/>
              <a:gd name="connsiteX10352" fmla="*/ 4272904 w 7402822"/>
              <a:gd name="connsiteY10352" fmla="*/ 1426831 h 4749526"/>
              <a:gd name="connsiteX10353" fmla="*/ 4282011 w 7402822"/>
              <a:gd name="connsiteY10353" fmla="*/ 1432903 h 4749526"/>
              <a:gd name="connsiteX10354" fmla="*/ 4309334 w 7402822"/>
              <a:gd name="connsiteY10354" fmla="*/ 1451117 h 4749526"/>
              <a:gd name="connsiteX10355" fmla="*/ 4318441 w 7402822"/>
              <a:gd name="connsiteY10355" fmla="*/ 1478440 h 4749526"/>
              <a:gd name="connsiteX10356" fmla="*/ 4315404 w 7402822"/>
              <a:gd name="connsiteY10356" fmla="*/ 1499690 h 4749526"/>
              <a:gd name="connsiteX10357" fmla="*/ 4306297 w 7402822"/>
              <a:gd name="connsiteY10357" fmla="*/ 1514869 h 4749526"/>
              <a:gd name="connsiteX10358" fmla="*/ 4294155 w 7402822"/>
              <a:gd name="connsiteY10358" fmla="*/ 1527013 h 4749526"/>
              <a:gd name="connsiteX10359" fmla="*/ 4269868 w 7402822"/>
              <a:gd name="connsiteY10359" fmla="*/ 1536120 h 4749526"/>
              <a:gd name="connsiteX10360" fmla="*/ 4245581 w 7402822"/>
              <a:gd name="connsiteY10360" fmla="*/ 1536120 h 4749526"/>
              <a:gd name="connsiteX10361" fmla="*/ 4218259 w 7402822"/>
              <a:gd name="connsiteY10361" fmla="*/ 1527013 h 4749526"/>
              <a:gd name="connsiteX10362" fmla="*/ 4190936 w 7402822"/>
              <a:gd name="connsiteY10362" fmla="*/ 1517906 h 4749526"/>
              <a:gd name="connsiteX10363" fmla="*/ 4166650 w 7402822"/>
              <a:gd name="connsiteY10363" fmla="*/ 1505762 h 4749526"/>
              <a:gd name="connsiteX10364" fmla="*/ 4154507 w 7402822"/>
              <a:gd name="connsiteY10364" fmla="*/ 1502726 h 4749526"/>
              <a:gd name="connsiteX10365" fmla="*/ 4142363 w 7402822"/>
              <a:gd name="connsiteY10365" fmla="*/ 1490583 h 4749526"/>
              <a:gd name="connsiteX10366" fmla="*/ 4142363 w 7402822"/>
              <a:gd name="connsiteY10366" fmla="*/ 1487547 h 4749526"/>
              <a:gd name="connsiteX10367" fmla="*/ 4136292 w 7402822"/>
              <a:gd name="connsiteY10367" fmla="*/ 1481475 h 4749526"/>
              <a:gd name="connsiteX10368" fmla="*/ 4121113 w 7402822"/>
              <a:gd name="connsiteY10368" fmla="*/ 1481475 h 4749526"/>
              <a:gd name="connsiteX10369" fmla="*/ 4133256 w 7402822"/>
              <a:gd name="connsiteY10369" fmla="*/ 1493619 h 4749526"/>
              <a:gd name="connsiteX10370" fmla="*/ 4139328 w 7402822"/>
              <a:gd name="connsiteY10370" fmla="*/ 1499690 h 4749526"/>
              <a:gd name="connsiteX10371" fmla="*/ 4142363 w 7402822"/>
              <a:gd name="connsiteY10371" fmla="*/ 1508798 h 4749526"/>
              <a:gd name="connsiteX10372" fmla="*/ 4154507 w 7402822"/>
              <a:gd name="connsiteY10372" fmla="*/ 1517906 h 4749526"/>
              <a:gd name="connsiteX10373" fmla="*/ 4160578 w 7402822"/>
              <a:gd name="connsiteY10373" fmla="*/ 1523977 h 4749526"/>
              <a:gd name="connsiteX10374" fmla="*/ 4184864 w 7402822"/>
              <a:gd name="connsiteY10374" fmla="*/ 1548264 h 4749526"/>
              <a:gd name="connsiteX10375" fmla="*/ 4187901 w 7402822"/>
              <a:gd name="connsiteY10375" fmla="*/ 1557371 h 4749526"/>
              <a:gd name="connsiteX10376" fmla="*/ 4181829 w 7402822"/>
              <a:gd name="connsiteY10376" fmla="*/ 1569514 h 4749526"/>
              <a:gd name="connsiteX10377" fmla="*/ 4178793 w 7402822"/>
              <a:gd name="connsiteY10377" fmla="*/ 1569514 h 4749526"/>
              <a:gd name="connsiteX10378" fmla="*/ 4175757 w 7402822"/>
              <a:gd name="connsiteY10378" fmla="*/ 1572550 h 4749526"/>
              <a:gd name="connsiteX10379" fmla="*/ 4181829 w 7402822"/>
              <a:gd name="connsiteY10379" fmla="*/ 1593801 h 4749526"/>
              <a:gd name="connsiteX10380" fmla="*/ 4184864 w 7402822"/>
              <a:gd name="connsiteY10380" fmla="*/ 1602908 h 4749526"/>
              <a:gd name="connsiteX10381" fmla="*/ 4181829 w 7402822"/>
              <a:gd name="connsiteY10381" fmla="*/ 1615051 h 4749526"/>
              <a:gd name="connsiteX10382" fmla="*/ 4193973 w 7402822"/>
              <a:gd name="connsiteY10382" fmla="*/ 1624158 h 4749526"/>
              <a:gd name="connsiteX10383" fmla="*/ 4197008 w 7402822"/>
              <a:gd name="connsiteY10383" fmla="*/ 1624158 h 4749526"/>
              <a:gd name="connsiteX10384" fmla="*/ 4200044 w 7402822"/>
              <a:gd name="connsiteY10384" fmla="*/ 1621123 h 4749526"/>
              <a:gd name="connsiteX10385" fmla="*/ 4209152 w 7402822"/>
              <a:gd name="connsiteY10385" fmla="*/ 1630230 h 4749526"/>
              <a:gd name="connsiteX10386" fmla="*/ 4212187 w 7402822"/>
              <a:gd name="connsiteY10386" fmla="*/ 1639337 h 4749526"/>
              <a:gd name="connsiteX10387" fmla="*/ 4221294 w 7402822"/>
              <a:gd name="connsiteY10387" fmla="*/ 1642374 h 4749526"/>
              <a:gd name="connsiteX10388" fmla="*/ 4230403 w 7402822"/>
              <a:gd name="connsiteY10388" fmla="*/ 1645409 h 4749526"/>
              <a:gd name="connsiteX10389" fmla="*/ 4242545 w 7402822"/>
              <a:gd name="connsiteY10389" fmla="*/ 1642374 h 4749526"/>
              <a:gd name="connsiteX10390" fmla="*/ 4251653 w 7402822"/>
              <a:gd name="connsiteY10390" fmla="*/ 1639337 h 4749526"/>
              <a:gd name="connsiteX10391" fmla="*/ 4248617 w 7402822"/>
              <a:gd name="connsiteY10391" fmla="*/ 1627195 h 4749526"/>
              <a:gd name="connsiteX10392" fmla="*/ 4230403 w 7402822"/>
              <a:gd name="connsiteY10392" fmla="*/ 1621123 h 4749526"/>
              <a:gd name="connsiteX10393" fmla="*/ 4221294 w 7402822"/>
              <a:gd name="connsiteY10393" fmla="*/ 1602908 h 4749526"/>
              <a:gd name="connsiteX10394" fmla="*/ 4224331 w 7402822"/>
              <a:gd name="connsiteY10394" fmla="*/ 1587729 h 4749526"/>
              <a:gd name="connsiteX10395" fmla="*/ 4227366 w 7402822"/>
              <a:gd name="connsiteY10395" fmla="*/ 1581657 h 4749526"/>
              <a:gd name="connsiteX10396" fmla="*/ 4242545 w 7402822"/>
              <a:gd name="connsiteY10396" fmla="*/ 1587729 h 4749526"/>
              <a:gd name="connsiteX10397" fmla="*/ 4251653 w 7402822"/>
              <a:gd name="connsiteY10397" fmla="*/ 1602908 h 4749526"/>
              <a:gd name="connsiteX10398" fmla="*/ 4257724 w 7402822"/>
              <a:gd name="connsiteY10398" fmla="*/ 1602908 h 4749526"/>
              <a:gd name="connsiteX10399" fmla="*/ 4263796 w 7402822"/>
              <a:gd name="connsiteY10399" fmla="*/ 1602908 h 4749526"/>
              <a:gd name="connsiteX10400" fmla="*/ 4275939 w 7402822"/>
              <a:gd name="connsiteY10400" fmla="*/ 1608979 h 4749526"/>
              <a:gd name="connsiteX10401" fmla="*/ 4288083 w 7402822"/>
              <a:gd name="connsiteY10401" fmla="*/ 1615051 h 4749526"/>
              <a:gd name="connsiteX10402" fmla="*/ 4300225 w 7402822"/>
              <a:gd name="connsiteY10402" fmla="*/ 1615051 h 4749526"/>
              <a:gd name="connsiteX10403" fmla="*/ 4300225 w 7402822"/>
              <a:gd name="connsiteY10403" fmla="*/ 1612015 h 4749526"/>
              <a:gd name="connsiteX10404" fmla="*/ 4288083 w 7402822"/>
              <a:gd name="connsiteY10404" fmla="*/ 1581657 h 4749526"/>
              <a:gd name="connsiteX10405" fmla="*/ 4285047 w 7402822"/>
              <a:gd name="connsiteY10405" fmla="*/ 1569514 h 4749526"/>
              <a:gd name="connsiteX10406" fmla="*/ 4288083 w 7402822"/>
              <a:gd name="connsiteY10406" fmla="*/ 1560406 h 4749526"/>
              <a:gd name="connsiteX10407" fmla="*/ 4306297 w 7402822"/>
              <a:gd name="connsiteY10407" fmla="*/ 1545227 h 4749526"/>
              <a:gd name="connsiteX10408" fmla="*/ 4324513 w 7402822"/>
              <a:gd name="connsiteY10408" fmla="*/ 1533085 h 4749526"/>
              <a:gd name="connsiteX10409" fmla="*/ 4333620 w 7402822"/>
              <a:gd name="connsiteY10409" fmla="*/ 1520941 h 4749526"/>
              <a:gd name="connsiteX10410" fmla="*/ 4339692 w 7402822"/>
              <a:gd name="connsiteY10410" fmla="*/ 1514869 h 4749526"/>
              <a:gd name="connsiteX10411" fmla="*/ 4354871 w 7402822"/>
              <a:gd name="connsiteY10411" fmla="*/ 1520941 h 4749526"/>
              <a:gd name="connsiteX10412" fmla="*/ 4367014 w 7402822"/>
              <a:gd name="connsiteY10412" fmla="*/ 1527013 h 4749526"/>
              <a:gd name="connsiteX10413" fmla="*/ 4373085 w 7402822"/>
              <a:gd name="connsiteY10413" fmla="*/ 1533085 h 4749526"/>
              <a:gd name="connsiteX10414" fmla="*/ 4376121 w 7402822"/>
              <a:gd name="connsiteY10414" fmla="*/ 1530048 h 4749526"/>
              <a:gd name="connsiteX10415" fmla="*/ 4382193 w 7402822"/>
              <a:gd name="connsiteY10415" fmla="*/ 1508798 h 4749526"/>
              <a:gd name="connsiteX10416" fmla="*/ 4382193 w 7402822"/>
              <a:gd name="connsiteY10416" fmla="*/ 1496655 h 4749526"/>
              <a:gd name="connsiteX10417" fmla="*/ 4376121 w 7402822"/>
              <a:gd name="connsiteY10417" fmla="*/ 1481475 h 4749526"/>
              <a:gd name="connsiteX10418" fmla="*/ 4367014 w 7402822"/>
              <a:gd name="connsiteY10418" fmla="*/ 1478440 h 4749526"/>
              <a:gd name="connsiteX10419" fmla="*/ 4373085 w 7402822"/>
              <a:gd name="connsiteY10419" fmla="*/ 1460225 h 4749526"/>
              <a:gd name="connsiteX10420" fmla="*/ 4376121 w 7402822"/>
              <a:gd name="connsiteY10420" fmla="*/ 1429866 h 4749526"/>
              <a:gd name="connsiteX10421" fmla="*/ 4379157 w 7402822"/>
              <a:gd name="connsiteY10421" fmla="*/ 1420759 h 4749526"/>
              <a:gd name="connsiteX10422" fmla="*/ 4373085 w 7402822"/>
              <a:gd name="connsiteY10422" fmla="*/ 1414687 h 4749526"/>
              <a:gd name="connsiteX10423" fmla="*/ 4360942 w 7402822"/>
              <a:gd name="connsiteY10423" fmla="*/ 1405580 h 4749526"/>
              <a:gd name="connsiteX10424" fmla="*/ 4357906 w 7402822"/>
              <a:gd name="connsiteY10424" fmla="*/ 1399508 h 4749526"/>
              <a:gd name="connsiteX10425" fmla="*/ 4360942 w 7402822"/>
              <a:gd name="connsiteY10425" fmla="*/ 1399508 h 4749526"/>
              <a:gd name="connsiteX10426" fmla="*/ 4373085 w 7402822"/>
              <a:gd name="connsiteY10426" fmla="*/ 1405580 h 4749526"/>
              <a:gd name="connsiteX10427" fmla="*/ 4385228 w 7402822"/>
              <a:gd name="connsiteY10427" fmla="*/ 1405580 h 4749526"/>
              <a:gd name="connsiteX10428" fmla="*/ 4409515 w 7402822"/>
              <a:gd name="connsiteY10428" fmla="*/ 1408615 h 4749526"/>
              <a:gd name="connsiteX10429" fmla="*/ 4418623 w 7402822"/>
              <a:gd name="connsiteY10429" fmla="*/ 1420759 h 4749526"/>
              <a:gd name="connsiteX10430" fmla="*/ 4424694 w 7402822"/>
              <a:gd name="connsiteY10430" fmla="*/ 1429866 h 4749526"/>
              <a:gd name="connsiteX10431" fmla="*/ 4427730 w 7402822"/>
              <a:gd name="connsiteY10431" fmla="*/ 1442010 h 4749526"/>
              <a:gd name="connsiteX10432" fmla="*/ 4418623 w 7402822"/>
              <a:gd name="connsiteY10432" fmla="*/ 1448082 h 4749526"/>
              <a:gd name="connsiteX10433" fmla="*/ 4406479 w 7402822"/>
              <a:gd name="connsiteY10433" fmla="*/ 1448082 h 4749526"/>
              <a:gd name="connsiteX10434" fmla="*/ 4397372 w 7402822"/>
              <a:gd name="connsiteY10434" fmla="*/ 1460225 h 4749526"/>
              <a:gd name="connsiteX10435" fmla="*/ 4394336 w 7402822"/>
              <a:gd name="connsiteY10435" fmla="*/ 1472368 h 4749526"/>
              <a:gd name="connsiteX10436" fmla="*/ 4406479 w 7402822"/>
              <a:gd name="connsiteY10436" fmla="*/ 1487547 h 4749526"/>
              <a:gd name="connsiteX10437" fmla="*/ 4409515 w 7402822"/>
              <a:gd name="connsiteY10437" fmla="*/ 1496655 h 4749526"/>
              <a:gd name="connsiteX10438" fmla="*/ 4415586 w 7402822"/>
              <a:gd name="connsiteY10438" fmla="*/ 1499690 h 4749526"/>
              <a:gd name="connsiteX10439" fmla="*/ 4424694 w 7402822"/>
              <a:gd name="connsiteY10439" fmla="*/ 1499690 h 4749526"/>
              <a:gd name="connsiteX10440" fmla="*/ 4439873 w 7402822"/>
              <a:gd name="connsiteY10440" fmla="*/ 1496655 h 4749526"/>
              <a:gd name="connsiteX10441" fmla="*/ 4448981 w 7402822"/>
              <a:gd name="connsiteY10441" fmla="*/ 1490583 h 4749526"/>
              <a:gd name="connsiteX10442" fmla="*/ 4452016 w 7402822"/>
              <a:gd name="connsiteY10442" fmla="*/ 1469332 h 4749526"/>
              <a:gd name="connsiteX10443" fmla="*/ 4452016 w 7402822"/>
              <a:gd name="connsiteY10443" fmla="*/ 1460225 h 4749526"/>
              <a:gd name="connsiteX10444" fmla="*/ 4458088 w 7402822"/>
              <a:gd name="connsiteY10444" fmla="*/ 1454154 h 4749526"/>
              <a:gd name="connsiteX10445" fmla="*/ 4470231 w 7402822"/>
              <a:gd name="connsiteY10445" fmla="*/ 1451117 h 4749526"/>
              <a:gd name="connsiteX10446" fmla="*/ 4497554 w 7402822"/>
              <a:gd name="connsiteY10446" fmla="*/ 1429866 h 4749526"/>
              <a:gd name="connsiteX10447" fmla="*/ 4509696 w 7402822"/>
              <a:gd name="connsiteY10447" fmla="*/ 1420759 h 4749526"/>
              <a:gd name="connsiteX10448" fmla="*/ 4521840 w 7402822"/>
              <a:gd name="connsiteY10448" fmla="*/ 1414687 h 4749526"/>
              <a:gd name="connsiteX10449" fmla="*/ 4533984 w 7402822"/>
              <a:gd name="connsiteY10449" fmla="*/ 1408615 h 4749526"/>
              <a:gd name="connsiteX10450" fmla="*/ 4555234 w 7402822"/>
              <a:gd name="connsiteY10450" fmla="*/ 1393436 h 4749526"/>
              <a:gd name="connsiteX10451" fmla="*/ 4567377 w 7402822"/>
              <a:gd name="connsiteY10451" fmla="*/ 1387366 h 4749526"/>
              <a:gd name="connsiteX10452" fmla="*/ 4579520 w 7402822"/>
              <a:gd name="connsiteY10452" fmla="*/ 1381294 h 4749526"/>
              <a:gd name="connsiteX10453" fmla="*/ 4585592 w 7402822"/>
              <a:gd name="connsiteY10453" fmla="*/ 1384329 h 4749526"/>
              <a:gd name="connsiteX10454" fmla="*/ 4576484 w 7402822"/>
              <a:gd name="connsiteY10454" fmla="*/ 1393436 h 4749526"/>
              <a:gd name="connsiteX10455" fmla="*/ 4567377 w 7402822"/>
              <a:gd name="connsiteY10455" fmla="*/ 1414687 h 4749526"/>
              <a:gd name="connsiteX10456" fmla="*/ 4564341 w 7402822"/>
              <a:gd name="connsiteY10456" fmla="*/ 1423795 h 4749526"/>
              <a:gd name="connsiteX10457" fmla="*/ 4576484 w 7402822"/>
              <a:gd name="connsiteY10457" fmla="*/ 1423795 h 4749526"/>
              <a:gd name="connsiteX10458" fmla="*/ 4585592 w 7402822"/>
              <a:gd name="connsiteY10458" fmla="*/ 1423795 h 4749526"/>
              <a:gd name="connsiteX10459" fmla="*/ 4597735 w 7402822"/>
              <a:gd name="connsiteY10459" fmla="*/ 1414687 h 4749526"/>
              <a:gd name="connsiteX10460" fmla="*/ 4606843 w 7402822"/>
              <a:gd name="connsiteY10460" fmla="*/ 1405580 h 4749526"/>
              <a:gd name="connsiteX10461" fmla="*/ 4618985 w 7402822"/>
              <a:gd name="connsiteY10461" fmla="*/ 1402545 h 4749526"/>
              <a:gd name="connsiteX10462" fmla="*/ 4631129 w 7402822"/>
              <a:gd name="connsiteY10462" fmla="*/ 1405580 h 4749526"/>
              <a:gd name="connsiteX10463" fmla="*/ 4631129 w 7402822"/>
              <a:gd name="connsiteY10463" fmla="*/ 1402545 h 4749526"/>
              <a:gd name="connsiteX10464" fmla="*/ 4649343 w 7402822"/>
              <a:gd name="connsiteY10464" fmla="*/ 1402545 h 4749526"/>
              <a:gd name="connsiteX10465" fmla="*/ 4652380 w 7402822"/>
              <a:gd name="connsiteY10465" fmla="*/ 1396473 h 4749526"/>
              <a:gd name="connsiteX10466" fmla="*/ 4661487 w 7402822"/>
              <a:gd name="connsiteY10466" fmla="*/ 1390401 h 4749526"/>
              <a:gd name="connsiteX10467" fmla="*/ 4676666 w 7402822"/>
              <a:gd name="connsiteY10467" fmla="*/ 1381294 h 4749526"/>
              <a:gd name="connsiteX10468" fmla="*/ 4679702 w 7402822"/>
              <a:gd name="connsiteY10468" fmla="*/ 1384329 h 4749526"/>
              <a:gd name="connsiteX10469" fmla="*/ 4682738 w 7402822"/>
              <a:gd name="connsiteY10469" fmla="*/ 1384329 h 4749526"/>
              <a:gd name="connsiteX10470" fmla="*/ 4691845 w 7402822"/>
              <a:gd name="connsiteY10470" fmla="*/ 1396473 h 4749526"/>
              <a:gd name="connsiteX10471" fmla="*/ 4685774 w 7402822"/>
              <a:gd name="connsiteY10471" fmla="*/ 1405580 h 4749526"/>
              <a:gd name="connsiteX10472" fmla="*/ 4685774 w 7402822"/>
              <a:gd name="connsiteY10472" fmla="*/ 1414687 h 4749526"/>
              <a:gd name="connsiteX10473" fmla="*/ 4691845 w 7402822"/>
              <a:gd name="connsiteY10473" fmla="*/ 1417723 h 4749526"/>
              <a:gd name="connsiteX10474" fmla="*/ 4700953 w 7402822"/>
              <a:gd name="connsiteY10474" fmla="*/ 1414687 h 4749526"/>
              <a:gd name="connsiteX10475" fmla="*/ 4716132 w 7402822"/>
              <a:gd name="connsiteY10475" fmla="*/ 1393436 h 4749526"/>
              <a:gd name="connsiteX10476" fmla="*/ 4722204 w 7402822"/>
              <a:gd name="connsiteY10476" fmla="*/ 1375222 h 4749526"/>
              <a:gd name="connsiteX10477" fmla="*/ 4719167 w 7402822"/>
              <a:gd name="connsiteY10477" fmla="*/ 1369150 h 4749526"/>
              <a:gd name="connsiteX10478" fmla="*/ 4713096 w 7402822"/>
              <a:gd name="connsiteY10478" fmla="*/ 1360043 h 4749526"/>
              <a:gd name="connsiteX10479" fmla="*/ 4707024 w 7402822"/>
              <a:gd name="connsiteY10479" fmla="*/ 1347899 h 4749526"/>
              <a:gd name="connsiteX10480" fmla="*/ 4710060 w 7402822"/>
              <a:gd name="connsiteY10480" fmla="*/ 1341828 h 4749526"/>
              <a:gd name="connsiteX10481" fmla="*/ 4722204 w 7402822"/>
              <a:gd name="connsiteY10481" fmla="*/ 1329685 h 4749526"/>
              <a:gd name="connsiteX10482" fmla="*/ 4731311 w 7402822"/>
              <a:gd name="connsiteY10482" fmla="*/ 1332721 h 4749526"/>
              <a:gd name="connsiteX10483" fmla="*/ 4758633 w 7402822"/>
              <a:gd name="connsiteY10483" fmla="*/ 1335756 h 4749526"/>
              <a:gd name="connsiteX10484" fmla="*/ 4785955 w 7402822"/>
              <a:gd name="connsiteY10484" fmla="*/ 1347899 h 4749526"/>
              <a:gd name="connsiteX10485" fmla="*/ 4795063 w 7402822"/>
              <a:gd name="connsiteY10485" fmla="*/ 1353971 h 4749526"/>
              <a:gd name="connsiteX10486" fmla="*/ 4807206 w 7402822"/>
              <a:gd name="connsiteY10486" fmla="*/ 1363078 h 4749526"/>
              <a:gd name="connsiteX10487" fmla="*/ 4816314 w 7402822"/>
              <a:gd name="connsiteY10487" fmla="*/ 1369150 h 4749526"/>
              <a:gd name="connsiteX10488" fmla="*/ 4819349 w 7402822"/>
              <a:gd name="connsiteY10488" fmla="*/ 1372186 h 4749526"/>
              <a:gd name="connsiteX10489" fmla="*/ 4825421 w 7402822"/>
              <a:gd name="connsiteY10489" fmla="*/ 1378257 h 4749526"/>
              <a:gd name="connsiteX10490" fmla="*/ 4834528 w 7402822"/>
              <a:gd name="connsiteY10490" fmla="*/ 1381294 h 4749526"/>
              <a:gd name="connsiteX10491" fmla="*/ 4849707 w 7402822"/>
              <a:gd name="connsiteY10491" fmla="*/ 1393436 h 4749526"/>
              <a:gd name="connsiteX10492" fmla="*/ 4861851 w 7402822"/>
              <a:gd name="connsiteY10492" fmla="*/ 1405580 h 4749526"/>
              <a:gd name="connsiteX10493" fmla="*/ 4870958 w 7402822"/>
              <a:gd name="connsiteY10493" fmla="*/ 1411652 h 4749526"/>
              <a:gd name="connsiteX10494" fmla="*/ 4873993 w 7402822"/>
              <a:gd name="connsiteY10494" fmla="*/ 1420759 h 4749526"/>
              <a:gd name="connsiteX10495" fmla="*/ 4873993 w 7402822"/>
              <a:gd name="connsiteY10495" fmla="*/ 1426831 h 4749526"/>
              <a:gd name="connsiteX10496" fmla="*/ 4875426 w 7402822"/>
              <a:gd name="connsiteY10496" fmla="*/ 1425875 h 4749526"/>
              <a:gd name="connsiteX10497" fmla="*/ 4883101 w 7402822"/>
              <a:gd name="connsiteY10497" fmla="*/ 1420759 h 4749526"/>
              <a:gd name="connsiteX10498" fmla="*/ 4886137 w 7402822"/>
              <a:gd name="connsiteY10498" fmla="*/ 1402544 h 4749526"/>
              <a:gd name="connsiteX10499" fmla="*/ 4886137 w 7402822"/>
              <a:gd name="connsiteY10499" fmla="*/ 1384329 h 4749526"/>
              <a:gd name="connsiteX10500" fmla="*/ 4870958 w 7402822"/>
              <a:gd name="connsiteY10500" fmla="*/ 1366114 h 4749526"/>
              <a:gd name="connsiteX10501" fmla="*/ 4867922 w 7402822"/>
              <a:gd name="connsiteY10501" fmla="*/ 1350935 h 4749526"/>
              <a:gd name="connsiteX10502" fmla="*/ 4858814 w 7402822"/>
              <a:gd name="connsiteY10502" fmla="*/ 1344864 h 4749526"/>
              <a:gd name="connsiteX10503" fmla="*/ 4852743 w 7402822"/>
              <a:gd name="connsiteY10503" fmla="*/ 1341827 h 4749526"/>
              <a:gd name="connsiteX10504" fmla="*/ 4846672 w 7402822"/>
              <a:gd name="connsiteY10504" fmla="*/ 1338792 h 4749526"/>
              <a:gd name="connsiteX10505" fmla="*/ 4846672 w 7402822"/>
              <a:gd name="connsiteY10505" fmla="*/ 1347899 h 4749526"/>
              <a:gd name="connsiteX10506" fmla="*/ 4843635 w 7402822"/>
              <a:gd name="connsiteY10506" fmla="*/ 1329685 h 4749526"/>
              <a:gd name="connsiteX10507" fmla="*/ 4846672 w 7402822"/>
              <a:gd name="connsiteY10507" fmla="*/ 1320577 h 4749526"/>
              <a:gd name="connsiteX10508" fmla="*/ 4852743 w 7402822"/>
              <a:gd name="connsiteY10508" fmla="*/ 1284147 h 4749526"/>
              <a:gd name="connsiteX10509" fmla="*/ 4849707 w 7402822"/>
              <a:gd name="connsiteY10509" fmla="*/ 1272004 h 4749526"/>
              <a:gd name="connsiteX10510" fmla="*/ 4843635 w 7402822"/>
              <a:gd name="connsiteY10510" fmla="*/ 1275040 h 4749526"/>
              <a:gd name="connsiteX10511" fmla="*/ 4840600 w 7402822"/>
              <a:gd name="connsiteY10511" fmla="*/ 1253789 h 4749526"/>
              <a:gd name="connsiteX10512" fmla="*/ 4846672 w 7402822"/>
              <a:gd name="connsiteY10512" fmla="*/ 1241645 h 4749526"/>
              <a:gd name="connsiteX10513" fmla="*/ 4849707 w 7402822"/>
              <a:gd name="connsiteY10513" fmla="*/ 1241645 h 4749526"/>
              <a:gd name="connsiteX10514" fmla="*/ 4873993 w 7402822"/>
              <a:gd name="connsiteY10514" fmla="*/ 1217359 h 4749526"/>
              <a:gd name="connsiteX10515" fmla="*/ 4889173 w 7402822"/>
              <a:gd name="connsiteY10515" fmla="*/ 1147535 h 4749526"/>
              <a:gd name="connsiteX10516" fmla="*/ 4895244 w 7402822"/>
              <a:gd name="connsiteY10516" fmla="*/ 1135393 h 4749526"/>
              <a:gd name="connsiteX10517" fmla="*/ 4898280 w 7402822"/>
              <a:gd name="connsiteY10517" fmla="*/ 1129321 h 4749526"/>
              <a:gd name="connsiteX10518" fmla="*/ 4904352 w 7402822"/>
              <a:gd name="connsiteY10518" fmla="*/ 1129321 h 4749526"/>
              <a:gd name="connsiteX10519" fmla="*/ 4925603 w 7402822"/>
              <a:gd name="connsiteY10519" fmla="*/ 1132356 h 4749526"/>
              <a:gd name="connsiteX10520" fmla="*/ 4940782 w 7402822"/>
              <a:gd name="connsiteY10520" fmla="*/ 1132356 h 4749526"/>
              <a:gd name="connsiteX10521" fmla="*/ 4962032 w 7402822"/>
              <a:gd name="connsiteY10521" fmla="*/ 1144500 h 4749526"/>
              <a:gd name="connsiteX10522" fmla="*/ 4968103 w 7402822"/>
              <a:gd name="connsiteY10522" fmla="*/ 1147535 h 4749526"/>
              <a:gd name="connsiteX10523" fmla="*/ 4968103 w 7402822"/>
              <a:gd name="connsiteY10523" fmla="*/ 1168786 h 4749526"/>
              <a:gd name="connsiteX10524" fmla="*/ 4962032 w 7402822"/>
              <a:gd name="connsiteY10524" fmla="*/ 1193073 h 4749526"/>
              <a:gd name="connsiteX10525" fmla="*/ 4958996 w 7402822"/>
              <a:gd name="connsiteY10525" fmla="*/ 1211288 h 4749526"/>
              <a:gd name="connsiteX10526" fmla="*/ 4955961 w 7402822"/>
              <a:gd name="connsiteY10526" fmla="*/ 1217359 h 4749526"/>
              <a:gd name="connsiteX10527" fmla="*/ 4946854 w 7402822"/>
              <a:gd name="connsiteY10527" fmla="*/ 1229503 h 4749526"/>
              <a:gd name="connsiteX10528" fmla="*/ 4952924 w 7402822"/>
              <a:gd name="connsiteY10528" fmla="*/ 1241645 h 4749526"/>
              <a:gd name="connsiteX10529" fmla="*/ 4962032 w 7402822"/>
              <a:gd name="connsiteY10529" fmla="*/ 1250754 h 4749526"/>
              <a:gd name="connsiteX10530" fmla="*/ 4968103 w 7402822"/>
              <a:gd name="connsiteY10530" fmla="*/ 1265933 h 4749526"/>
              <a:gd name="connsiteX10531" fmla="*/ 4968103 w 7402822"/>
              <a:gd name="connsiteY10531" fmla="*/ 1275040 h 4749526"/>
              <a:gd name="connsiteX10532" fmla="*/ 4965068 w 7402822"/>
              <a:gd name="connsiteY10532" fmla="*/ 1296290 h 4749526"/>
              <a:gd name="connsiteX10533" fmla="*/ 4962032 w 7402822"/>
              <a:gd name="connsiteY10533" fmla="*/ 1302362 h 4749526"/>
              <a:gd name="connsiteX10534" fmla="*/ 4965068 w 7402822"/>
              <a:gd name="connsiteY10534" fmla="*/ 1326648 h 4749526"/>
              <a:gd name="connsiteX10535" fmla="*/ 4965068 w 7402822"/>
              <a:gd name="connsiteY10535" fmla="*/ 1363078 h 4749526"/>
              <a:gd name="connsiteX10536" fmla="*/ 4962032 w 7402822"/>
              <a:gd name="connsiteY10536" fmla="*/ 1369150 h 4749526"/>
              <a:gd name="connsiteX10537" fmla="*/ 4962032 w 7402822"/>
              <a:gd name="connsiteY10537" fmla="*/ 1381293 h 4749526"/>
              <a:gd name="connsiteX10538" fmla="*/ 4971140 w 7402822"/>
              <a:gd name="connsiteY10538" fmla="*/ 1393436 h 4749526"/>
              <a:gd name="connsiteX10539" fmla="*/ 4983283 w 7402822"/>
              <a:gd name="connsiteY10539" fmla="*/ 1405580 h 4749526"/>
              <a:gd name="connsiteX10540" fmla="*/ 4986319 w 7402822"/>
              <a:gd name="connsiteY10540" fmla="*/ 1411651 h 4749526"/>
              <a:gd name="connsiteX10541" fmla="*/ 4983283 w 7402822"/>
              <a:gd name="connsiteY10541" fmla="*/ 1411651 h 4749526"/>
              <a:gd name="connsiteX10542" fmla="*/ 4977211 w 7402822"/>
              <a:gd name="connsiteY10542" fmla="*/ 1420759 h 4749526"/>
              <a:gd name="connsiteX10543" fmla="*/ 4974175 w 7402822"/>
              <a:gd name="connsiteY10543" fmla="*/ 1423795 h 4749526"/>
              <a:gd name="connsiteX10544" fmla="*/ 4974175 w 7402822"/>
              <a:gd name="connsiteY10544" fmla="*/ 1435938 h 4749526"/>
              <a:gd name="connsiteX10545" fmla="*/ 4968103 w 7402822"/>
              <a:gd name="connsiteY10545" fmla="*/ 1457189 h 4749526"/>
              <a:gd name="connsiteX10546" fmla="*/ 4952924 w 7402822"/>
              <a:gd name="connsiteY10546" fmla="*/ 1487546 h 4749526"/>
              <a:gd name="connsiteX10547" fmla="*/ 4937745 w 7402822"/>
              <a:gd name="connsiteY10547" fmla="*/ 1496655 h 4749526"/>
              <a:gd name="connsiteX10548" fmla="*/ 4943817 w 7402822"/>
              <a:gd name="connsiteY10548" fmla="*/ 1505762 h 4749526"/>
              <a:gd name="connsiteX10549" fmla="*/ 4940782 w 7402822"/>
              <a:gd name="connsiteY10549" fmla="*/ 1508797 h 4749526"/>
              <a:gd name="connsiteX10550" fmla="*/ 4943817 w 7402822"/>
              <a:gd name="connsiteY10550" fmla="*/ 1527013 h 4749526"/>
              <a:gd name="connsiteX10551" fmla="*/ 4946854 w 7402822"/>
              <a:gd name="connsiteY10551" fmla="*/ 1530048 h 4749526"/>
              <a:gd name="connsiteX10552" fmla="*/ 4952924 w 7402822"/>
              <a:gd name="connsiteY10552" fmla="*/ 1530048 h 4749526"/>
              <a:gd name="connsiteX10553" fmla="*/ 4955961 w 7402822"/>
              <a:gd name="connsiteY10553" fmla="*/ 1523976 h 4749526"/>
              <a:gd name="connsiteX10554" fmla="*/ 4962032 w 7402822"/>
              <a:gd name="connsiteY10554" fmla="*/ 1511834 h 4749526"/>
              <a:gd name="connsiteX10555" fmla="*/ 4971140 w 7402822"/>
              <a:gd name="connsiteY10555" fmla="*/ 1502725 h 4749526"/>
              <a:gd name="connsiteX10556" fmla="*/ 4983283 w 7402822"/>
              <a:gd name="connsiteY10556" fmla="*/ 1499690 h 4749526"/>
              <a:gd name="connsiteX10557" fmla="*/ 4989354 w 7402822"/>
              <a:gd name="connsiteY10557" fmla="*/ 1490583 h 4749526"/>
              <a:gd name="connsiteX10558" fmla="*/ 4992390 w 7402822"/>
              <a:gd name="connsiteY10558" fmla="*/ 1481475 h 4749526"/>
              <a:gd name="connsiteX10559" fmla="*/ 5004533 w 7402822"/>
              <a:gd name="connsiteY10559" fmla="*/ 1460225 h 4749526"/>
              <a:gd name="connsiteX10560" fmla="*/ 5010605 w 7402822"/>
              <a:gd name="connsiteY10560" fmla="*/ 1442010 h 4749526"/>
              <a:gd name="connsiteX10561" fmla="*/ 5004533 w 7402822"/>
              <a:gd name="connsiteY10561" fmla="*/ 1420759 h 4749526"/>
              <a:gd name="connsiteX10562" fmla="*/ 4998462 w 7402822"/>
              <a:gd name="connsiteY10562" fmla="*/ 1414687 h 4749526"/>
              <a:gd name="connsiteX10563" fmla="*/ 5001498 w 7402822"/>
              <a:gd name="connsiteY10563" fmla="*/ 1402544 h 4749526"/>
              <a:gd name="connsiteX10564" fmla="*/ 5010605 w 7402822"/>
              <a:gd name="connsiteY10564" fmla="*/ 1390401 h 4749526"/>
              <a:gd name="connsiteX10565" fmla="*/ 5022748 w 7402822"/>
              <a:gd name="connsiteY10565" fmla="*/ 1387365 h 4749526"/>
              <a:gd name="connsiteX10566" fmla="*/ 5034892 w 7402822"/>
              <a:gd name="connsiteY10566" fmla="*/ 1381293 h 4749526"/>
              <a:gd name="connsiteX10567" fmla="*/ 5040964 w 7402822"/>
              <a:gd name="connsiteY10567" fmla="*/ 1372185 h 4749526"/>
              <a:gd name="connsiteX10568" fmla="*/ 5019713 w 7402822"/>
              <a:gd name="connsiteY10568" fmla="*/ 1369150 h 4749526"/>
              <a:gd name="connsiteX10569" fmla="*/ 5007569 w 7402822"/>
              <a:gd name="connsiteY10569" fmla="*/ 1372185 h 4749526"/>
              <a:gd name="connsiteX10570" fmla="*/ 4995426 w 7402822"/>
              <a:gd name="connsiteY10570" fmla="*/ 1375222 h 4749526"/>
              <a:gd name="connsiteX10571" fmla="*/ 4986319 w 7402822"/>
              <a:gd name="connsiteY10571" fmla="*/ 1366114 h 4749526"/>
              <a:gd name="connsiteX10572" fmla="*/ 4986319 w 7402822"/>
              <a:gd name="connsiteY10572" fmla="*/ 1326648 h 4749526"/>
              <a:gd name="connsiteX10573" fmla="*/ 4995426 w 7402822"/>
              <a:gd name="connsiteY10573" fmla="*/ 1296290 h 4749526"/>
              <a:gd name="connsiteX10574" fmla="*/ 4998462 w 7402822"/>
              <a:gd name="connsiteY10574" fmla="*/ 1278075 h 4749526"/>
              <a:gd name="connsiteX10575" fmla="*/ 4974175 w 7402822"/>
              <a:gd name="connsiteY10575" fmla="*/ 1235575 h 4749526"/>
              <a:gd name="connsiteX10576" fmla="*/ 4983283 w 7402822"/>
              <a:gd name="connsiteY10576" fmla="*/ 1205216 h 4749526"/>
              <a:gd name="connsiteX10577" fmla="*/ 4998462 w 7402822"/>
              <a:gd name="connsiteY10577" fmla="*/ 1196109 h 4749526"/>
              <a:gd name="connsiteX10578" fmla="*/ 5013641 w 7402822"/>
              <a:gd name="connsiteY10578" fmla="*/ 1187001 h 4749526"/>
              <a:gd name="connsiteX10579" fmla="*/ 5013641 w 7402822"/>
              <a:gd name="connsiteY10579" fmla="*/ 1156643 h 4749526"/>
              <a:gd name="connsiteX10580" fmla="*/ 5010605 w 7402822"/>
              <a:gd name="connsiteY10580" fmla="*/ 1135393 h 4749526"/>
              <a:gd name="connsiteX10581" fmla="*/ 5022748 w 7402822"/>
              <a:gd name="connsiteY10581" fmla="*/ 1141465 h 4749526"/>
              <a:gd name="connsiteX10582" fmla="*/ 5025784 w 7402822"/>
              <a:gd name="connsiteY10582" fmla="*/ 1156643 h 4749526"/>
              <a:gd name="connsiteX10583" fmla="*/ 5025784 w 7402822"/>
              <a:gd name="connsiteY10583" fmla="*/ 1174858 h 4749526"/>
              <a:gd name="connsiteX10584" fmla="*/ 5022748 w 7402822"/>
              <a:gd name="connsiteY10584" fmla="*/ 1193073 h 4749526"/>
              <a:gd name="connsiteX10585" fmla="*/ 5016677 w 7402822"/>
              <a:gd name="connsiteY10585" fmla="*/ 1205216 h 4749526"/>
              <a:gd name="connsiteX10586" fmla="*/ 5019713 w 7402822"/>
              <a:gd name="connsiteY10586" fmla="*/ 1235575 h 4749526"/>
              <a:gd name="connsiteX10587" fmla="*/ 5028820 w 7402822"/>
              <a:gd name="connsiteY10587" fmla="*/ 1244682 h 4749526"/>
              <a:gd name="connsiteX10588" fmla="*/ 5043999 w 7402822"/>
              <a:gd name="connsiteY10588" fmla="*/ 1247717 h 4749526"/>
              <a:gd name="connsiteX10589" fmla="*/ 5053106 w 7402822"/>
              <a:gd name="connsiteY10589" fmla="*/ 1253789 h 4749526"/>
              <a:gd name="connsiteX10590" fmla="*/ 5050071 w 7402822"/>
              <a:gd name="connsiteY10590" fmla="*/ 1229503 h 4749526"/>
              <a:gd name="connsiteX10591" fmla="*/ 5037927 w 7402822"/>
              <a:gd name="connsiteY10591" fmla="*/ 1223431 h 4749526"/>
              <a:gd name="connsiteX10592" fmla="*/ 5034892 w 7402822"/>
              <a:gd name="connsiteY10592" fmla="*/ 1205216 h 4749526"/>
              <a:gd name="connsiteX10593" fmla="*/ 5034892 w 7402822"/>
              <a:gd name="connsiteY10593" fmla="*/ 1199145 h 4749526"/>
              <a:gd name="connsiteX10594" fmla="*/ 5047034 w 7402822"/>
              <a:gd name="connsiteY10594" fmla="*/ 1193073 h 4749526"/>
              <a:gd name="connsiteX10595" fmla="*/ 5065250 w 7402822"/>
              <a:gd name="connsiteY10595" fmla="*/ 1180930 h 4749526"/>
              <a:gd name="connsiteX10596" fmla="*/ 5089536 w 7402822"/>
              <a:gd name="connsiteY10596" fmla="*/ 1168786 h 4749526"/>
              <a:gd name="connsiteX10597" fmla="*/ 5116858 w 7402822"/>
              <a:gd name="connsiteY10597" fmla="*/ 1180930 h 4749526"/>
              <a:gd name="connsiteX10598" fmla="*/ 5129002 w 7402822"/>
              <a:gd name="connsiteY10598" fmla="*/ 1190037 h 4749526"/>
              <a:gd name="connsiteX10599" fmla="*/ 5135073 w 7402822"/>
              <a:gd name="connsiteY10599" fmla="*/ 1199145 h 4749526"/>
              <a:gd name="connsiteX10600" fmla="*/ 5141145 w 7402822"/>
              <a:gd name="connsiteY10600" fmla="*/ 1208252 h 4749526"/>
              <a:gd name="connsiteX10601" fmla="*/ 5165432 w 7402822"/>
              <a:gd name="connsiteY10601" fmla="*/ 1211288 h 4749526"/>
              <a:gd name="connsiteX10602" fmla="*/ 5168467 w 7402822"/>
              <a:gd name="connsiteY10602" fmla="*/ 1193073 h 4749526"/>
              <a:gd name="connsiteX10603" fmla="*/ 5165432 w 7402822"/>
              <a:gd name="connsiteY10603" fmla="*/ 1187001 h 4749526"/>
              <a:gd name="connsiteX10604" fmla="*/ 5165432 w 7402822"/>
              <a:gd name="connsiteY10604" fmla="*/ 1180930 h 4749526"/>
              <a:gd name="connsiteX10605" fmla="*/ 5162395 w 7402822"/>
              <a:gd name="connsiteY10605" fmla="*/ 1174858 h 4749526"/>
              <a:gd name="connsiteX10606" fmla="*/ 5135073 w 7402822"/>
              <a:gd name="connsiteY10606" fmla="*/ 1162715 h 4749526"/>
              <a:gd name="connsiteX10607" fmla="*/ 5129002 w 7402822"/>
              <a:gd name="connsiteY10607" fmla="*/ 1138428 h 4749526"/>
              <a:gd name="connsiteX10608" fmla="*/ 5125966 w 7402822"/>
              <a:gd name="connsiteY10608" fmla="*/ 1092891 h 4749526"/>
              <a:gd name="connsiteX10609" fmla="*/ 5129002 w 7402822"/>
              <a:gd name="connsiteY10609" fmla="*/ 1083784 h 4749526"/>
              <a:gd name="connsiteX10610" fmla="*/ 5138109 w 7402822"/>
              <a:gd name="connsiteY10610" fmla="*/ 1083784 h 4749526"/>
              <a:gd name="connsiteX10611" fmla="*/ 5150253 w 7402822"/>
              <a:gd name="connsiteY10611" fmla="*/ 1080748 h 4749526"/>
              <a:gd name="connsiteX10612" fmla="*/ 5177574 w 7402822"/>
              <a:gd name="connsiteY10612" fmla="*/ 1077712 h 4749526"/>
              <a:gd name="connsiteX10613" fmla="*/ 5201861 w 7402822"/>
              <a:gd name="connsiteY10613" fmla="*/ 1074676 h 4749526"/>
              <a:gd name="connsiteX10614" fmla="*/ 5220076 w 7402822"/>
              <a:gd name="connsiteY10614" fmla="*/ 1071641 h 4749526"/>
              <a:gd name="connsiteX10615" fmla="*/ 5229183 w 7402822"/>
              <a:gd name="connsiteY10615" fmla="*/ 1068605 h 4749526"/>
              <a:gd name="connsiteX10616" fmla="*/ 5241326 w 7402822"/>
              <a:gd name="connsiteY10616" fmla="*/ 1062533 h 4749526"/>
              <a:gd name="connsiteX10617" fmla="*/ 5256505 w 7402822"/>
              <a:gd name="connsiteY10617" fmla="*/ 1059497 h 4749526"/>
              <a:gd name="connsiteX10618" fmla="*/ 5259542 w 7402822"/>
              <a:gd name="connsiteY10618" fmla="*/ 1050390 h 4749526"/>
              <a:gd name="connsiteX10619" fmla="*/ 5265612 w 7402822"/>
              <a:gd name="connsiteY10619" fmla="*/ 1050390 h 4749526"/>
              <a:gd name="connsiteX10620" fmla="*/ 5259542 w 7402822"/>
              <a:gd name="connsiteY10620" fmla="*/ 1023067 h 4749526"/>
              <a:gd name="connsiteX10621" fmla="*/ 5244363 w 7402822"/>
              <a:gd name="connsiteY10621" fmla="*/ 1007888 h 4749526"/>
              <a:gd name="connsiteX10622" fmla="*/ 5244363 w 7402822"/>
              <a:gd name="connsiteY10622" fmla="*/ 989674 h 4749526"/>
              <a:gd name="connsiteX10623" fmla="*/ 5262577 w 7402822"/>
              <a:gd name="connsiteY10623" fmla="*/ 998781 h 4749526"/>
              <a:gd name="connsiteX10624" fmla="*/ 5265612 w 7402822"/>
              <a:gd name="connsiteY10624" fmla="*/ 980566 h 4749526"/>
              <a:gd name="connsiteX10625" fmla="*/ 5259542 w 7402822"/>
              <a:gd name="connsiteY10625" fmla="*/ 968423 h 4749526"/>
              <a:gd name="connsiteX10626" fmla="*/ 5259542 w 7402822"/>
              <a:gd name="connsiteY10626" fmla="*/ 965387 h 4749526"/>
              <a:gd name="connsiteX10627" fmla="*/ 5265612 w 7402822"/>
              <a:gd name="connsiteY10627" fmla="*/ 962351 h 4749526"/>
              <a:gd name="connsiteX10628" fmla="*/ 5286863 w 7402822"/>
              <a:gd name="connsiteY10628" fmla="*/ 959315 h 4749526"/>
              <a:gd name="connsiteX10629" fmla="*/ 5292935 w 7402822"/>
              <a:gd name="connsiteY10629" fmla="*/ 950208 h 4749526"/>
              <a:gd name="connsiteX10630" fmla="*/ 5302043 w 7402822"/>
              <a:gd name="connsiteY10630" fmla="*/ 941101 h 4749526"/>
              <a:gd name="connsiteX10631" fmla="*/ 5305079 w 7402822"/>
              <a:gd name="connsiteY10631" fmla="*/ 938065 h 4749526"/>
              <a:gd name="connsiteX10632" fmla="*/ 5356687 w 7402822"/>
              <a:gd name="connsiteY10632" fmla="*/ 919850 h 4749526"/>
              <a:gd name="connsiteX10633" fmla="*/ 5384010 w 7402822"/>
              <a:gd name="connsiteY10633" fmla="*/ 910743 h 4749526"/>
              <a:gd name="connsiteX10634" fmla="*/ 5384010 w 7402822"/>
              <a:gd name="connsiteY10634" fmla="*/ 904671 h 4749526"/>
              <a:gd name="connsiteX10635" fmla="*/ 5380973 w 7402822"/>
              <a:gd name="connsiteY10635" fmla="*/ 895564 h 4749526"/>
              <a:gd name="connsiteX10636" fmla="*/ 5387045 w 7402822"/>
              <a:gd name="connsiteY10636" fmla="*/ 886456 h 4749526"/>
              <a:gd name="connsiteX10637" fmla="*/ 5399189 w 7402822"/>
              <a:gd name="connsiteY10637" fmla="*/ 883420 h 4749526"/>
              <a:gd name="connsiteX10638" fmla="*/ 5411332 w 7402822"/>
              <a:gd name="connsiteY10638" fmla="*/ 883420 h 4749526"/>
              <a:gd name="connsiteX10639" fmla="*/ 5414368 w 7402822"/>
              <a:gd name="connsiteY10639" fmla="*/ 889492 h 4749526"/>
              <a:gd name="connsiteX10640" fmla="*/ 5423475 w 7402822"/>
              <a:gd name="connsiteY10640" fmla="*/ 886456 h 4749526"/>
              <a:gd name="connsiteX10641" fmla="*/ 5432583 w 7402822"/>
              <a:gd name="connsiteY10641" fmla="*/ 880385 h 4749526"/>
              <a:gd name="connsiteX10642" fmla="*/ 5447762 w 7402822"/>
              <a:gd name="connsiteY10642" fmla="*/ 883420 h 4749526"/>
              <a:gd name="connsiteX10643" fmla="*/ 5456869 w 7402822"/>
              <a:gd name="connsiteY10643" fmla="*/ 895564 h 4749526"/>
              <a:gd name="connsiteX10644" fmla="*/ 5469013 w 7402822"/>
              <a:gd name="connsiteY10644" fmla="*/ 895564 h 4749526"/>
              <a:gd name="connsiteX10645" fmla="*/ 5481155 w 7402822"/>
              <a:gd name="connsiteY10645" fmla="*/ 895564 h 4749526"/>
              <a:gd name="connsiteX10646" fmla="*/ 5496334 w 7402822"/>
              <a:gd name="connsiteY10646" fmla="*/ 874313 h 4749526"/>
              <a:gd name="connsiteX10647" fmla="*/ 5514549 w 7402822"/>
              <a:gd name="connsiteY10647" fmla="*/ 874313 h 4749526"/>
              <a:gd name="connsiteX10648" fmla="*/ 5520621 w 7402822"/>
              <a:gd name="connsiteY10648" fmla="*/ 865205 h 4749526"/>
              <a:gd name="connsiteX10649" fmla="*/ 5523657 w 7402822"/>
              <a:gd name="connsiteY10649" fmla="*/ 853062 h 4749526"/>
              <a:gd name="connsiteX10650" fmla="*/ 5550979 w 7402822"/>
              <a:gd name="connsiteY10650" fmla="*/ 853062 h 4749526"/>
              <a:gd name="connsiteX10651" fmla="*/ 5554015 w 7402822"/>
              <a:gd name="connsiteY10651" fmla="*/ 850026 h 4749526"/>
              <a:gd name="connsiteX10652" fmla="*/ 5547943 w 7402822"/>
              <a:gd name="connsiteY10652" fmla="*/ 822704 h 4749526"/>
              <a:gd name="connsiteX10653" fmla="*/ 5554015 w 7402822"/>
              <a:gd name="connsiteY10653" fmla="*/ 795382 h 4749526"/>
              <a:gd name="connsiteX10654" fmla="*/ 5569193 w 7402822"/>
              <a:gd name="connsiteY10654" fmla="*/ 774131 h 4749526"/>
              <a:gd name="connsiteX10655" fmla="*/ 5593481 w 7402822"/>
              <a:gd name="connsiteY10655" fmla="*/ 746809 h 4749526"/>
              <a:gd name="connsiteX10656" fmla="*/ 5605623 w 7402822"/>
              <a:gd name="connsiteY10656" fmla="*/ 740737 h 4749526"/>
              <a:gd name="connsiteX10657" fmla="*/ 1287184 w 7402822"/>
              <a:gd name="connsiteY10657" fmla="*/ 734666 h 4749526"/>
              <a:gd name="connsiteX10658" fmla="*/ 1290219 w 7402822"/>
              <a:gd name="connsiteY10658" fmla="*/ 737703 h 4749526"/>
              <a:gd name="connsiteX10659" fmla="*/ 1296291 w 7402822"/>
              <a:gd name="connsiteY10659" fmla="*/ 749846 h 4749526"/>
              <a:gd name="connsiteX10660" fmla="*/ 1308434 w 7402822"/>
              <a:gd name="connsiteY10660" fmla="*/ 774132 h 4749526"/>
              <a:gd name="connsiteX10661" fmla="*/ 1311470 w 7402822"/>
              <a:gd name="connsiteY10661" fmla="*/ 789311 h 4749526"/>
              <a:gd name="connsiteX10662" fmla="*/ 1305398 w 7402822"/>
              <a:gd name="connsiteY10662" fmla="*/ 795383 h 4749526"/>
              <a:gd name="connsiteX10663" fmla="*/ 1296291 w 7402822"/>
              <a:gd name="connsiteY10663" fmla="*/ 789311 h 4749526"/>
              <a:gd name="connsiteX10664" fmla="*/ 1287184 w 7402822"/>
              <a:gd name="connsiteY10664" fmla="*/ 777168 h 4749526"/>
              <a:gd name="connsiteX10665" fmla="*/ 1281112 w 7402822"/>
              <a:gd name="connsiteY10665" fmla="*/ 749846 h 4749526"/>
              <a:gd name="connsiteX10666" fmla="*/ 1511833 w 7402822"/>
              <a:gd name="connsiteY10666" fmla="*/ 731631 h 4749526"/>
              <a:gd name="connsiteX10667" fmla="*/ 1527012 w 7402822"/>
              <a:gd name="connsiteY10667" fmla="*/ 731631 h 4749526"/>
              <a:gd name="connsiteX10668" fmla="*/ 1542191 w 7402822"/>
              <a:gd name="connsiteY10668" fmla="*/ 737703 h 4749526"/>
              <a:gd name="connsiteX10669" fmla="*/ 1536119 w 7402822"/>
              <a:gd name="connsiteY10669" fmla="*/ 765025 h 4749526"/>
              <a:gd name="connsiteX10670" fmla="*/ 1520941 w 7402822"/>
              <a:gd name="connsiteY10670" fmla="*/ 761989 h 4749526"/>
              <a:gd name="connsiteX10671" fmla="*/ 1490583 w 7402822"/>
              <a:gd name="connsiteY10671" fmla="*/ 761989 h 4749526"/>
              <a:gd name="connsiteX10672" fmla="*/ 1484511 w 7402822"/>
              <a:gd name="connsiteY10672" fmla="*/ 758953 h 4749526"/>
              <a:gd name="connsiteX10673" fmla="*/ 1478439 w 7402822"/>
              <a:gd name="connsiteY10673" fmla="*/ 746810 h 4749526"/>
              <a:gd name="connsiteX10674" fmla="*/ 1481476 w 7402822"/>
              <a:gd name="connsiteY10674" fmla="*/ 737703 h 4749526"/>
              <a:gd name="connsiteX10675" fmla="*/ 3102598 w 7402822"/>
              <a:gd name="connsiteY10675" fmla="*/ 719487 h 4749526"/>
              <a:gd name="connsiteX10676" fmla="*/ 3102598 w 7402822"/>
              <a:gd name="connsiteY10676" fmla="*/ 728595 h 4749526"/>
              <a:gd name="connsiteX10677" fmla="*/ 3099563 w 7402822"/>
              <a:gd name="connsiteY10677" fmla="*/ 740737 h 4749526"/>
              <a:gd name="connsiteX10678" fmla="*/ 3090455 w 7402822"/>
              <a:gd name="connsiteY10678" fmla="*/ 740737 h 4749526"/>
              <a:gd name="connsiteX10679" fmla="*/ 1360043 w 7402822"/>
              <a:gd name="connsiteY10679" fmla="*/ 719487 h 4749526"/>
              <a:gd name="connsiteX10680" fmla="*/ 1378257 w 7402822"/>
              <a:gd name="connsiteY10680" fmla="*/ 728595 h 4749526"/>
              <a:gd name="connsiteX10681" fmla="*/ 1381294 w 7402822"/>
              <a:gd name="connsiteY10681" fmla="*/ 734666 h 4749526"/>
              <a:gd name="connsiteX10682" fmla="*/ 1381294 w 7402822"/>
              <a:gd name="connsiteY10682" fmla="*/ 737703 h 4749526"/>
              <a:gd name="connsiteX10683" fmla="*/ 1372187 w 7402822"/>
              <a:gd name="connsiteY10683" fmla="*/ 740738 h 4749526"/>
              <a:gd name="connsiteX10684" fmla="*/ 1353971 w 7402822"/>
              <a:gd name="connsiteY10684" fmla="*/ 737703 h 4749526"/>
              <a:gd name="connsiteX10685" fmla="*/ 1350936 w 7402822"/>
              <a:gd name="connsiteY10685" fmla="*/ 722524 h 4749526"/>
              <a:gd name="connsiteX10686" fmla="*/ 1108071 w 7402822"/>
              <a:gd name="connsiteY10686" fmla="*/ 704308 h 4749526"/>
              <a:gd name="connsiteX10687" fmla="*/ 1114142 w 7402822"/>
              <a:gd name="connsiteY10687" fmla="*/ 716452 h 4749526"/>
              <a:gd name="connsiteX10688" fmla="*/ 1123249 w 7402822"/>
              <a:gd name="connsiteY10688" fmla="*/ 728595 h 4749526"/>
              <a:gd name="connsiteX10689" fmla="*/ 1089856 w 7402822"/>
              <a:gd name="connsiteY10689" fmla="*/ 713416 h 4749526"/>
              <a:gd name="connsiteX10690" fmla="*/ 1098963 w 7402822"/>
              <a:gd name="connsiteY10690" fmla="*/ 707345 h 4749526"/>
              <a:gd name="connsiteX10691" fmla="*/ 1168787 w 7402822"/>
              <a:gd name="connsiteY10691" fmla="*/ 701273 h 4749526"/>
              <a:gd name="connsiteX10692" fmla="*/ 1199145 w 7402822"/>
              <a:gd name="connsiteY10692" fmla="*/ 701273 h 4749526"/>
              <a:gd name="connsiteX10693" fmla="*/ 1205216 w 7402822"/>
              <a:gd name="connsiteY10693" fmla="*/ 704308 h 4749526"/>
              <a:gd name="connsiteX10694" fmla="*/ 1202181 w 7402822"/>
              <a:gd name="connsiteY10694" fmla="*/ 716452 h 4749526"/>
              <a:gd name="connsiteX10695" fmla="*/ 1193073 w 7402822"/>
              <a:gd name="connsiteY10695" fmla="*/ 755917 h 4749526"/>
              <a:gd name="connsiteX10696" fmla="*/ 1168787 w 7402822"/>
              <a:gd name="connsiteY10696" fmla="*/ 771096 h 4749526"/>
              <a:gd name="connsiteX10697" fmla="*/ 1144500 w 7402822"/>
              <a:gd name="connsiteY10697" fmla="*/ 771096 h 4749526"/>
              <a:gd name="connsiteX10698" fmla="*/ 1135393 w 7402822"/>
              <a:gd name="connsiteY10698" fmla="*/ 761989 h 4749526"/>
              <a:gd name="connsiteX10699" fmla="*/ 1129321 w 7402822"/>
              <a:gd name="connsiteY10699" fmla="*/ 755917 h 4749526"/>
              <a:gd name="connsiteX10700" fmla="*/ 1126286 w 7402822"/>
              <a:gd name="connsiteY10700" fmla="*/ 731631 h 4749526"/>
              <a:gd name="connsiteX10701" fmla="*/ 1129321 w 7402822"/>
              <a:gd name="connsiteY10701" fmla="*/ 719487 h 4749526"/>
              <a:gd name="connsiteX10702" fmla="*/ 1138429 w 7402822"/>
              <a:gd name="connsiteY10702" fmla="*/ 713416 h 4749526"/>
              <a:gd name="connsiteX10703" fmla="*/ 1144500 w 7402822"/>
              <a:gd name="connsiteY10703" fmla="*/ 710380 h 4749526"/>
              <a:gd name="connsiteX10704" fmla="*/ 5675447 w 7402822"/>
              <a:gd name="connsiteY10704" fmla="*/ 692165 h 4749526"/>
              <a:gd name="connsiteX10705" fmla="*/ 5687591 w 7402822"/>
              <a:gd name="connsiteY10705" fmla="*/ 695200 h 4749526"/>
              <a:gd name="connsiteX10706" fmla="*/ 5684554 w 7402822"/>
              <a:gd name="connsiteY10706" fmla="*/ 704307 h 4749526"/>
              <a:gd name="connsiteX10707" fmla="*/ 5678483 w 7402822"/>
              <a:gd name="connsiteY10707" fmla="*/ 704307 h 4749526"/>
              <a:gd name="connsiteX10708" fmla="*/ 5660268 w 7402822"/>
              <a:gd name="connsiteY10708" fmla="*/ 698235 h 4749526"/>
              <a:gd name="connsiteX10709" fmla="*/ 5663304 w 7402822"/>
              <a:gd name="connsiteY10709" fmla="*/ 695200 h 4749526"/>
              <a:gd name="connsiteX10710" fmla="*/ 3935928 w 7402822"/>
              <a:gd name="connsiteY10710" fmla="*/ 686094 h 4749526"/>
              <a:gd name="connsiteX10711" fmla="*/ 3948072 w 7402822"/>
              <a:gd name="connsiteY10711" fmla="*/ 695201 h 4749526"/>
              <a:gd name="connsiteX10712" fmla="*/ 3942000 w 7402822"/>
              <a:gd name="connsiteY10712" fmla="*/ 710380 h 4749526"/>
              <a:gd name="connsiteX10713" fmla="*/ 3960215 w 7402822"/>
              <a:gd name="connsiteY10713" fmla="*/ 722524 h 4749526"/>
              <a:gd name="connsiteX10714" fmla="*/ 3969323 w 7402822"/>
              <a:gd name="connsiteY10714" fmla="*/ 725559 h 4749526"/>
              <a:gd name="connsiteX10715" fmla="*/ 3975393 w 7402822"/>
              <a:gd name="connsiteY10715" fmla="*/ 731631 h 4749526"/>
              <a:gd name="connsiteX10716" fmla="*/ 3972358 w 7402822"/>
              <a:gd name="connsiteY10716" fmla="*/ 737703 h 4749526"/>
              <a:gd name="connsiteX10717" fmla="*/ 3960215 w 7402822"/>
              <a:gd name="connsiteY10717" fmla="*/ 749846 h 4749526"/>
              <a:gd name="connsiteX10718" fmla="*/ 3957179 w 7402822"/>
              <a:gd name="connsiteY10718" fmla="*/ 758954 h 4749526"/>
              <a:gd name="connsiteX10719" fmla="*/ 3954143 w 7402822"/>
              <a:gd name="connsiteY10719" fmla="*/ 765025 h 4749526"/>
              <a:gd name="connsiteX10720" fmla="*/ 3935928 w 7402822"/>
              <a:gd name="connsiteY10720" fmla="*/ 780204 h 4749526"/>
              <a:gd name="connsiteX10721" fmla="*/ 3926821 w 7402822"/>
              <a:gd name="connsiteY10721" fmla="*/ 780204 h 4749526"/>
              <a:gd name="connsiteX10722" fmla="*/ 3920749 w 7402822"/>
              <a:gd name="connsiteY10722" fmla="*/ 758954 h 4749526"/>
              <a:gd name="connsiteX10723" fmla="*/ 3917713 w 7402822"/>
              <a:gd name="connsiteY10723" fmla="*/ 761989 h 4749526"/>
              <a:gd name="connsiteX10724" fmla="*/ 3902534 w 7402822"/>
              <a:gd name="connsiteY10724" fmla="*/ 765025 h 4749526"/>
              <a:gd name="connsiteX10725" fmla="*/ 3896463 w 7402822"/>
              <a:gd name="connsiteY10725" fmla="*/ 765025 h 4749526"/>
              <a:gd name="connsiteX10726" fmla="*/ 3896463 w 7402822"/>
              <a:gd name="connsiteY10726" fmla="*/ 752882 h 4749526"/>
              <a:gd name="connsiteX10727" fmla="*/ 3902534 w 7402822"/>
              <a:gd name="connsiteY10727" fmla="*/ 737703 h 4749526"/>
              <a:gd name="connsiteX10728" fmla="*/ 3905570 w 7402822"/>
              <a:gd name="connsiteY10728" fmla="*/ 713417 h 4749526"/>
              <a:gd name="connsiteX10729" fmla="*/ 3896463 w 7402822"/>
              <a:gd name="connsiteY10729" fmla="*/ 704309 h 4749526"/>
              <a:gd name="connsiteX10730" fmla="*/ 3899499 w 7402822"/>
              <a:gd name="connsiteY10730" fmla="*/ 695201 h 4749526"/>
              <a:gd name="connsiteX10731" fmla="*/ 3914678 w 7402822"/>
              <a:gd name="connsiteY10731" fmla="*/ 689130 h 4749526"/>
              <a:gd name="connsiteX10732" fmla="*/ 5663304 w 7402822"/>
              <a:gd name="connsiteY10732" fmla="*/ 676986 h 4749526"/>
              <a:gd name="connsiteX10733" fmla="*/ 5669375 w 7402822"/>
              <a:gd name="connsiteY10733" fmla="*/ 683056 h 4749526"/>
              <a:gd name="connsiteX10734" fmla="*/ 5660268 w 7402822"/>
              <a:gd name="connsiteY10734" fmla="*/ 689128 h 4749526"/>
              <a:gd name="connsiteX10735" fmla="*/ 5654196 w 7402822"/>
              <a:gd name="connsiteY10735" fmla="*/ 689128 h 4749526"/>
              <a:gd name="connsiteX10736" fmla="*/ 3905570 w 7402822"/>
              <a:gd name="connsiteY10736" fmla="*/ 646628 h 4749526"/>
              <a:gd name="connsiteX10737" fmla="*/ 3923785 w 7402822"/>
              <a:gd name="connsiteY10737" fmla="*/ 658772 h 4749526"/>
              <a:gd name="connsiteX10738" fmla="*/ 3923785 w 7402822"/>
              <a:gd name="connsiteY10738" fmla="*/ 683058 h 4749526"/>
              <a:gd name="connsiteX10739" fmla="*/ 3917713 w 7402822"/>
              <a:gd name="connsiteY10739" fmla="*/ 686094 h 4749526"/>
              <a:gd name="connsiteX10740" fmla="*/ 3899499 w 7402822"/>
              <a:gd name="connsiteY10740" fmla="*/ 689130 h 4749526"/>
              <a:gd name="connsiteX10741" fmla="*/ 3893427 w 7402822"/>
              <a:gd name="connsiteY10741" fmla="*/ 680022 h 4749526"/>
              <a:gd name="connsiteX10742" fmla="*/ 3890392 w 7402822"/>
              <a:gd name="connsiteY10742" fmla="*/ 670915 h 4749526"/>
              <a:gd name="connsiteX10743" fmla="*/ 3881283 w 7402822"/>
              <a:gd name="connsiteY10743" fmla="*/ 661807 h 4749526"/>
              <a:gd name="connsiteX10744" fmla="*/ 1171823 w 7402822"/>
              <a:gd name="connsiteY10744" fmla="*/ 637521 h 4749526"/>
              <a:gd name="connsiteX10745" fmla="*/ 1199145 w 7402822"/>
              <a:gd name="connsiteY10745" fmla="*/ 643593 h 4749526"/>
              <a:gd name="connsiteX10746" fmla="*/ 1211288 w 7402822"/>
              <a:gd name="connsiteY10746" fmla="*/ 661807 h 4749526"/>
              <a:gd name="connsiteX10747" fmla="*/ 1208252 w 7402822"/>
              <a:gd name="connsiteY10747" fmla="*/ 680022 h 4749526"/>
              <a:gd name="connsiteX10748" fmla="*/ 1202181 w 7402822"/>
              <a:gd name="connsiteY10748" fmla="*/ 680022 h 4749526"/>
              <a:gd name="connsiteX10749" fmla="*/ 1165751 w 7402822"/>
              <a:gd name="connsiteY10749" fmla="*/ 683057 h 4749526"/>
              <a:gd name="connsiteX10750" fmla="*/ 1159679 w 7402822"/>
              <a:gd name="connsiteY10750" fmla="*/ 683057 h 4749526"/>
              <a:gd name="connsiteX10751" fmla="*/ 1156644 w 7402822"/>
              <a:gd name="connsiteY10751" fmla="*/ 676987 h 4749526"/>
              <a:gd name="connsiteX10752" fmla="*/ 1153608 w 7402822"/>
              <a:gd name="connsiteY10752" fmla="*/ 673950 h 4749526"/>
              <a:gd name="connsiteX10753" fmla="*/ 1138429 w 7402822"/>
              <a:gd name="connsiteY10753" fmla="*/ 680022 h 4749526"/>
              <a:gd name="connsiteX10754" fmla="*/ 1126286 w 7402822"/>
              <a:gd name="connsiteY10754" fmla="*/ 676987 h 4749526"/>
              <a:gd name="connsiteX10755" fmla="*/ 1150572 w 7402822"/>
              <a:gd name="connsiteY10755" fmla="*/ 652700 h 4749526"/>
              <a:gd name="connsiteX10756" fmla="*/ 1159679 w 7402822"/>
              <a:gd name="connsiteY10756" fmla="*/ 652700 h 4749526"/>
              <a:gd name="connsiteX10757" fmla="*/ 1168787 w 7402822"/>
              <a:gd name="connsiteY10757" fmla="*/ 646628 h 4749526"/>
              <a:gd name="connsiteX10758" fmla="*/ 1445046 w 7402822"/>
              <a:gd name="connsiteY10758" fmla="*/ 625377 h 4749526"/>
              <a:gd name="connsiteX10759" fmla="*/ 1460225 w 7402822"/>
              <a:gd name="connsiteY10759" fmla="*/ 631449 h 4749526"/>
              <a:gd name="connsiteX10760" fmla="*/ 1484511 w 7402822"/>
              <a:gd name="connsiteY10760" fmla="*/ 649664 h 4749526"/>
              <a:gd name="connsiteX10761" fmla="*/ 1496654 w 7402822"/>
              <a:gd name="connsiteY10761" fmla="*/ 658771 h 4749526"/>
              <a:gd name="connsiteX10762" fmla="*/ 1508797 w 7402822"/>
              <a:gd name="connsiteY10762" fmla="*/ 670915 h 4749526"/>
              <a:gd name="connsiteX10763" fmla="*/ 1508797 w 7402822"/>
              <a:gd name="connsiteY10763" fmla="*/ 704308 h 4749526"/>
              <a:gd name="connsiteX10764" fmla="*/ 1502726 w 7402822"/>
              <a:gd name="connsiteY10764" fmla="*/ 716452 h 4749526"/>
              <a:gd name="connsiteX10765" fmla="*/ 1481476 w 7402822"/>
              <a:gd name="connsiteY10765" fmla="*/ 722524 h 4749526"/>
              <a:gd name="connsiteX10766" fmla="*/ 1469332 w 7402822"/>
              <a:gd name="connsiteY10766" fmla="*/ 731631 h 4749526"/>
              <a:gd name="connsiteX10767" fmla="*/ 1454153 w 7402822"/>
              <a:gd name="connsiteY10767" fmla="*/ 710380 h 4749526"/>
              <a:gd name="connsiteX10768" fmla="*/ 1457188 w 7402822"/>
              <a:gd name="connsiteY10768" fmla="*/ 689129 h 4749526"/>
              <a:gd name="connsiteX10769" fmla="*/ 1445046 w 7402822"/>
              <a:gd name="connsiteY10769" fmla="*/ 680022 h 4749526"/>
              <a:gd name="connsiteX10770" fmla="*/ 1435938 w 7402822"/>
              <a:gd name="connsiteY10770" fmla="*/ 658771 h 4749526"/>
              <a:gd name="connsiteX10771" fmla="*/ 1438974 w 7402822"/>
              <a:gd name="connsiteY10771" fmla="*/ 640556 h 4749526"/>
              <a:gd name="connsiteX10772" fmla="*/ 3685473 w 7402822"/>
              <a:gd name="connsiteY10772" fmla="*/ 616270 h 4749526"/>
              <a:gd name="connsiteX10773" fmla="*/ 3694581 w 7402822"/>
              <a:gd name="connsiteY10773" fmla="*/ 628414 h 4749526"/>
              <a:gd name="connsiteX10774" fmla="*/ 3708243 w 7402822"/>
              <a:gd name="connsiteY10774" fmla="*/ 664843 h 4749526"/>
              <a:gd name="connsiteX10775" fmla="*/ 3717350 w 7402822"/>
              <a:gd name="connsiteY10775" fmla="*/ 689130 h 4749526"/>
              <a:gd name="connsiteX10776" fmla="*/ 3702171 w 7402822"/>
              <a:gd name="connsiteY10776" fmla="*/ 670915 h 4749526"/>
              <a:gd name="connsiteX10777" fmla="*/ 3685473 w 7402822"/>
              <a:gd name="connsiteY10777" fmla="*/ 634486 h 4749526"/>
              <a:gd name="connsiteX10778" fmla="*/ 3682438 w 7402822"/>
              <a:gd name="connsiteY10778" fmla="*/ 622342 h 4749526"/>
              <a:gd name="connsiteX10779" fmla="*/ 3069204 w 7402822"/>
              <a:gd name="connsiteY10779" fmla="*/ 613234 h 4749526"/>
              <a:gd name="connsiteX10780" fmla="*/ 3069204 w 7402822"/>
              <a:gd name="connsiteY10780" fmla="*/ 631448 h 4749526"/>
              <a:gd name="connsiteX10781" fmla="*/ 3066169 w 7402822"/>
              <a:gd name="connsiteY10781" fmla="*/ 634485 h 4749526"/>
              <a:gd name="connsiteX10782" fmla="*/ 3060097 w 7402822"/>
              <a:gd name="connsiteY10782" fmla="*/ 631448 h 4749526"/>
              <a:gd name="connsiteX10783" fmla="*/ 3060097 w 7402822"/>
              <a:gd name="connsiteY10783" fmla="*/ 625377 h 4749526"/>
              <a:gd name="connsiteX10784" fmla="*/ 3066169 w 7402822"/>
              <a:gd name="connsiteY10784" fmla="*/ 616269 h 4749526"/>
              <a:gd name="connsiteX10785" fmla="*/ 3099563 w 7402822"/>
              <a:gd name="connsiteY10785" fmla="*/ 582876 h 4749526"/>
              <a:gd name="connsiteX10786" fmla="*/ 3102598 w 7402822"/>
              <a:gd name="connsiteY10786" fmla="*/ 598055 h 4749526"/>
              <a:gd name="connsiteX10787" fmla="*/ 3093491 w 7402822"/>
              <a:gd name="connsiteY10787" fmla="*/ 607162 h 4749526"/>
              <a:gd name="connsiteX10788" fmla="*/ 3093491 w 7402822"/>
              <a:gd name="connsiteY10788" fmla="*/ 591983 h 4749526"/>
              <a:gd name="connsiteX10789" fmla="*/ 1314505 w 7402822"/>
              <a:gd name="connsiteY10789" fmla="*/ 567697 h 4749526"/>
              <a:gd name="connsiteX10790" fmla="*/ 1338792 w 7402822"/>
              <a:gd name="connsiteY10790" fmla="*/ 573769 h 4749526"/>
              <a:gd name="connsiteX10791" fmla="*/ 1347899 w 7402822"/>
              <a:gd name="connsiteY10791" fmla="*/ 595019 h 4749526"/>
              <a:gd name="connsiteX10792" fmla="*/ 1353971 w 7402822"/>
              <a:gd name="connsiteY10792" fmla="*/ 595019 h 4749526"/>
              <a:gd name="connsiteX10793" fmla="*/ 1360043 w 7402822"/>
              <a:gd name="connsiteY10793" fmla="*/ 598056 h 4749526"/>
              <a:gd name="connsiteX10794" fmla="*/ 1372187 w 7402822"/>
              <a:gd name="connsiteY10794" fmla="*/ 604127 h 4749526"/>
              <a:gd name="connsiteX10795" fmla="*/ 1390401 w 7402822"/>
              <a:gd name="connsiteY10795" fmla="*/ 619306 h 4749526"/>
              <a:gd name="connsiteX10796" fmla="*/ 1411651 w 7402822"/>
              <a:gd name="connsiteY10796" fmla="*/ 649664 h 4749526"/>
              <a:gd name="connsiteX10797" fmla="*/ 1411651 w 7402822"/>
              <a:gd name="connsiteY10797" fmla="*/ 670915 h 4749526"/>
              <a:gd name="connsiteX10798" fmla="*/ 1414687 w 7402822"/>
              <a:gd name="connsiteY10798" fmla="*/ 689129 h 4749526"/>
              <a:gd name="connsiteX10799" fmla="*/ 1423795 w 7402822"/>
              <a:gd name="connsiteY10799" fmla="*/ 701273 h 4749526"/>
              <a:gd name="connsiteX10800" fmla="*/ 1423795 w 7402822"/>
              <a:gd name="connsiteY10800" fmla="*/ 722524 h 4749526"/>
              <a:gd name="connsiteX10801" fmla="*/ 1417723 w 7402822"/>
              <a:gd name="connsiteY10801" fmla="*/ 725559 h 4749526"/>
              <a:gd name="connsiteX10802" fmla="*/ 1408616 w 7402822"/>
              <a:gd name="connsiteY10802" fmla="*/ 728595 h 4749526"/>
              <a:gd name="connsiteX10803" fmla="*/ 1396473 w 7402822"/>
              <a:gd name="connsiteY10803" fmla="*/ 728595 h 4749526"/>
              <a:gd name="connsiteX10804" fmla="*/ 1384329 w 7402822"/>
              <a:gd name="connsiteY10804" fmla="*/ 710380 h 4749526"/>
              <a:gd name="connsiteX10805" fmla="*/ 1381294 w 7402822"/>
              <a:gd name="connsiteY10805" fmla="*/ 695201 h 4749526"/>
              <a:gd name="connsiteX10806" fmla="*/ 1378257 w 7402822"/>
              <a:gd name="connsiteY10806" fmla="*/ 689129 h 4749526"/>
              <a:gd name="connsiteX10807" fmla="*/ 1347899 w 7402822"/>
              <a:gd name="connsiteY10807" fmla="*/ 673950 h 4749526"/>
              <a:gd name="connsiteX10808" fmla="*/ 1317542 w 7402822"/>
              <a:gd name="connsiteY10808" fmla="*/ 686094 h 4749526"/>
              <a:gd name="connsiteX10809" fmla="*/ 1305398 w 7402822"/>
              <a:gd name="connsiteY10809" fmla="*/ 676987 h 4749526"/>
              <a:gd name="connsiteX10810" fmla="*/ 1299326 w 7402822"/>
              <a:gd name="connsiteY10810" fmla="*/ 667879 h 4749526"/>
              <a:gd name="connsiteX10811" fmla="*/ 1299326 w 7402822"/>
              <a:gd name="connsiteY10811" fmla="*/ 655736 h 4749526"/>
              <a:gd name="connsiteX10812" fmla="*/ 1320577 w 7402822"/>
              <a:gd name="connsiteY10812" fmla="*/ 658771 h 4749526"/>
              <a:gd name="connsiteX10813" fmla="*/ 1332720 w 7402822"/>
              <a:gd name="connsiteY10813" fmla="*/ 646628 h 4749526"/>
              <a:gd name="connsiteX10814" fmla="*/ 1332720 w 7402822"/>
              <a:gd name="connsiteY10814" fmla="*/ 631449 h 4749526"/>
              <a:gd name="connsiteX10815" fmla="*/ 1323613 w 7402822"/>
              <a:gd name="connsiteY10815" fmla="*/ 616270 h 4749526"/>
              <a:gd name="connsiteX10816" fmla="*/ 1314505 w 7402822"/>
              <a:gd name="connsiteY10816" fmla="*/ 607163 h 4749526"/>
              <a:gd name="connsiteX10817" fmla="*/ 1302362 w 7402822"/>
              <a:gd name="connsiteY10817" fmla="*/ 601091 h 4749526"/>
              <a:gd name="connsiteX10818" fmla="*/ 1287184 w 7402822"/>
              <a:gd name="connsiteY10818" fmla="*/ 585912 h 4749526"/>
              <a:gd name="connsiteX10819" fmla="*/ 1296291 w 7402822"/>
              <a:gd name="connsiteY10819" fmla="*/ 570733 h 4749526"/>
              <a:gd name="connsiteX10820" fmla="*/ 5578302 w 7402822"/>
              <a:gd name="connsiteY10820" fmla="*/ 558588 h 4749526"/>
              <a:gd name="connsiteX10821" fmla="*/ 5593481 w 7402822"/>
              <a:gd name="connsiteY10821" fmla="*/ 570732 h 4749526"/>
              <a:gd name="connsiteX10822" fmla="*/ 5590444 w 7402822"/>
              <a:gd name="connsiteY10822" fmla="*/ 576804 h 4749526"/>
              <a:gd name="connsiteX10823" fmla="*/ 5587409 w 7402822"/>
              <a:gd name="connsiteY10823" fmla="*/ 585911 h 4749526"/>
              <a:gd name="connsiteX10824" fmla="*/ 5578302 w 7402822"/>
              <a:gd name="connsiteY10824" fmla="*/ 625376 h 4749526"/>
              <a:gd name="connsiteX10825" fmla="*/ 5587409 w 7402822"/>
              <a:gd name="connsiteY10825" fmla="*/ 610197 h 4749526"/>
              <a:gd name="connsiteX10826" fmla="*/ 5599552 w 7402822"/>
              <a:gd name="connsiteY10826" fmla="*/ 595018 h 4749526"/>
              <a:gd name="connsiteX10827" fmla="*/ 5620802 w 7402822"/>
              <a:gd name="connsiteY10827" fmla="*/ 607162 h 4749526"/>
              <a:gd name="connsiteX10828" fmla="*/ 5635982 w 7402822"/>
              <a:gd name="connsiteY10828" fmla="*/ 625376 h 4749526"/>
              <a:gd name="connsiteX10829" fmla="*/ 5639017 w 7402822"/>
              <a:gd name="connsiteY10829" fmla="*/ 655735 h 4749526"/>
              <a:gd name="connsiteX10830" fmla="*/ 5635982 w 7402822"/>
              <a:gd name="connsiteY10830" fmla="*/ 664842 h 4749526"/>
              <a:gd name="connsiteX10831" fmla="*/ 5629910 w 7402822"/>
              <a:gd name="connsiteY10831" fmla="*/ 673949 h 4749526"/>
              <a:gd name="connsiteX10832" fmla="*/ 5620802 w 7402822"/>
              <a:gd name="connsiteY10832" fmla="*/ 673949 h 4749526"/>
              <a:gd name="connsiteX10833" fmla="*/ 5596516 w 7402822"/>
              <a:gd name="connsiteY10833" fmla="*/ 686093 h 4749526"/>
              <a:gd name="connsiteX10834" fmla="*/ 5569193 w 7402822"/>
              <a:gd name="connsiteY10834" fmla="*/ 689128 h 4749526"/>
              <a:gd name="connsiteX10835" fmla="*/ 5541872 w 7402822"/>
              <a:gd name="connsiteY10835" fmla="*/ 704307 h 4749526"/>
              <a:gd name="connsiteX10836" fmla="*/ 5529728 w 7402822"/>
              <a:gd name="connsiteY10836" fmla="*/ 713415 h 4749526"/>
              <a:gd name="connsiteX10837" fmla="*/ 5517585 w 7402822"/>
              <a:gd name="connsiteY10837" fmla="*/ 713415 h 4749526"/>
              <a:gd name="connsiteX10838" fmla="*/ 5563123 w 7402822"/>
              <a:gd name="connsiteY10838" fmla="*/ 567696 h 4749526"/>
              <a:gd name="connsiteX10839" fmla="*/ 3802353 w 7402822"/>
              <a:gd name="connsiteY10839" fmla="*/ 485731 h 4749526"/>
              <a:gd name="connsiteX10840" fmla="*/ 3811460 w 7402822"/>
              <a:gd name="connsiteY10840" fmla="*/ 494838 h 4749526"/>
              <a:gd name="connsiteX10841" fmla="*/ 3835747 w 7402822"/>
              <a:gd name="connsiteY10841" fmla="*/ 519125 h 4749526"/>
              <a:gd name="connsiteX10842" fmla="*/ 3850925 w 7402822"/>
              <a:gd name="connsiteY10842" fmla="*/ 543411 h 4749526"/>
              <a:gd name="connsiteX10843" fmla="*/ 3856997 w 7402822"/>
              <a:gd name="connsiteY10843" fmla="*/ 582877 h 4749526"/>
              <a:gd name="connsiteX10844" fmla="*/ 3866104 w 7402822"/>
              <a:gd name="connsiteY10844" fmla="*/ 585912 h 4749526"/>
              <a:gd name="connsiteX10845" fmla="*/ 3875213 w 7402822"/>
              <a:gd name="connsiteY10845" fmla="*/ 601091 h 4749526"/>
              <a:gd name="connsiteX10846" fmla="*/ 3884320 w 7402822"/>
              <a:gd name="connsiteY10846" fmla="*/ 610198 h 4749526"/>
              <a:gd name="connsiteX10847" fmla="*/ 3902534 w 7402822"/>
              <a:gd name="connsiteY10847" fmla="*/ 619307 h 4749526"/>
              <a:gd name="connsiteX10848" fmla="*/ 3908606 w 7402822"/>
              <a:gd name="connsiteY10848" fmla="*/ 631449 h 4749526"/>
              <a:gd name="connsiteX10849" fmla="*/ 3899499 w 7402822"/>
              <a:gd name="connsiteY10849" fmla="*/ 646628 h 4749526"/>
              <a:gd name="connsiteX10850" fmla="*/ 3881283 w 7402822"/>
              <a:gd name="connsiteY10850" fmla="*/ 643593 h 4749526"/>
              <a:gd name="connsiteX10851" fmla="*/ 3863069 w 7402822"/>
              <a:gd name="connsiteY10851" fmla="*/ 658772 h 4749526"/>
              <a:gd name="connsiteX10852" fmla="*/ 3860034 w 7402822"/>
              <a:gd name="connsiteY10852" fmla="*/ 664843 h 4749526"/>
              <a:gd name="connsiteX10853" fmla="*/ 3856997 w 7402822"/>
              <a:gd name="connsiteY10853" fmla="*/ 676987 h 4749526"/>
              <a:gd name="connsiteX10854" fmla="*/ 3856997 w 7402822"/>
              <a:gd name="connsiteY10854" fmla="*/ 686094 h 4749526"/>
              <a:gd name="connsiteX10855" fmla="*/ 3847890 w 7402822"/>
              <a:gd name="connsiteY10855" fmla="*/ 722524 h 4749526"/>
              <a:gd name="connsiteX10856" fmla="*/ 3838783 w 7402822"/>
              <a:gd name="connsiteY10856" fmla="*/ 749846 h 4749526"/>
              <a:gd name="connsiteX10857" fmla="*/ 3832711 w 7402822"/>
              <a:gd name="connsiteY10857" fmla="*/ 761989 h 4749526"/>
              <a:gd name="connsiteX10858" fmla="*/ 3817532 w 7402822"/>
              <a:gd name="connsiteY10858" fmla="*/ 828777 h 4749526"/>
              <a:gd name="connsiteX10859" fmla="*/ 3814496 w 7402822"/>
              <a:gd name="connsiteY10859" fmla="*/ 843957 h 4749526"/>
              <a:gd name="connsiteX10860" fmla="*/ 3805389 w 7402822"/>
              <a:gd name="connsiteY10860" fmla="*/ 843957 h 4749526"/>
              <a:gd name="connsiteX10861" fmla="*/ 3787173 w 7402822"/>
              <a:gd name="connsiteY10861" fmla="*/ 816634 h 4749526"/>
              <a:gd name="connsiteX10862" fmla="*/ 3778066 w 7402822"/>
              <a:gd name="connsiteY10862" fmla="*/ 804490 h 4749526"/>
              <a:gd name="connsiteX10863" fmla="*/ 3762887 w 7402822"/>
              <a:gd name="connsiteY10863" fmla="*/ 786276 h 4749526"/>
              <a:gd name="connsiteX10864" fmla="*/ 3753780 w 7402822"/>
              <a:gd name="connsiteY10864" fmla="*/ 768061 h 4749526"/>
              <a:gd name="connsiteX10865" fmla="*/ 3753780 w 7402822"/>
              <a:gd name="connsiteY10865" fmla="*/ 755917 h 4749526"/>
              <a:gd name="connsiteX10866" fmla="*/ 3756815 w 7402822"/>
              <a:gd name="connsiteY10866" fmla="*/ 752882 h 4749526"/>
              <a:gd name="connsiteX10867" fmla="*/ 3762887 w 7402822"/>
              <a:gd name="connsiteY10867" fmla="*/ 749846 h 4749526"/>
              <a:gd name="connsiteX10868" fmla="*/ 3765924 w 7402822"/>
              <a:gd name="connsiteY10868" fmla="*/ 758954 h 4749526"/>
              <a:gd name="connsiteX10869" fmla="*/ 3768959 w 7402822"/>
              <a:gd name="connsiteY10869" fmla="*/ 755917 h 4749526"/>
              <a:gd name="connsiteX10870" fmla="*/ 3771994 w 7402822"/>
              <a:gd name="connsiteY10870" fmla="*/ 752882 h 4749526"/>
              <a:gd name="connsiteX10871" fmla="*/ 3768959 w 7402822"/>
              <a:gd name="connsiteY10871" fmla="*/ 743775 h 4749526"/>
              <a:gd name="connsiteX10872" fmla="*/ 3756815 w 7402822"/>
              <a:gd name="connsiteY10872" fmla="*/ 731631 h 4749526"/>
              <a:gd name="connsiteX10873" fmla="*/ 3747708 w 7402822"/>
              <a:gd name="connsiteY10873" fmla="*/ 734666 h 4749526"/>
              <a:gd name="connsiteX10874" fmla="*/ 3744673 w 7402822"/>
              <a:gd name="connsiteY10874" fmla="*/ 707345 h 4749526"/>
              <a:gd name="connsiteX10875" fmla="*/ 3750744 w 7402822"/>
              <a:gd name="connsiteY10875" fmla="*/ 701273 h 4749526"/>
              <a:gd name="connsiteX10876" fmla="*/ 3759852 w 7402822"/>
              <a:gd name="connsiteY10876" fmla="*/ 701273 h 4749526"/>
              <a:gd name="connsiteX10877" fmla="*/ 3775031 w 7402822"/>
              <a:gd name="connsiteY10877" fmla="*/ 695201 h 4749526"/>
              <a:gd name="connsiteX10878" fmla="*/ 3787173 w 7402822"/>
              <a:gd name="connsiteY10878" fmla="*/ 680022 h 4749526"/>
              <a:gd name="connsiteX10879" fmla="*/ 3790210 w 7402822"/>
              <a:gd name="connsiteY10879" fmla="*/ 664843 h 4749526"/>
              <a:gd name="connsiteX10880" fmla="*/ 3781103 w 7402822"/>
              <a:gd name="connsiteY10880" fmla="*/ 646628 h 4749526"/>
              <a:gd name="connsiteX10881" fmla="*/ 3784138 w 7402822"/>
              <a:gd name="connsiteY10881" fmla="*/ 622342 h 4749526"/>
              <a:gd name="connsiteX10882" fmla="*/ 3775031 w 7402822"/>
              <a:gd name="connsiteY10882" fmla="*/ 631449 h 4749526"/>
              <a:gd name="connsiteX10883" fmla="*/ 3765924 w 7402822"/>
              <a:gd name="connsiteY10883" fmla="*/ 640556 h 4749526"/>
              <a:gd name="connsiteX10884" fmla="*/ 3768959 w 7402822"/>
              <a:gd name="connsiteY10884" fmla="*/ 667879 h 4749526"/>
              <a:gd name="connsiteX10885" fmla="*/ 3759852 w 7402822"/>
              <a:gd name="connsiteY10885" fmla="*/ 680022 h 4749526"/>
              <a:gd name="connsiteX10886" fmla="*/ 3750744 w 7402822"/>
              <a:gd name="connsiteY10886" fmla="*/ 689130 h 4749526"/>
              <a:gd name="connsiteX10887" fmla="*/ 3732529 w 7402822"/>
              <a:gd name="connsiteY10887" fmla="*/ 683058 h 4749526"/>
              <a:gd name="connsiteX10888" fmla="*/ 3714314 w 7402822"/>
              <a:gd name="connsiteY10888" fmla="*/ 652700 h 4749526"/>
              <a:gd name="connsiteX10889" fmla="*/ 3705207 w 7402822"/>
              <a:gd name="connsiteY10889" fmla="*/ 634486 h 4749526"/>
              <a:gd name="connsiteX10890" fmla="*/ 3699135 w 7402822"/>
              <a:gd name="connsiteY10890" fmla="*/ 610198 h 4749526"/>
              <a:gd name="connsiteX10891" fmla="*/ 3699135 w 7402822"/>
              <a:gd name="connsiteY10891" fmla="*/ 595020 h 4749526"/>
              <a:gd name="connsiteX10892" fmla="*/ 3691545 w 7402822"/>
              <a:gd name="connsiteY10892" fmla="*/ 561626 h 4749526"/>
              <a:gd name="connsiteX10893" fmla="*/ 3711279 w 7402822"/>
              <a:gd name="connsiteY10893" fmla="*/ 513053 h 4749526"/>
              <a:gd name="connsiteX10894" fmla="*/ 3738601 w 7402822"/>
              <a:gd name="connsiteY10894" fmla="*/ 510018 h 4749526"/>
              <a:gd name="connsiteX10895" fmla="*/ 3750744 w 7402822"/>
              <a:gd name="connsiteY10895" fmla="*/ 506981 h 4749526"/>
              <a:gd name="connsiteX10896" fmla="*/ 3753780 w 7402822"/>
              <a:gd name="connsiteY10896" fmla="*/ 519125 h 4749526"/>
              <a:gd name="connsiteX10897" fmla="*/ 3756815 w 7402822"/>
              <a:gd name="connsiteY10897" fmla="*/ 537339 h 4749526"/>
              <a:gd name="connsiteX10898" fmla="*/ 3765924 w 7402822"/>
              <a:gd name="connsiteY10898" fmla="*/ 516089 h 4749526"/>
              <a:gd name="connsiteX10899" fmla="*/ 3768959 w 7402822"/>
              <a:gd name="connsiteY10899" fmla="*/ 519125 h 4749526"/>
              <a:gd name="connsiteX10900" fmla="*/ 3781103 w 7402822"/>
              <a:gd name="connsiteY10900" fmla="*/ 549483 h 4749526"/>
              <a:gd name="connsiteX10901" fmla="*/ 3802353 w 7402822"/>
              <a:gd name="connsiteY10901" fmla="*/ 607163 h 4749526"/>
              <a:gd name="connsiteX10902" fmla="*/ 3793245 w 7402822"/>
              <a:gd name="connsiteY10902" fmla="*/ 564662 h 4749526"/>
              <a:gd name="connsiteX10903" fmla="*/ 3790210 w 7402822"/>
              <a:gd name="connsiteY10903" fmla="*/ 506981 h 4749526"/>
              <a:gd name="connsiteX10904" fmla="*/ 5344544 w 7402822"/>
              <a:gd name="connsiteY10904" fmla="*/ 485729 h 4749526"/>
              <a:gd name="connsiteX10905" fmla="*/ 5362759 w 7402822"/>
              <a:gd name="connsiteY10905" fmla="*/ 485729 h 4749526"/>
              <a:gd name="connsiteX10906" fmla="*/ 5390081 w 7402822"/>
              <a:gd name="connsiteY10906" fmla="*/ 494836 h 4749526"/>
              <a:gd name="connsiteX10907" fmla="*/ 5399189 w 7402822"/>
              <a:gd name="connsiteY10907" fmla="*/ 500908 h 4749526"/>
              <a:gd name="connsiteX10908" fmla="*/ 5402224 w 7402822"/>
              <a:gd name="connsiteY10908" fmla="*/ 506980 h 4749526"/>
              <a:gd name="connsiteX10909" fmla="*/ 5387045 w 7402822"/>
              <a:gd name="connsiteY10909" fmla="*/ 522159 h 4749526"/>
              <a:gd name="connsiteX10910" fmla="*/ 5362759 w 7402822"/>
              <a:gd name="connsiteY10910" fmla="*/ 531266 h 4749526"/>
              <a:gd name="connsiteX10911" fmla="*/ 5350615 w 7402822"/>
              <a:gd name="connsiteY10911" fmla="*/ 516087 h 4749526"/>
              <a:gd name="connsiteX10912" fmla="*/ 5344544 w 7402822"/>
              <a:gd name="connsiteY10912" fmla="*/ 510016 h 4749526"/>
              <a:gd name="connsiteX10913" fmla="*/ 5344544 w 7402822"/>
              <a:gd name="connsiteY10913" fmla="*/ 488766 h 4749526"/>
              <a:gd name="connsiteX10914" fmla="*/ 4448704 w 7402822"/>
              <a:gd name="connsiteY10914" fmla="*/ 482003 h 4749526"/>
              <a:gd name="connsiteX10915" fmla="*/ 4448981 w 7402822"/>
              <a:gd name="connsiteY10915" fmla="*/ 482694 h 4749526"/>
              <a:gd name="connsiteX10916" fmla="*/ 4445944 w 7402822"/>
              <a:gd name="connsiteY10916" fmla="*/ 482694 h 4749526"/>
              <a:gd name="connsiteX10917" fmla="*/ 1408616 w 7402822"/>
              <a:gd name="connsiteY10917" fmla="*/ 473587 h 4749526"/>
              <a:gd name="connsiteX10918" fmla="*/ 1417723 w 7402822"/>
              <a:gd name="connsiteY10918" fmla="*/ 479658 h 4749526"/>
              <a:gd name="connsiteX10919" fmla="*/ 1426831 w 7402822"/>
              <a:gd name="connsiteY10919" fmla="*/ 482695 h 4749526"/>
              <a:gd name="connsiteX10920" fmla="*/ 1429867 w 7402822"/>
              <a:gd name="connsiteY10920" fmla="*/ 516088 h 4749526"/>
              <a:gd name="connsiteX10921" fmla="*/ 1423795 w 7402822"/>
              <a:gd name="connsiteY10921" fmla="*/ 528232 h 4749526"/>
              <a:gd name="connsiteX10922" fmla="*/ 1402544 w 7402822"/>
              <a:gd name="connsiteY10922" fmla="*/ 506981 h 4749526"/>
              <a:gd name="connsiteX10923" fmla="*/ 1399508 w 7402822"/>
              <a:gd name="connsiteY10923" fmla="*/ 482695 h 4749526"/>
              <a:gd name="connsiteX10924" fmla="*/ 5481155 w 7402822"/>
              <a:gd name="connsiteY10924" fmla="*/ 473586 h 4749526"/>
              <a:gd name="connsiteX10925" fmla="*/ 5493299 w 7402822"/>
              <a:gd name="connsiteY10925" fmla="*/ 485729 h 4749526"/>
              <a:gd name="connsiteX10926" fmla="*/ 5508478 w 7402822"/>
              <a:gd name="connsiteY10926" fmla="*/ 488766 h 4749526"/>
              <a:gd name="connsiteX10927" fmla="*/ 5517585 w 7402822"/>
              <a:gd name="connsiteY10927" fmla="*/ 494836 h 4749526"/>
              <a:gd name="connsiteX10928" fmla="*/ 5529728 w 7402822"/>
              <a:gd name="connsiteY10928" fmla="*/ 519124 h 4749526"/>
              <a:gd name="connsiteX10929" fmla="*/ 5523657 w 7402822"/>
              <a:gd name="connsiteY10929" fmla="*/ 564660 h 4749526"/>
              <a:gd name="connsiteX10930" fmla="*/ 5526692 w 7402822"/>
              <a:gd name="connsiteY10930" fmla="*/ 595018 h 4749526"/>
              <a:gd name="connsiteX10931" fmla="*/ 5526692 w 7402822"/>
              <a:gd name="connsiteY10931" fmla="*/ 613233 h 4749526"/>
              <a:gd name="connsiteX10932" fmla="*/ 5517585 w 7402822"/>
              <a:gd name="connsiteY10932" fmla="*/ 625376 h 4749526"/>
              <a:gd name="connsiteX10933" fmla="*/ 5484192 w 7402822"/>
              <a:gd name="connsiteY10933" fmla="*/ 625376 h 4749526"/>
              <a:gd name="connsiteX10934" fmla="*/ 5469013 w 7402822"/>
              <a:gd name="connsiteY10934" fmla="*/ 619305 h 4749526"/>
              <a:gd name="connsiteX10935" fmla="*/ 5459904 w 7402822"/>
              <a:gd name="connsiteY10935" fmla="*/ 610197 h 4749526"/>
              <a:gd name="connsiteX10936" fmla="*/ 5441690 w 7402822"/>
              <a:gd name="connsiteY10936" fmla="*/ 601090 h 4749526"/>
              <a:gd name="connsiteX10937" fmla="*/ 5432583 w 7402822"/>
              <a:gd name="connsiteY10937" fmla="*/ 601090 h 4749526"/>
              <a:gd name="connsiteX10938" fmla="*/ 5420439 w 7402822"/>
              <a:gd name="connsiteY10938" fmla="*/ 595018 h 4749526"/>
              <a:gd name="connsiteX10939" fmla="*/ 5411332 w 7402822"/>
              <a:gd name="connsiteY10939" fmla="*/ 564660 h 4749526"/>
              <a:gd name="connsiteX10940" fmla="*/ 5399189 w 7402822"/>
              <a:gd name="connsiteY10940" fmla="*/ 540374 h 4749526"/>
              <a:gd name="connsiteX10941" fmla="*/ 5408296 w 7402822"/>
              <a:gd name="connsiteY10941" fmla="*/ 513052 h 4749526"/>
              <a:gd name="connsiteX10942" fmla="*/ 5417403 w 7402822"/>
              <a:gd name="connsiteY10942" fmla="*/ 494836 h 4749526"/>
              <a:gd name="connsiteX10943" fmla="*/ 5432583 w 7402822"/>
              <a:gd name="connsiteY10943" fmla="*/ 482694 h 4749526"/>
              <a:gd name="connsiteX10944" fmla="*/ 5456869 w 7402822"/>
              <a:gd name="connsiteY10944" fmla="*/ 476622 h 4749526"/>
              <a:gd name="connsiteX10945" fmla="*/ 4628094 w 7402822"/>
              <a:gd name="connsiteY10945" fmla="*/ 449300 h 4749526"/>
              <a:gd name="connsiteX10946" fmla="*/ 4643273 w 7402822"/>
              <a:gd name="connsiteY10946" fmla="*/ 464479 h 4749526"/>
              <a:gd name="connsiteX10947" fmla="*/ 4640236 w 7402822"/>
              <a:gd name="connsiteY10947" fmla="*/ 485729 h 4749526"/>
              <a:gd name="connsiteX10948" fmla="*/ 4631129 w 7402822"/>
              <a:gd name="connsiteY10948" fmla="*/ 485729 h 4749526"/>
              <a:gd name="connsiteX10949" fmla="*/ 4612914 w 7402822"/>
              <a:gd name="connsiteY10949" fmla="*/ 479658 h 4749526"/>
              <a:gd name="connsiteX10950" fmla="*/ 4615950 w 7402822"/>
              <a:gd name="connsiteY10950" fmla="*/ 479658 h 4749526"/>
              <a:gd name="connsiteX10951" fmla="*/ 4622022 w 7402822"/>
              <a:gd name="connsiteY10951" fmla="*/ 452336 h 4749526"/>
              <a:gd name="connsiteX10952" fmla="*/ 3942000 w 7402822"/>
              <a:gd name="connsiteY10952" fmla="*/ 434122 h 4749526"/>
              <a:gd name="connsiteX10953" fmla="*/ 3945036 w 7402822"/>
              <a:gd name="connsiteY10953" fmla="*/ 458408 h 4749526"/>
              <a:gd name="connsiteX10954" fmla="*/ 3942000 w 7402822"/>
              <a:gd name="connsiteY10954" fmla="*/ 461444 h 4749526"/>
              <a:gd name="connsiteX10955" fmla="*/ 3938964 w 7402822"/>
              <a:gd name="connsiteY10955" fmla="*/ 473587 h 4749526"/>
              <a:gd name="connsiteX10956" fmla="*/ 3948072 w 7402822"/>
              <a:gd name="connsiteY10956" fmla="*/ 476623 h 4749526"/>
              <a:gd name="connsiteX10957" fmla="*/ 3960215 w 7402822"/>
              <a:gd name="connsiteY10957" fmla="*/ 461444 h 4749526"/>
              <a:gd name="connsiteX10958" fmla="*/ 3969323 w 7402822"/>
              <a:gd name="connsiteY10958" fmla="*/ 461444 h 4749526"/>
              <a:gd name="connsiteX10959" fmla="*/ 3978430 w 7402822"/>
              <a:gd name="connsiteY10959" fmla="*/ 464480 h 4749526"/>
              <a:gd name="connsiteX10960" fmla="*/ 4002716 w 7402822"/>
              <a:gd name="connsiteY10960" fmla="*/ 467516 h 4749526"/>
              <a:gd name="connsiteX10961" fmla="*/ 4014860 w 7402822"/>
              <a:gd name="connsiteY10961" fmla="*/ 470552 h 4749526"/>
              <a:gd name="connsiteX10962" fmla="*/ 4027003 w 7402822"/>
              <a:gd name="connsiteY10962" fmla="*/ 482695 h 4749526"/>
              <a:gd name="connsiteX10963" fmla="*/ 4027003 w 7402822"/>
              <a:gd name="connsiteY10963" fmla="*/ 491802 h 4749526"/>
              <a:gd name="connsiteX10964" fmla="*/ 4005752 w 7402822"/>
              <a:gd name="connsiteY10964" fmla="*/ 540376 h 4749526"/>
              <a:gd name="connsiteX10965" fmla="*/ 3996644 w 7402822"/>
              <a:gd name="connsiteY10965" fmla="*/ 561626 h 4749526"/>
              <a:gd name="connsiteX10966" fmla="*/ 3984502 w 7402822"/>
              <a:gd name="connsiteY10966" fmla="*/ 570734 h 4749526"/>
              <a:gd name="connsiteX10967" fmla="*/ 3957179 w 7402822"/>
              <a:gd name="connsiteY10967" fmla="*/ 585912 h 4749526"/>
              <a:gd name="connsiteX10968" fmla="*/ 3945036 w 7402822"/>
              <a:gd name="connsiteY10968" fmla="*/ 585912 h 4749526"/>
              <a:gd name="connsiteX10969" fmla="*/ 3932893 w 7402822"/>
              <a:gd name="connsiteY10969" fmla="*/ 573769 h 4749526"/>
              <a:gd name="connsiteX10970" fmla="*/ 3929857 w 7402822"/>
              <a:gd name="connsiteY10970" fmla="*/ 561626 h 4749526"/>
              <a:gd name="connsiteX10971" fmla="*/ 3923785 w 7402822"/>
              <a:gd name="connsiteY10971" fmla="*/ 561626 h 4749526"/>
              <a:gd name="connsiteX10972" fmla="*/ 3908606 w 7402822"/>
              <a:gd name="connsiteY10972" fmla="*/ 561626 h 4749526"/>
              <a:gd name="connsiteX10973" fmla="*/ 3899499 w 7402822"/>
              <a:gd name="connsiteY10973" fmla="*/ 567697 h 4749526"/>
              <a:gd name="connsiteX10974" fmla="*/ 3884320 w 7402822"/>
              <a:gd name="connsiteY10974" fmla="*/ 555555 h 4749526"/>
              <a:gd name="connsiteX10975" fmla="*/ 3872176 w 7402822"/>
              <a:gd name="connsiteY10975" fmla="*/ 546447 h 4749526"/>
              <a:gd name="connsiteX10976" fmla="*/ 3863069 w 7402822"/>
              <a:gd name="connsiteY10976" fmla="*/ 525197 h 4749526"/>
              <a:gd name="connsiteX10977" fmla="*/ 3838783 w 7402822"/>
              <a:gd name="connsiteY10977" fmla="*/ 503946 h 4749526"/>
              <a:gd name="connsiteX10978" fmla="*/ 3832711 w 7402822"/>
              <a:gd name="connsiteY10978" fmla="*/ 476623 h 4749526"/>
              <a:gd name="connsiteX10979" fmla="*/ 3850925 w 7402822"/>
              <a:gd name="connsiteY10979" fmla="*/ 470552 h 4749526"/>
              <a:gd name="connsiteX10980" fmla="*/ 3878248 w 7402822"/>
              <a:gd name="connsiteY10980" fmla="*/ 437157 h 4749526"/>
              <a:gd name="connsiteX10981" fmla="*/ 3908606 w 7402822"/>
              <a:gd name="connsiteY10981" fmla="*/ 461444 h 4749526"/>
              <a:gd name="connsiteX10982" fmla="*/ 3914678 w 7402822"/>
              <a:gd name="connsiteY10982" fmla="*/ 461444 h 4749526"/>
              <a:gd name="connsiteX10983" fmla="*/ 3923785 w 7402822"/>
              <a:gd name="connsiteY10983" fmla="*/ 488767 h 4749526"/>
              <a:gd name="connsiteX10984" fmla="*/ 3929857 w 7402822"/>
              <a:gd name="connsiteY10984" fmla="*/ 440194 h 4749526"/>
              <a:gd name="connsiteX10985" fmla="*/ 4640236 w 7402822"/>
              <a:gd name="connsiteY10985" fmla="*/ 434121 h 4749526"/>
              <a:gd name="connsiteX10986" fmla="*/ 4652380 w 7402822"/>
              <a:gd name="connsiteY10986" fmla="*/ 434121 h 4749526"/>
              <a:gd name="connsiteX10987" fmla="*/ 4664523 w 7402822"/>
              <a:gd name="connsiteY10987" fmla="*/ 434121 h 4749526"/>
              <a:gd name="connsiteX10988" fmla="*/ 4676666 w 7402822"/>
              <a:gd name="connsiteY10988" fmla="*/ 440193 h 4749526"/>
              <a:gd name="connsiteX10989" fmla="*/ 4688809 w 7402822"/>
              <a:gd name="connsiteY10989" fmla="*/ 452336 h 4749526"/>
              <a:gd name="connsiteX10990" fmla="*/ 4655415 w 7402822"/>
              <a:gd name="connsiteY10990" fmla="*/ 479658 h 4749526"/>
              <a:gd name="connsiteX10991" fmla="*/ 4646308 w 7402822"/>
              <a:gd name="connsiteY10991" fmla="*/ 473586 h 4749526"/>
              <a:gd name="connsiteX10992" fmla="*/ 4600771 w 7402822"/>
              <a:gd name="connsiteY10992" fmla="*/ 388584 h 4749526"/>
              <a:gd name="connsiteX10993" fmla="*/ 4606843 w 7402822"/>
              <a:gd name="connsiteY10993" fmla="*/ 391619 h 4749526"/>
              <a:gd name="connsiteX10994" fmla="*/ 4618985 w 7402822"/>
              <a:gd name="connsiteY10994" fmla="*/ 400727 h 4749526"/>
              <a:gd name="connsiteX10995" fmla="*/ 4597735 w 7402822"/>
              <a:gd name="connsiteY10995" fmla="*/ 409835 h 4749526"/>
              <a:gd name="connsiteX10996" fmla="*/ 4588628 w 7402822"/>
              <a:gd name="connsiteY10996" fmla="*/ 406798 h 4749526"/>
              <a:gd name="connsiteX10997" fmla="*/ 4579520 w 7402822"/>
              <a:gd name="connsiteY10997" fmla="*/ 400727 h 4749526"/>
              <a:gd name="connsiteX10998" fmla="*/ 4579520 w 7402822"/>
              <a:gd name="connsiteY10998" fmla="*/ 397691 h 4749526"/>
              <a:gd name="connsiteX10999" fmla="*/ 4588628 w 7402822"/>
              <a:gd name="connsiteY10999" fmla="*/ 391619 h 4749526"/>
              <a:gd name="connsiteX11000" fmla="*/ 4439873 w 7402822"/>
              <a:gd name="connsiteY11000" fmla="*/ 388584 h 4749526"/>
              <a:gd name="connsiteX11001" fmla="*/ 4458088 w 7402822"/>
              <a:gd name="connsiteY11001" fmla="*/ 388584 h 4749526"/>
              <a:gd name="connsiteX11002" fmla="*/ 4470231 w 7402822"/>
              <a:gd name="connsiteY11002" fmla="*/ 400727 h 4749526"/>
              <a:gd name="connsiteX11003" fmla="*/ 4470231 w 7402822"/>
              <a:gd name="connsiteY11003" fmla="*/ 418942 h 4749526"/>
              <a:gd name="connsiteX11004" fmla="*/ 4461124 w 7402822"/>
              <a:gd name="connsiteY11004" fmla="*/ 415907 h 4749526"/>
              <a:gd name="connsiteX11005" fmla="*/ 4452016 w 7402822"/>
              <a:gd name="connsiteY11005" fmla="*/ 400727 h 4749526"/>
              <a:gd name="connsiteX11006" fmla="*/ 4439873 w 7402822"/>
              <a:gd name="connsiteY11006" fmla="*/ 412870 h 4749526"/>
              <a:gd name="connsiteX11007" fmla="*/ 4415586 w 7402822"/>
              <a:gd name="connsiteY11007" fmla="*/ 440193 h 4749526"/>
              <a:gd name="connsiteX11008" fmla="*/ 4403444 w 7402822"/>
              <a:gd name="connsiteY11008" fmla="*/ 428049 h 4749526"/>
              <a:gd name="connsiteX11009" fmla="*/ 4391300 w 7402822"/>
              <a:gd name="connsiteY11009" fmla="*/ 415907 h 4749526"/>
              <a:gd name="connsiteX11010" fmla="*/ 4394336 w 7402822"/>
              <a:gd name="connsiteY11010" fmla="*/ 415907 h 4749526"/>
              <a:gd name="connsiteX11011" fmla="*/ 4424694 w 7402822"/>
              <a:gd name="connsiteY11011" fmla="*/ 403763 h 4749526"/>
              <a:gd name="connsiteX11012" fmla="*/ 4740418 w 7402822"/>
              <a:gd name="connsiteY11012" fmla="*/ 382512 h 4749526"/>
              <a:gd name="connsiteX11013" fmla="*/ 4749525 w 7402822"/>
              <a:gd name="connsiteY11013" fmla="*/ 400727 h 4749526"/>
              <a:gd name="connsiteX11014" fmla="*/ 4746490 w 7402822"/>
              <a:gd name="connsiteY11014" fmla="*/ 415907 h 4749526"/>
              <a:gd name="connsiteX11015" fmla="*/ 4740418 w 7402822"/>
              <a:gd name="connsiteY11015" fmla="*/ 428049 h 4749526"/>
              <a:gd name="connsiteX11016" fmla="*/ 4725239 w 7402822"/>
              <a:gd name="connsiteY11016" fmla="*/ 443228 h 4749526"/>
              <a:gd name="connsiteX11017" fmla="*/ 4713096 w 7402822"/>
              <a:gd name="connsiteY11017" fmla="*/ 443228 h 4749526"/>
              <a:gd name="connsiteX11018" fmla="*/ 4688809 w 7402822"/>
              <a:gd name="connsiteY11018" fmla="*/ 428049 h 4749526"/>
              <a:gd name="connsiteX11019" fmla="*/ 4691845 w 7402822"/>
              <a:gd name="connsiteY11019" fmla="*/ 397691 h 4749526"/>
              <a:gd name="connsiteX11020" fmla="*/ 4697917 w 7402822"/>
              <a:gd name="connsiteY11020" fmla="*/ 388584 h 4749526"/>
              <a:gd name="connsiteX11021" fmla="*/ 4707024 w 7402822"/>
              <a:gd name="connsiteY11021" fmla="*/ 388584 h 4749526"/>
              <a:gd name="connsiteX11022" fmla="*/ 4716132 w 7402822"/>
              <a:gd name="connsiteY11022" fmla="*/ 391619 h 4749526"/>
              <a:gd name="connsiteX11023" fmla="*/ 4497554 w 7402822"/>
              <a:gd name="connsiteY11023" fmla="*/ 379477 h 4749526"/>
              <a:gd name="connsiteX11024" fmla="*/ 4521840 w 7402822"/>
              <a:gd name="connsiteY11024" fmla="*/ 394656 h 4749526"/>
              <a:gd name="connsiteX11025" fmla="*/ 4530947 w 7402822"/>
              <a:gd name="connsiteY11025" fmla="*/ 400727 h 4749526"/>
              <a:gd name="connsiteX11026" fmla="*/ 4533984 w 7402822"/>
              <a:gd name="connsiteY11026" fmla="*/ 409835 h 4749526"/>
              <a:gd name="connsiteX11027" fmla="*/ 4521840 w 7402822"/>
              <a:gd name="connsiteY11027" fmla="*/ 421977 h 4749526"/>
              <a:gd name="connsiteX11028" fmla="*/ 4494517 w 7402822"/>
              <a:gd name="connsiteY11028" fmla="*/ 431086 h 4749526"/>
              <a:gd name="connsiteX11029" fmla="*/ 4482374 w 7402822"/>
              <a:gd name="connsiteY11029" fmla="*/ 440193 h 4749526"/>
              <a:gd name="connsiteX11030" fmla="*/ 4473267 w 7402822"/>
              <a:gd name="connsiteY11030" fmla="*/ 446265 h 4749526"/>
              <a:gd name="connsiteX11031" fmla="*/ 4470231 w 7402822"/>
              <a:gd name="connsiteY11031" fmla="*/ 461444 h 4749526"/>
              <a:gd name="connsiteX11032" fmla="*/ 4467195 w 7402822"/>
              <a:gd name="connsiteY11032" fmla="*/ 476622 h 4749526"/>
              <a:gd name="connsiteX11033" fmla="*/ 4458088 w 7402822"/>
              <a:gd name="connsiteY11033" fmla="*/ 479658 h 4749526"/>
              <a:gd name="connsiteX11034" fmla="*/ 4448704 w 7402822"/>
              <a:gd name="connsiteY11034" fmla="*/ 482003 h 4749526"/>
              <a:gd name="connsiteX11035" fmla="*/ 4442909 w 7402822"/>
              <a:gd name="connsiteY11035" fmla="*/ 467515 h 4749526"/>
              <a:gd name="connsiteX11036" fmla="*/ 4433802 w 7402822"/>
              <a:gd name="connsiteY11036" fmla="*/ 470551 h 4749526"/>
              <a:gd name="connsiteX11037" fmla="*/ 4427730 w 7402822"/>
              <a:gd name="connsiteY11037" fmla="*/ 458407 h 4749526"/>
              <a:gd name="connsiteX11038" fmla="*/ 4433802 w 7402822"/>
              <a:gd name="connsiteY11038" fmla="*/ 449300 h 4749526"/>
              <a:gd name="connsiteX11039" fmla="*/ 4442909 w 7402822"/>
              <a:gd name="connsiteY11039" fmla="*/ 455372 h 4749526"/>
              <a:gd name="connsiteX11040" fmla="*/ 4442909 w 7402822"/>
              <a:gd name="connsiteY11040" fmla="*/ 437156 h 4749526"/>
              <a:gd name="connsiteX11041" fmla="*/ 4458088 w 7402822"/>
              <a:gd name="connsiteY11041" fmla="*/ 428049 h 4749526"/>
              <a:gd name="connsiteX11042" fmla="*/ 4464160 w 7402822"/>
              <a:gd name="connsiteY11042" fmla="*/ 425014 h 4749526"/>
              <a:gd name="connsiteX11043" fmla="*/ 4473267 w 7402822"/>
              <a:gd name="connsiteY11043" fmla="*/ 434121 h 4749526"/>
              <a:gd name="connsiteX11044" fmla="*/ 4488446 w 7402822"/>
              <a:gd name="connsiteY11044" fmla="*/ 415907 h 4749526"/>
              <a:gd name="connsiteX11045" fmla="*/ 4488446 w 7402822"/>
              <a:gd name="connsiteY11045" fmla="*/ 403763 h 4749526"/>
              <a:gd name="connsiteX11046" fmla="*/ 4485410 w 7402822"/>
              <a:gd name="connsiteY11046" fmla="*/ 406798 h 4749526"/>
              <a:gd name="connsiteX11047" fmla="*/ 4482374 w 7402822"/>
              <a:gd name="connsiteY11047" fmla="*/ 406798 h 4749526"/>
              <a:gd name="connsiteX11048" fmla="*/ 4476303 w 7402822"/>
              <a:gd name="connsiteY11048" fmla="*/ 403763 h 4749526"/>
              <a:gd name="connsiteX11049" fmla="*/ 4603806 w 7402822"/>
              <a:gd name="connsiteY11049" fmla="*/ 361261 h 4749526"/>
              <a:gd name="connsiteX11050" fmla="*/ 4612914 w 7402822"/>
              <a:gd name="connsiteY11050" fmla="*/ 367333 h 4749526"/>
              <a:gd name="connsiteX11051" fmla="*/ 4622022 w 7402822"/>
              <a:gd name="connsiteY11051" fmla="*/ 361261 h 4749526"/>
              <a:gd name="connsiteX11052" fmla="*/ 4637201 w 7402822"/>
              <a:gd name="connsiteY11052" fmla="*/ 373405 h 4749526"/>
              <a:gd name="connsiteX11053" fmla="*/ 4649343 w 7402822"/>
              <a:gd name="connsiteY11053" fmla="*/ 388584 h 4749526"/>
              <a:gd name="connsiteX11054" fmla="*/ 4655415 w 7402822"/>
              <a:gd name="connsiteY11054" fmla="*/ 394656 h 4749526"/>
              <a:gd name="connsiteX11055" fmla="*/ 4649343 w 7402822"/>
              <a:gd name="connsiteY11055" fmla="*/ 403763 h 4749526"/>
              <a:gd name="connsiteX11056" fmla="*/ 4640236 w 7402822"/>
              <a:gd name="connsiteY11056" fmla="*/ 406798 h 4749526"/>
              <a:gd name="connsiteX11057" fmla="*/ 4625057 w 7402822"/>
              <a:gd name="connsiteY11057" fmla="*/ 388584 h 4749526"/>
              <a:gd name="connsiteX11058" fmla="*/ 4606843 w 7402822"/>
              <a:gd name="connsiteY11058" fmla="*/ 379477 h 4749526"/>
              <a:gd name="connsiteX11059" fmla="*/ 4594699 w 7402822"/>
              <a:gd name="connsiteY11059" fmla="*/ 373405 h 4749526"/>
              <a:gd name="connsiteX11060" fmla="*/ 4588628 w 7402822"/>
              <a:gd name="connsiteY11060" fmla="*/ 364297 h 4749526"/>
              <a:gd name="connsiteX11061" fmla="*/ 4625057 w 7402822"/>
              <a:gd name="connsiteY11061" fmla="*/ 346083 h 4749526"/>
              <a:gd name="connsiteX11062" fmla="*/ 4646308 w 7402822"/>
              <a:gd name="connsiteY11062" fmla="*/ 352154 h 4749526"/>
              <a:gd name="connsiteX11063" fmla="*/ 4658451 w 7402822"/>
              <a:gd name="connsiteY11063" fmla="*/ 358226 h 4749526"/>
              <a:gd name="connsiteX11064" fmla="*/ 4667559 w 7402822"/>
              <a:gd name="connsiteY11064" fmla="*/ 373405 h 4749526"/>
              <a:gd name="connsiteX11065" fmla="*/ 4646308 w 7402822"/>
              <a:gd name="connsiteY11065" fmla="*/ 373405 h 4749526"/>
              <a:gd name="connsiteX11066" fmla="*/ 4634164 w 7402822"/>
              <a:gd name="connsiteY11066" fmla="*/ 358226 h 4749526"/>
              <a:gd name="connsiteX11067" fmla="*/ 4804170 w 7402822"/>
              <a:gd name="connsiteY11067" fmla="*/ 343046 h 4749526"/>
              <a:gd name="connsiteX11068" fmla="*/ 4816314 w 7402822"/>
              <a:gd name="connsiteY11068" fmla="*/ 361261 h 4749526"/>
              <a:gd name="connsiteX11069" fmla="*/ 4813277 w 7402822"/>
              <a:gd name="connsiteY11069" fmla="*/ 379477 h 4749526"/>
              <a:gd name="connsiteX11070" fmla="*/ 4807206 w 7402822"/>
              <a:gd name="connsiteY11070" fmla="*/ 391619 h 4749526"/>
              <a:gd name="connsiteX11071" fmla="*/ 4782919 w 7402822"/>
              <a:gd name="connsiteY11071" fmla="*/ 403763 h 4749526"/>
              <a:gd name="connsiteX11072" fmla="*/ 4767741 w 7402822"/>
              <a:gd name="connsiteY11072" fmla="*/ 406798 h 4749526"/>
              <a:gd name="connsiteX11073" fmla="*/ 4755597 w 7402822"/>
              <a:gd name="connsiteY11073" fmla="*/ 394656 h 4749526"/>
              <a:gd name="connsiteX11074" fmla="*/ 4755597 w 7402822"/>
              <a:gd name="connsiteY11074" fmla="*/ 388584 h 4749526"/>
              <a:gd name="connsiteX11075" fmla="*/ 4779883 w 7402822"/>
              <a:gd name="connsiteY11075" fmla="*/ 358226 h 4749526"/>
              <a:gd name="connsiteX11076" fmla="*/ 5341508 w 7402822"/>
              <a:gd name="connsiteY11076" fmla="*/ 336975 h 4749526"/>
              <a:gd name="connsiteX11077" fmla="*/ 5353652 w 7402822"/>
              <a:gd name="connsiteY11077" fmla="*/ 349118 h 4749526"/>
              <a:gd name="connsiteX11078" fmla="*/ 5335436 w 7402822"/>
              <a:gd name="connsiteY11078" fmla="*/ 358226 h 4749526"/>
              <a:gd name="connsiteX11079" fmla="*/ 5323293 w 7402822"/>
              <a:gd name="connsiteY11079" fmla="*/ 355189 h 4749526"/>
              <a:gd name="connsiteX11080" fmla="*/ 5323293 w 7402822"/>
              <a:gd name="connsiteY11080" fmla="*/ 340010 h 4749526"/>
              <a:gd name="connsiteX11081" fmla="*/ 5438654 w 7402822"/>
              <a:gd name="connsiteY11081" fmla="*/ 321796 h 4749526"/>
              <a:gd name="connsiteX11082" fmla="*/ 5447762 w 7402822"/>
              <a:gd name="connsiteY11082" fmla="*/ 333939 h 4749526"/>
              <a:gd name="connsiteX11083" fmla="*/ 5456869 w 7402822"/>
              <a:gd name="connsiteY11083" fmla="*/ 355189 h 4749526"/>
              <a:gd name="connsiteX11084" fmla="*/ 5465976 w 7402822"/>
              <a:gd name="connsiteY11084" fmla="*/ 373405 h 4749526"/>
              <a:gd name="connsiteX11085" fmla="*/ 5475083 w 7402822"/>
              <a:gd name="connsiteY11085" fmla="*/ 382512 h 4749526"/>
              <a:gd name="connsiteX11086" fmla="*/ 5487227 w 7402822"/>
              <a:gd name="connsiteY11086" fmla="*/ 394655 h 4749526"/>
              <a:gd name="connsiteX11087" fmla="*/ 5484192 w 7402822"/>
              <a:gd name="connsiteY11087" fmla="*/ 400726 h 4749526"/>
              <a:gd name="connsiteX11088" fmla="*/ 5478120 w 7402822"/>
              <a:gd name="connsiteY11088" fmla="*/ 403763 h 4749526"/>
              <a:gd name="connsiteX11089" fmla="*/ 5472048 w 7402822"/>
              <a:gd name="connsiteY11089" fmla="*/ 403763 h 4749526"/>
              <a:gd name="connsiteX11090" fmla="*/ 5469013 w 7402822"/>
              <a:gd name="connsiteY11090" fmla="*/ 415906 h 4749526"/>
              <a:gd name="connsiteX11091" fmla="*/ 5469013 w 7402822"/>
              <a:gd name="connsiteY11091" fmla="*/ 425013 h 4749526"/>
              <a:gd name="connsiteX11092" fmla="*/ 5475083 w 7402822"/>
              <a:gd name="connsiteY11092" fmla="*/ 449299 h 4749526"/>
              <a:gd name="connsiteX11093" fmla="*/ 5456869 w 7402822"/>
              <a:gd name="connsiteY11093" fmla="*/ 461443 h 4749526"/>
              <a:gd name="connsiteX11094" fmla="*/ 5402224 w 7402822"/>
              <a:gd name="connsiteY11094" fmla="*/ 485729 h 4749526"/>
              <a:gd name="connsiteX11095" fmla="*/ 5374903 w 7402822"/>
              <a:gd name="connsiteY11095" fmla="*/ 473586 h 4749526"/>
              <a:gd name="connsiteX11096" fmla="*/ 5365794 w 7402822"/>
              <a:gd name="connsiteY11096" fmla="*/ 464478 h 4749526"/>
              <a:gd name="connsiteX11097" fmla="*/ 5350615 w 7402822"/>
              <a:gd name="connsiteY11097" fmla="*/ 449299 h 4749526"/>
              <a:gd name="connsiteX11098" fmla="*/ 5368831 w 7402822"/>
              <a:gd name="connsiteY11098" fmla="*/ 425013 h 4749526"/>
              <a:gd name="connsiteX11099" fmla="*/ 5380973 w 7402822"/>
              <a:gd name="connsiteY11099" fmla="*/ 425013 h 4749526"/>
              <a:gd name="connsiteX11100" fmla="*/ 5387045 w 7402822"/>
              <a:gd name="connsiteY11100" fmla="*/ 391619 h 4749526"/>
              <a:gd name="connsiteX11101" fmla="*/ 5377938 w 7402822"/>
              <a:gd name="connsiteY11101" fmla="*/ 394655 h 4749526"/>
              <a:gd name="connsiteX11102" fmla="*/ 5374903 w 7402822"/>
              <a:gd name="connsiteY11102" fmla="*/ 391619 h 4749526"/>
              <a:gd name="connsiteX11103" fmla="*/ 5377938 w 7402822"/>
              <a:gd name="connsiteY11103" fmla="*/ 376440 h 4749526"/>
              <a:gd name="connsiteX11104" fmla="*/ 5396152 w 7402822"/>
              <a:gd name="connsiteY11104" fmla="*/ 355189 h 4749526"/>
              <a:gd name="connsiteX11105" fmla="*/ 5435618 w 7402822"/>
              <a:gd name="connsiteY11105" fmla="*/ 330903 h 4749526"/>
              <a:gd name="connsiteX11106" fmla="*/ 1536119 w 7402822"/>
              <a:gd name="connsiteY11106" fmla="*/ 315725 h 4749526"/>
              <a:gd name="connsiteX11107" fmla="*/ 1560407 w 7402822"/>
              <a:gd name="connsiteY11107" fmla="*/ 333940 h 4749526"/>
              <a:gd name="connsiteX11108" fmla="*/ 1572549 w 7402822"/>
              <a:gd name="connsiteY11108" fmla="*/ 355190 h 4749526"/>
              <a:gd name="connsiteX11109" fmla="*/ 1584693 w 7402822"/>
              <a:gd name="connsiteY11109" fmla="*/ 394656 h 4749526"/>
              <a:gd name="connsiteX11110" fmla="*/ 1599872 w 7402822"/>
              <a:gd name="connsiteY11110" fmla="*/ 425014 h 4749526"/>
              <a:gd name="connsiteX11111" fmla="*/ 1612015 w 7402822"/>
              <a:gd name="connsiteY11111" fmla="*/ 428050 h 4749526"/>
              <a:gd name="connsiteX11112" fmla="*/ 1624158 w 7402822"/>
              <a:gd name="connsiteY11112" fmla="*/ 428050 h 4749526"/>
              <a:gd name="connsiteX11113" fmla="*/ 1636301 w 7402822"/>
              <a:gd name="connsiteY11113" fmla="*/ 449300 h 4749526"/>
              <a:gd name="connsiteX11114" fmla="*/ 1639337 w 7402822"/>
              <a:gd name="connsiteY11114" fmla="*/ 440193 h 4749526"/>
              <a:gd name="connsiteX11115" fmla="*/ 1645409 w 7402822"/>
              <a:gd name="connsiteY11115" fmla="*/ 440193 h 4749526"/>
              <a:gd name="connsiteX11116" fmla="*/ 1654516 w 7402822"/>
              <a:gd name="connsiteY11116" fmla="*/ 443229 h 4749526"/>
              <a:gd name="connsiteX11117" fmla="*/ 1657553 w 7402822"/>
              <a:gd name="connsiteY11117" fmla="*/ 449300 h 4749526"/>
              <a:gd name="connsiteX11118" fmla="*/ 1669695 w 7402822"/>
              <a:gd name="connsiteY11118" fmla="*/ 491802 h 4749526"/>
              <a:gd name="connsiteX11119" fmla="*/ 1672731 w 7402822"/>
              <a:gd name="connsiteY11119" fmla="*/ 510017 h 4749526"/>
              <a:gd name="connsiteX11120" fmla="*/ 1678803 w 7402822"/>
              <a:gd name="connsiteY11120" fmla="*/ 534303 h 4749526"/>
              <a:gd name="connsiteX11121" fmla="*/ 1681839 w 7402822"/>
              <a:gd name="connsiteY11121" fmla="*/ 534303 h 4749526"/>
              <a:gd name="connsiteX11122" fmla="*/ 1690946 w 7402822"/>
              <a:gd name="connsiteY11122" fmla="*/ 537339 h 4749526"/>
              <a:gd name="connsiteX11123" fmla="*/ 1703089 w 7402822"/>
              <a:gd name="connsiteY11123" fmla="*/ 546447 h 4749526"/>
              <a:gd name="connsiteX11124" fmla="*/ 1712196 w 7402822"/>
              <a:gd name="connsiteY11124" fmla="*/ 573769 h 4749526"/>
              <a:gd name="connsiteX11125" fmla="*/ 1712196 w 7402822"/>
              <a:gd name="connsiteY11125" fmla="*/ 579840 h 4749526"/>
              <a:gd name="connsiteX11126" fmla="*/ 1703089 w 7402822"/>
              <a:gd name="connsiteY11126" fmla="*/ 585912 h 4749526"/>
              <a:gd name="connsiteX11127" fmla="*/ 1690946 w 7402822"/>
              <a:gd name="connsiteY11127" fmla="*/ 595019 h 4749526"/>
              <a:gd name="connsiteX11128" fmla="*/ 1678803 w 7402822"/>
              <a:gd name="connsiteY11128" fmla="*/ 601091 h 4749526"/>
              <a:gd name="connsiteX11129" fmla="*/ 1666659 w 7402822"/>
              <a:gd name="connsiteY11129" fmla="*/ 625377 h 4749526"/>
              <a:gd name="connsiteX11130" fmla="*/ 1657553 w 7402822"/>
              <a:gd name="connsiteY11130" fmla="*/ 643593 h 4749526"/>
              <a:gd name="connsiteX11131" fmla="*/ 1651480 w 7402822"/>
              <a:gd name="connsiteY11131" fmla="*/ 649664 h 4749526"/>
              <a:gd name="connsiteX11132" fmla="*/ 1648445 w 7402822"/>
              <a:gd name="connsiteY11132" fmla="*/ 661807 h 4749526"/>
              <a:gd name="connsiteX11133" fmla="*/ 1639337 w 7402822"/>
              <a:gd name="connsiteY11133" fmla="*/ 673950 h 4749526"/>
              <a:gd name="connsiteX11134" fmla="*/ 1627194 w 7402822"/>
              <a:gd name="connsiteY11134" fmla="*/ 692166 h 4749526"/>
              <a:gd name="connsiteX11135" fmla="*/ 1615051 w 7402822"/>
              <a:gd name="connsiteY11135" fmla="*/ 680022 h 4749526"/>
              <a:gd name="connsiteX11136" fmla="*/ 1590765 w 7402822"/>
              <a:gd name="connsiteY11136" fmla="*/ 695201 h 4749526"/>
              <a:gd name="connsiteX11137" fmla="*/ 1566478 w 7402822"/>
              <a:gd name="connsiteY11137" fmla="*/ 689129 h 4749526"/>
              <a:gd name="connsiteX11138" fmla="*/ 1554335 w 7402822"/>
              <a:gd name="connsiteY11138" fmla="*/ 676987 h 4749526"/>
              <a:gd name="connsiteX11139" fmla="*/ 1548263 w 7402822"/>
              <a:gd name="connsiteY11139" fmla="*/ 664843 h 4749526"/>
              <a:gd name="connsiteX11140" fmla="*/ 1542191 w 7402822"/>
              <a:gd name="connsiteY11140" fmla="*/ 649664 h 4749526"/>
              <a:gd name="connsiteX11141" fmla="*/ 1539155 w 7402822"/>
              <a:gd name="connsiteY11141" fmla="*/ 646628 h 4749526"/>
              <a:gd name="connsiteX11142" fmla="*/ 1533084 w 7402822"/>
              <a:gd name="connsiteY11142" fmla="*/ 634485 h 4749526"/>
              <a:gd name="connsiteX11143" fmla="*/ 1523977 w 7402822"/>
              <a:gd name="connsiteY11143" fmla="*/ 619306 h 4749526"/>
              <a:gd name="connsiteX11144" fmla="*/ 1520941 w 7402822"/>
              <a:gd name="connsiteY11144" fmla="*/ 607163 h 4749526"/>
              <a:gd name="connsiteX11145" fmla="*/ 1539155 w 7402822"/>
              <a:gd name="connsiteY11145" fmla="*/ 588948 h 4749526"/>
              <a:gd name="connsiteX11146" fmla="*/ 1551298 w 7402822"/>
              <a:gd name="connsiteY11146" fmla="*/ 588948 h 4749526"/>
              <a:gd name="connsiteX11147" fmla="*/ 1548263 w 7402822"/>
              <a:gd name="connsiteY11147" fmla="*/ 564661 h 4749526"/>
              <a:gd name="connsiteX11148" fmla="*/ 1542191 w 7402822"/>
              <a:gd name="connsiteY11148" fmla="*/ 567697 h 4749526"/>
              <a:gd name="connsiteX11149" fmla="*/ 1514869 w 7402822"/>
              <a:gd name="connsiteY11149" fmla="*/ 576805 h 4749526"/>
              <a:gd name="connsiteX11150" fmla="*/ 1502726 w 7402822"/>
              <a:gd name="connsiteY11150" fmla="*/ 576805 h 4749526"/>
              <a:gd name="connsiteX11151" fmla="*/ 1493618 w 7402822"/>
              <a:gd name="connsiteY11151" fmla="*/ 567697 h 4749526"/>
              <a:gd name="connsiteX11152" fmla="*/ 1490583 w 7402822"/>
              <a:gd name="connsiteY11152" fmla="*/ 561626 h 4749526"/>
              <a:gd name="connsiteX11153" fmla="*/ 1487546 w 7402822"/>
              <a:gd name="connsiteY11153" fmla="*/ 543411 h 4749526"/>
              <a:gd name="connsiteX11154" fmla="*/ 1481476 w 7402822"/>
              <a:gd name="connsiteY11154" fmla="*/ 522160 h 4749526"/>
              <a:gd name="connsiteX11155" fmla="*/ 1472368 w 7402822"/>
              <a:gd name="connsiteY11155" fmla="*/ 491802 h 4749526"/>
              <a:gd name="connsiteX11156" fmla="*/ 1469332 w 7402822"/>
              <a:gd name="connsiteY11156" fmla="*/ 461444 h 4749526"/>
              <a:gd name="connsiteX11157" fmla="*/ 1472368 w 7402822"/>
              <a:gd name="connsiteY11157" fmla="*/ 443229 h 4749526"/>
              <a:gd name="connsiteX11158" fmla="*/ 1484511 w 7402822"/>
              <a:gd name="connsiteY11158" fmla="*/ 415907 h 4749526"/>
              <a:gd name="connsiteX11159" fmla="*/ 1499690 w 7402822"/>
              <a:gd name="connsiteY11159" fmla="*/ 376441 h 4749526"/>
              <a:gd name="connsiteX11160" fmla="*/ 1508797 w 7402822"/>
              <a:gd name="connsiteY11160" fmla="*/ 355190 h 4749526"/>
              <a:gd name="connsiteX11161" fmla="*/ 1520941 w 7402822"/>
              <a:gd name="connsiteY11161" fmla="*/ 318761 h 4749526"/>
              <a:gd name="connsiteX11162" fmla="*/ 4655415 w 7402822"/>
              <a:gd name="connsiteY11162" fmla="*/ 288402 h 4749526"/>
              <a:gd name="connsiteX11163" fmla="*/ 4673630 w 7402822"/>
              <a:gd name="connsiteY11163" fmla="*/ 312688 h 4749526"/>
              <a:gd name="connsiteX11164" fmla="*/ 4658451 w 7402822"/>
              <a:gd name="connsiteY11164" fmla="*/ 315725 h 4749526"/>
              <a:gd name="connsiteX11165" fmla="*/ 4637201 w 7402822"/>
              <a:gd name="connsiteY11165" fmla="*/ 306616 h 4749526"/>
              <a:gd name="connsiteX11166" fmla="*/ 4637201 w 7402822"/>
              <a:gd name="connsiteY11166" fmla="*/ 303581 h 4749526"/>
              <a:gd name="connsiteX11167" fmla="*/ 3069204 w 7402822"/>
              <a:gd name="connsiteY11167" fmla="*/ 261081 h 4749526"/>
              <a:gd name="connsiteX11168" fmla="*/ 3087419 w 7402822"/>
              <a:gd name="connsiteY11168" fmla="*/ 276259 h 4749526"/>
              <a:gd name="connsiteX11169" fmla="*/ 3081348 w 7402822"/>
              <a:gd name="connsiteY11169" fmla="*/ 279296 h 4749526"/>
              <a:gd name="connsiteX11170" fmla="*/ 3041883 w 7402822"/>
              <a:gd name="connsiteY11170" fmla="*/ 200364 h 4749526"/>
              <a:gd name="connsiteX11171" fmla="*/ 3050990 w 7402822"/>
              <a:gd name="connsiteY11171" fmla="*/ 215543 h 4749526"/>
              <a:gd name="connsiteX11172" fmla="*/ 3060097 w 7402822"/>
              <a:gd name="connsiteY11172" fmla="*/ 245901 h 4749526"/>
              <a:gd name="connsiteX11173" fmla="*/ 3047953 w 7402822"/>
              <a:gd name="connsiteY11173" fmla="*/ 242865 h 4749526"/>
              <a:gd name="connsiteX11174" fmla="*/ 3038846 w 7402822"/>
              <a:gd name="connsiteY11174" fmla="*/ 218578 h 4749526"/>
              <a:gd name="connsiteX11175" fmla="*/ 2377040 w 7402822"/>
              <a:gd name="connsiteY11175" fmla="*/ 179113 h 4749526"/>
              <a:gd name="connsiteX11176" fmla="*/ 2389184 w 7402822"/>
              <a:gd name="connsiteY11176" fmla="*/ 194292 h 4749526"/>
              <a:gd name="connsiteX11177" fmla="*/ 2410434 w 7402822"/>
              <a:gd name="connsiteY11177" fmla="*/ 227686 h 4749526"/>
              <a:gd name="connsiteX11178" fmla="*/ 2407398 w 7402822"/>
              <a:gd name="connsiteY11178" fmla="*/ 230722 h 4749526"/>
              <a:gd name="connsiteX11179" fmla="*/ 2386147 w 7402822"/>
              <a:gd name="connsiteY11179" fmla="*/ 224650 h 4749526"/>
              <a:gd name="connsiteX11180" fmla="*/ 2370968 w 7402822"/>
              <a:gd name="connsiteY11180" fmla="*/ 212506 h 4749526"/>
              <a:gd name="connsiteX11181" fmla="*/ 2364897 w 7402822"/>
              <a:gd name="connsiteY11181" fmla="*/ 188220 h 4749526"/>
              <a:gd name="connsiteX11182" fmla="*/ 2459007 w 7402822"/>
              <a:gd name="connsiteY11182" fmla="*/ 145719 h 4749526"/>
              <a:gd name="connsiteX11183" fmla="*/ 2468115 w 7402822"/>
              <a:gd name="connsiteY11183" fmla="*/ 145719 h 4749526"/>
              <a:gd name="connsiteX11184" fmla="*/ 2474186 w 7402822"/>
              <a:gd name="connsiteY11184" fmla="*/ 157862 h 4749526"/>
              <a:gd name="connsiteX11185" fmla="*/ 2468115 w 7402822"/>
              <a:gd name="connsiteY11185" fmla="*/ 166969 h 4749526"/>
              <a:gd name="connsiteX11186" fmla="*/ 2495436 w 7402822"/>
              <a:gd name="connsiteY11186" fmla="*/ 124468 h 4749526"/>
              <a:gd name="connsiteX11187" fmla="*/ 2519724 w 7402822"/>
              <a:gd name="connsiteY11187" fmla="*/ 136612 h 4749526"/>
              <a:gd name="connsiteX11188" fmla="*/ 2544010 w 7402822"/>
              <a:gd name="connsiteY11188" fmla="*/ 170006 h 4749526"/>
              <a:gd name="connsiteX11189" fmla="*/ 2540974 w 7402822"/>
              <a:gd name="connsiteY11189" fmla="*/ 185185 h 4749526"/>
              <a:gd name="connsiteX11190" fmla="*/ 2537938 w 7402822"/>
              <a:gd name="connsiteY11190" fmla="*/ 215543 h 4749526"/>
              <a:gd name="connsiteX11191" fmla="*/ 2528831 w 7402822"/>
              <a:gd name="connsiteY11191" fmla="*/ 218578 h 4749526"/>
              <a:gd name="connsiteX11192" fmla="*/ 2501508 w 7402822"/>
              <a:gd name="connsiteY11192" fmla="*/ 182148 h 4749526"/>
              <a:gd name="connsiteX11193" fmla="*/ 2489365 w 7402822"/>
              <a:gd name="connsiteY11193" fmla="*/ 163934 h 4749526"/>
              <a:gd name="connsiteX11194" fmla="*/ 2474186 w 7402822"/>
              <a:gd name="connsiteY11194" fmla="*/ 133576 h 4749526"/>
              <a:gd name="connsiteX11195" fmla="*/ 2486329 w 7402822"/>
              <a:gd name="connsiteY11195" fmla="*/ 127504 h 4749526"/>
              <a:gd name="connsiteX11196" fmla="*/ 2468115 w 7402822"/>
              <a:gd name="connsiteY11196" fmla="*/ 88038 h 4749526"/>
              <a:gd name="connsiteX11197" fmla="*/ 2474186 w 7402822"/>
              <a:gd name="connsiteY11197" fmla="*/ 88038 h 4749526"/>
              <a:gd name="connsiteX11198" fmla="*/ 2480257 w 7402822"/>
              <a:gd name="connsiteY11198" fmla="*/ 94110 h 4749526"/>
              <a:gd name="connsiteX11199" fmla="*/ 2486329 w 7402822"/>
              <a:gd name="connsiteY11199" fmla="*/ 103217 h 4749526"/>
              <a:gd name="connsiteX11200" fmla="*/ 2480257 w 7402822"/>
              <a:gd name="connsiteY11200" fmla="*/ 106254 h 4749526"/>
              <a:gd name="connsiteX11201" fmla="*/ 2468115 w 7402822"/>
              <a:gd name="connsiteY11201" fmla="*/ 106254 h 4749526"/>
              <a:gd name="connsiteX11202" fmla="*/ 2006670 w 7402822"/>
              <a:gd name="connsiteY11202" fmla="*/ 51609 h 4749526"/>
              <a:gd name="connsiteX11203" fmla="*/ 2015777 w 7402822"/>
              <a:gd name="connsiteY11203" fmla="*/ 51609 h 4749526"/>
              <a:gd name="connsiteX11204" fmla="*/ 2024884 w 7402822"/>
              <a:gd name="connsiteY11204" fmla="*/ 51609 h 4749526"/>
              <a:gd name="connsiteX11205" fmla="*/ 2027921 w 7402822"/>
              <a:gd name="connsiteY11205" fmla="*/ 51609 h 4749526"/>
              <a:gd name="connsiteX11206" fmla="*/ 2027921 w 7402822"/>
              <a:gd name="connsiteY11206" fmla="*/ 63753 h 4749526"/>
              <a:gd name="connsiteX11207" fmla="*/ 2030956 w 7402822"/>
              <a:gd name="connsiteY11207" fmla="*/ 69825 h 4749526"/>
              <a:gd name="connsiteX11208" fmla="*/ 2040064 w 7402822"/>
              <a:gd name="connsiteY11208" fmla="*/ 72860 h 4749526"/>
              <a:gd name="connsiteX11209" fmla="*/ 2052207 w 7402822"/>
              <a:gd name="connsiteY11209" fmla="*/ 69825 h 4749526"/>
              <a:gd name="connsiteX11210" fmla="*/ 2064350 w 7402822"/>
              <a:gd name="connsiteY11210" fmla="*/ 72860 h 4749526"/>
              <a:gd name="connsiteX11211" fmla="*/ 2076494 w 7402822"/>
              <a:gd name="connsiteY11211" fmla="*/ 75896 h 4749526"/>
              <a:gd name="connsiteX11212" fmla="*/ 2088636 w 7402822"/>
              <a:gd name="connsiteY11212" fmla="*/ 78932 h 4749526"/>
              <a:gd name="connsiteX11213" fmla="*/ 2097744 w 7402822"/>
              <a:gd name="connsiteY11213" fmla="*/ 81967 h 4749526"/>
              <a:gd name="connsiteX11214" fmla="*/ 2100780 w 7402822"/>
              <a:gd name="connsiteY11214" fmla="*/ 100182 h 4749526"/>
              <a:gd name="connsiteX11215" fmla="*/ 2112924 w 7402822"/>
              <a:gd name="connsiteY11215" fmla="*/ 94111 h 4749526"/>
              <a:gd name="connsiteX11216" fmla="*/ 2125066 w 7402822"/>
              <a:gd name="connsiteY11216" fmla="*/ 85004 h 4749526"/>
              <a:gd name="connsiteX11217" fmla="*/ 2155424 w 7402822"/>
              <a:gd name="connsiteY11217" fmla="*/ 100182 h 4749526"/>
              <a:gd name="connsiteX11218" fmla="*/ 2164532 w 7402822"/>
              <a:gd name="connsiteY11218" fmla="*/ 133576 h 4749526"/>
              <a:gd name="connsiteX11219" fmla="*/ 2176675 w 7402822"/>
              <a:gd name="connsiteY11219" fmla="*/ 148756 h 4749526"/>
              <a:gd name="connsiteX11220" fmla="*/ 2200962 w 7402822"/>
              <a:gd name="connsiteY11220" fmla="*/ 163935 h 4749526"/>
              <a:gd name="connsiteX11221" fmla="*/ 2200962 w 7402822"/>
              <a:gd name="connsiteY11221" fmla="*/ 197328 h 4749526"/>
              <a:gd name="connsiteX11222" fmla="*/ 2188818 w 7402822"/>
              <a:gd name="connsiteY11222" fmla="*/ 215543 h 4749526"/>
              <a:gd name="connsiteX11223" fmla="*/ 2164532 w 7402822"/>
              <a:gd name="connsiteY11223" fmla="*/ 242866 h 4749526"/>
              <a:gd name="connsiteX11224" fmla="*/ 2149353 w 7402822"/>
              <a:gd name="connsiteY11224" fmla="*/ 255009 h 4749526"/>
              <a:gd name="connsiteX11225" fmla="*/ 2137210 w 7402822"/>
              <a:gd name="connsiteY11225" fmla="*/ 297510 h 4749526"/>
              <a:gd name="connsiteX11226" fmla="*/ 2112924 w 7402822"/>
              <a:gd name="connsiteY11226" fmla="*/ 333940 h 4749526"/>
              <a:gd name="connsiteX11227" fmla="*/ 2103815 w 7402822"/>
              <a:gd name="connsiteY11227" fmla="*/ 340011 h 4749526"/>
              <a:gd name="connsiteX11228" fmla="*/ 2091673 w 7402822"/>
              <a:gd name="connsiteY11228" fmla="*/ 358227 h 4749526"/>
              <a:gd name="connsiteX11229" fmla="*/ 2064350 w 7402822"/>
              <a:gd name="connsiteY11229" fmla="*/ 391620 h 4749526"/>
              <a:gd name="connsiteX11230" fmla="*/ 2043100 w 7402822"/>
              <a:gd name="connsiteY11230" fmla="*/ 418943 h 4749526"/>
              <a:gd name="connsiteX11231" fmla="*/ 2033992 w 7402822"/>
              <a:gd name="connsiteY11231" fmla="*/ 446265 h 4749526"/>
              <a:gd name="connsiteX11232" fmla="*/ 2024884 w 7402822"/>
              <a:gd name="connsiteY11232" fmla="*/ 458408 h 4749526"/>
              <a:gd name="connsiteX11233" fmla="*/ 1997563 w 7402822"/>
              <a:gd name="connsiteY11233" fmla="*/ 519125 h 4749526"/>
              <a:gd name="connsiteX11234" fmla="*/ 1973276 w 7402822"/>
              <a:gd name="connsiteY11234" fmla="*/ 531267 h 4749526"/>
              <a:gd name="connsiteX11235" fmla="*/ 1961133 w 7402822"/>
              <a:gd name="connsiteY11235" fmla="*/ 528232 h 4749526"/>
              <a:gd name="connsiteX11236" fmla="*/ 1958097 w 7402822"/>
              <a:gd name="connsiteY11236" fmla="*/ 543411 h 4749526"/>
              <a:gd name="connsiteX11237" fmla="*/ 1955061 w 7402822"/>
              <a:gd name="connsiteY11237" fmla="*/ 549482 h 4749526"/>
              <a:gd name="connsiteX11238" fmla="*/ 1939882 w 7402822"/>
              <a:gd name="connsiteY11238" fmla="*/ 558590 h 4749526"/>
              <a:gd name="connsiteX11239" fmla="*/ 1933811 w 7402822"/>
              <a:gd name="connsiteY11239" fmla="*/ 558590 h 4749526"/>
              <a:gd name="connsiteX11240" fmla="*/ 1930774 w 7402822"/>
              <a:gd name="connsiteY11240" fmla="*/ 585912 h 4749526"/>
              <a:gd name="connsiteX11241" fmla="*/ 1924703 w 7402822"/>
              <a:gd name="connsiteY11241" fmla="*/ 637521 h 4749526"/>
              <a:gd name="connsiteX11242" fmla="*/ 1918632 w 7402822"/>
              <a:gd name="connsiteY11242" fmla="*/ 680022 h 4749526"/>
              <a:gd name="connsiteX11243" fmla="*/ 1906488 w 7402822"/>
              <a:gd name="connsiteY11243" fmla="*/ 701273 h 4749526"/>
              <a:gd name="connsiteX11244" fmla="*/ 1897381 w 7402822"/>
              <a:gd name="connsiteY11244" fmla="*/ 713416 h 4749526"/>
              <a:gd name="connsiteX11245" fmla="*/ 1870058 w 7402822"/>
              <a:gd name="connsiteY11245" fmla="*/ 716452 h 4749526"/>
              <a:gd name="connsiteX11246" fmla="*/ 1857915 w 7402822"/>
              <a:gd name="connsiteY11246" fmla="*/ 713416 h 4749526"/>
              <a:gd name="connsiteX11247" fmla="*/ 1848808 w 7402822"/>
              <a:gd name="connsiteY11247" fmla="*/ 719487 h 4749526"/>
              <a:gd name="connsiteX11248" fmla="*/ 1854879 w 7402822"/>
              <a:gd name="connsiteY11248" fmla="*/ 728595 h 4749526"/>
              <a:gd name="connsiteX11249" fmla="*/ 1860951 w 7402822"/>
              <a:gd name="connsiteY11249" fmla="*/ 749846 h 4749526"/>
              <a:gd name="connsiteX11250" fmla="*/ 1848808 w 7402822"/>
              <a:gd name="connsiteY11250" fmla="*/ 771096 h 4749526"/>
              <a:gd name="connsiteX11251" fmla="*/ 1842736 w 7402822"/>
              <a:gd name="connsiteY11251" fmla="*/ 777168 h 4749526"/>
              <a:gd name="connsiteX11252" fmla="*/ 1833629 w 7402822"/>
              <a:gd name="connsiteY11252" fmla="*/ 789311 h 4749526"/>
              <a:gd name="connsiteX11253" fmla="*/ 1830593 w 7402822"/>
              <a:gd name="connsiteY11253" fmla="*/ 807527 h 4749526"/>
              <a:gd name="connsiteX11254" fmla="*/ 1836665 w 7402822"/>
              <a:gd name="connsiteY11254" fmla="*/ 819669 h 4749526"/>
              <a:gd name="connsiteX11255" fmla="*/ 1842736 w 7402822"/>
              <a:gd name="connsiteY11255" fmla="*/ 816634 h 4749526"/>
              <a:gd name="connsiteX11256" fmla="*/ 1860951 w 7402822"/>
              <a:gd name="connsiteY11256" fmla="*/ 822705 h 4749526"/>
              <a:gd name="connsiteX11257" fmla="*/ 1860951 w 7402822"/>
              <a:gd name="connsiteY11257" fmla="*/ 837884 h 4749526"/>
              <a:gd name="connsiteX11258" fmla="*/ 1851844 w 7402822"/>
              <a:gd name="connsiteY11258" fmla="*/ 850027 h 4749526"/>
              <a:gd name="connsiteX11259" fmla="*/ 1839700 w 7402822"/>
              <a:gd name="connsiteY11259" fmla="*/ 859135 h 4749526"/>
              <a:gd name="connsiteX11260" fmla="*/ 1827557 w 7402822"/>
              <a:gd name="connsiteY11260" fmla="*/ 868242 h 4749526"/>
              <a:gd name="connsiteX11261" fmla="*/ 1818450 w 7402822"/>
              <a:gd name="connsiteY11261" fmla="*/ 871278 h 4749526"/>
              <a:gd name="connsiteX11262" fmla="*/ 1803271 w 7402822"/>
              <a:gd name="connsiteY11262" fmla="*/ 880386 h 4749526"/>
              <a:gd name="connsiteX11263" fmla="*/ 1800234 w 7402822"/>
              <a:gd name="connsiteY11263" fmla="*/ 880386 h 4749526"/>
              <a:gd name="connsiteX11264" fmla="*/ 1794164 w 7402822"/>
              <a:gd name="connsiteY11264" fmla="*/ 883421 h 4749526"/>
              <a:gd name="connsiteX11265" fmla="*/ 1800234 w 7402822"/>
              <a:gd name="connsiteY11265" fmla="*/ 859135 h 4749526"/>
              <a:gd name="connsiteX11266" fmla="*/ 1791127 w 7402822"/>
              <a:gd name="connsiteY11266" fmla="*/ 850027 h 4749526"/>
              <a:gd name="connsiteX11267" fmla="*/ 1782020 w 7402822"/>
              <a:gd name="connsiteY11267" fmla="*/ 853063 h 4749526"/>
              <a:gd name="connsiteX11268" fmla="*/ 1775948 w 7402822"/>
              <a:gd name="connsiteY11268" fmla="*/ 853063 h 4749526"/>
              <a:gd name="connsiteX11269" fmla="*/ 1772913 w 7402822"/>
              <a:gd name="connsiteY11269" fmla="*/ 856099 h 4749526"/>
              <a:gd name="connsiteX11270" fmla="*/ 1760769 w 7402822"/>
              <a:gd name="connsiteY11270" fmla="*/ 859135 h 4749526"/>
              <a:gd name="connsiteX11271" fmla="*/ 1745590 w 7402822"/>
              <a:gd name="connsiteY11271" fmla="*/ 859135 h 4749526"/>
              <a:gd name="connsiteX11272" fmla="*/ 1736483 w 7402822"/>
              <a:gd name="connsiteY11272" fmla="*/ 850027 h 4749526"/>
              <a:gd name="connsiteX11273" fmla="*/ 1721304 w 7402822"/>
              <a:gd name="connsiteY11273" fmla="*/ 856099 h 4749526"/>
              <a:gd name="connsiteX11274" fmla="*/ 1724340 w 7402822"/>
              <a:gd name="connsiteY11274" fmla="*/ 865206 h 4749526"/>
              <a:gd name="connsiteX11275" fmla="*/ 1712196 w 7402822"/>
              <a:gd name="connsiteY11275" fmla="*/ 868242 h 4749526"/>
              <a:gd name="connsiteX11276" fmla="*/ 1700054 w 7402822"/>
              <a:gd name="connsiteY11276" fmla="*/ 865206 h 4749526"/>
              <a:gd name="connsiteX11277" fmla="*/ 1687910 w 7402822"/>
              <a:gd name="connsiteY11277" fmla="*/ 862171 h 4749526"/>
              <a:gd name="connsiteX11278" fmla="*/ 1675767 w 7402822"/>
              <a:gd name="connsiteY11278" fmla="*/ 865206 h 4749526"/>
              <a:gd name="connsiteX11279" fmla="*/ 1648445 w 7402822"/>
              <a:gd name="connsiteY11279" fmla="*/ 862171 h 4749526"/>
              <a:gd name="connsiteX11280" fmla="*/ 1621122 w 7402822"/>
              <a:gd name="connsiteY11280" fmla="*/ 850027 h 4749526"/>
              <a:gd name="connsiteX11281" fmla="*/ 1618086 w 7402822"/>
              <a:gd name="connsiteY11281" fmla="*/ 834848 h 4749526"/>
              <a:gd name="connsiteX11282" fmla="*/ 1621122 w 7402822"/>
              <a:gd name="connsiteY11282" fmla="*/ 816634 h 4749526"/>
              <a:gd name="connsiteX11283" fmla="*/ 1636301 w 7402822"/>
              <a:gd name="connsiteY11283" fmla="*/ 798418 h 4749526"/>
              <a:gd name="connsiteX11284" fmla="*/ 1660588 w 7402822"/>
              <a:gd name="connsiteY11284" fmla="*/ 792347 h 4749526"/>
              <a:gd name="connsiteX11285" fmla="*/ 1651480 w 7402822"/>
              <a:gd name="connsiteY11285" fmla="*/ 758953 h 4749526"/>
              <a:gd name="connsiteX11286" fmla="*/ 1648445 w 7402822"/>
              <a:gd name="connsiteY11286" fmla="*/ 728595 h 4749526"/>
              <a:gd name="connsiteX11287" fmla="*/ 1672731 w 7402822"/>
              <a:gd name="connsiteY11287" fmla="*/ 722524 h 4749526"/>
              <a:gd name="connsiteX11288" fmla="*/ 1684875 w 7402822"/>
              <a:gd name="connsiteY11288" fmla="*/ 728595 h 4749526"/>
              <a:gd name="connsiteX11289" fmla="*/ 1697017 w 7402822"/>
              <a:gd name="connsiteY11289" fmla="*/ 761989 h 4749526"/>
              <a:gd name="connsiteX11290" fmla="*/ 1706124 w 7402822"/>
              <a:gd name="connsiteY11290" fmla="*/ 771096 h 4749526"/>
              <a:gd name="connsiteX11291" fmla="*/ 1721304 w 7402822"/>
              <a:gd name="connsiteY11291" fmla="*/ 774132 h 4749526"/>
              <a:gd name="connsiteX11292" fmla="*/ 1721304 w 7402822"/>
              <a:gd name="connsiteY11292" fmla="*/ 768060 h 4749526"/>
              <a:gd name="connsiteX11293" fmla="*/ 1721304 w 7402822"/>
              <a:gd name="connsiteY11293" fmla="*/ 761989 h 4749526"/>
              <a:gd name="connsiteX11294" fmla="*/ 1712196 w 7402822"/>
              <a:gd name="connsiteY11294" fmla="*/ 749846 h 4749526"/>
              <a:gd name="connsiteX11295" fmla="*/ 1706124 w 7402822"/>
              <a:gd name="connsiteY11295" fmla="*/ 743774 h 4749526"/>
              <a:gd name="connsiteX11296" fmla="*/ 1703089 w 7402822"/>
              <a:gd name="connsiteY11296" fmla="*/ 719487 h 4749526"/>
              <a:gd name="connsiteX11297" fmla="*/ 1690946 w 7402822"/>
              <a:gd name="connsiteY11297" fmla="*/ 704308 h 4749526"/>
              <a:gd name="connsiteX11298" fmla="*/ 1681839 w 7402822"/>
              <a:gd name="connsiteY11298" fmla="*/ 701273 h 4749526"/>
              <a:gd name="connsiteX11299" fmla="*/ 1663624 w 7402822"/>
              <a:gd name="connsiteY11299" fmla="*/ 698236 h 4749526"/>
              <a:gd name="connsiteX11300" fmla="*/ 1660588 w 7402822"/>
              <a:gd name="connsiteY11300" fmla="*/ 698236 h 4749526"/>
              <a:gd name="connsiteX11301" fmla="*/ 1660588 w 7402822"/>
              <a:gd name="connsiteY11301" fmla="*/ 667879 h 4749526"/>
              <a:gd name="connsiteX11302" fmla="*/ 1669695 w 7402822"/>
              <a:gd name="connsiteY11302" fmla="*/ 646628 h 4749526"/>
              <a:gd name="connsiteX11303" fmla="*/ 1678803 w 7402822"/>
              <a:gd name="connsiteY11303" fmla="*/ 628414 h 4749526"/>
              <a:gd name="connsiteX11304" fmla="*/ 1706124 w 7402822"/>
              <a:gd name="connsiteY11304" fmla="*/ 619306 h 4749526"/>
              <a:gd name="connsiteX11305" fmla="*/ 1712196 w 7402822"/>
              <a:gd name="connsiteY11305" fmla="*/ 616270 h 4749526"/>
              <a:gd name="connsiteX11306" fmla="*/ 1718268 w 7402822"/>
              <a:gd name="connsiteY11306" fmla="*/ 598056 h 4749526"/>
              <a:gd name="connsiteX11307" fmla="*/ 1727375 w 7402822"/>
              <a:gd name="connsiteY11307" fmla="*/ 585912 h 4749526"/>
              <a:gd name="connsiteX11308" fmla="*/ 1706124 w 7402822"/>
              <a:gd name="connsiteY11308" fmla="*/ 528232 h 4749526"/>
              <a:gd name="connsiteX11309" fmla="*/ 1693982 w 7402822"/>
              <a:gd name="connsiteY11309" fmla="*/ 528232 h 4749526"/>
              <a:gd name="connsiteX11310" fmla="*/ 1684875 w 7402822"/>
              <a:gd name="connsiteY11310" fmla="*/ 525196 h 4749526"/>
              <a:gd name="connsiteX11311" fmla="*/ 1681839 w 7402822"/>
              <a:gd name="connsiteY11311" fmla="*/ 519125 h 4749526"/>
              <a:gd name="connsiteX11312" fmla="*/ 1678803 w 7402822"/>
              <a:gd name="connsiteY11312" fmla="*/ 488767 h 4749526"/>
              <a:gd name="connsiteX11313" fmla="*/ 1678803 w 7402822"/>
              <a:gd name="connsiteY11313" fmla="*/ 467516 h 4749526"/>
              <a:gd name="connsiteX11314" fmla="*/ 1681839 w 7402822"/>
              <a:gd name="connsiteY11314" fmla="*/ 455372 h 4749526"/>
              <a:gd name="connsiteX11315" fmla="*/ 1687910 w 7402822"/>
              <a:gd name="connsiteY11315" fmla="*/ 452337 h 4749526"/>
              <a:gd name="connsiteX11316" fmla="*/ 1718268 w 7402822"/>
              <a:gd name="connsiteY11316" fmla="*/ 458408 h 4749526"/>
              <a:gd name="connsiteX11317" fmla="*/ 1736483 w 7402822"/>
              <a:gd name="connsiteY11317" fmla="*/ 464480 h 4749526"/>
              <a:gd name="connsiteX11318" fmla="*/ 1748626 w 7402822"/>
              <a:gd name="connsiteY11318" fmla="*/ 455372 h 4749526"/>
              <a:gd name="connsiteX11319" fmla="*/ 1751662 w 7402822"/>
              <a:gd name="connsiteY11319" fmla="*/ 418943 h 4749526"/>
              <a:gd name="connsiteX11320" fmla="*/ 1739519 w 7402822"/>
              <a:gd name="connsiteY11320" fmla="*/ 415907 h 4749526"/>
              <a:gd name="connsiteX11321" fmla="*/ 1736483 w 7402822"/>
              <a:gd name="connsiteY11321" fmla="*/ 421978 h 4749526"/>
              <a:gd name="connsiteX11322" fmla="*/ 1733447 w 7402822"/>
              <a:gd name="connsiteY11322" fmla="*/ 428050 h 4749526"/>
              <a:gd name="connsiteX11323" fmla="*/ 1712196 w 7402822"/>
              <a:gd name="connsiteY11323" fmla="*/ 431086 h 4749526"/>
              <a:gd name="connsiteX11324" fmla="*/ 1693982 w 7402822"/>
              <a:gd name="connsiteY11324" fmla="*/ 428050 h 4749526"/>
              <a:gd name="connsiteX11325" fmla="*/ 1684875 w 7402822"/>
              <a:gd name="connsiteY11325" fmla="*/ 425014 h 4749526"/>
              <a:gd name="connsiteX11326" fmla="*/ 1675767 w 7402822"/>
              <a:gd name="connsiteY11326" fmla="*/ 418943 h 4749526"/>
              <a:gd name="connsiteX11327" fmla="*/ 1639337 w 7402822"/>
              <a:gd name="connsiteY11327" fmla="*/ 400727 h 4749526"/>
              <a:gd name="connsiteX11328" fmla="*/ 1618086 w 7402822"/>
              <a:gd name="connsiteY11328" fmla="*/ 373406 h 4749526"/>
              <a:gd name="connsiteX11329" fmla="*/ 1602907 w 7402822"/>
              <a:gd name="connsiteY11329" fmla="*/ 346083 h 4749526"/>
              <a:gd name="connsiteX11330" fmla="*/ 1602907 w 7402822"/>
              <a:gd name="connsiteY11330" fmla="*/ 343047 h 4749526"/>
              <a:gd name="connsiteX11331" fmla="*/ 1599872 w 7402822"/>
              <a:gd name="connsiteY11331" fmla="*/ 318761 h 4749526"/>
              <a:gd name="connsiteX11332" fmla="*/ 1593800 w 7402822"/>
              <a:gd name="connsiteY11332" fmla="*/ 300546 h 4749526"/>
              <a:gd name="connsiteX11333" fmla="*/ 1587728 w 7402822"/>
              <a:gd name="connsiteY11333" fmla="*/ 285367 h 4749526"/>
              <a:gd name="connsiteX11334" fmla="*/ 1578621 w 7402822"/>
              <a:gd name="connsiteY11334" fmla="*/ 294475 h 4749526"/>
              <a:gd name="connsiteX11335" fmla="*/ 1569514 w 7402822"/>
              <a:gd name="connsiteY11335" fmla="*/ 282331 h 4749526"/>
              <a:gd name="connsiteX11336" fmla="*/ 1578621 w 7402822"/>
              <a:gd name="connsiteY11336" fmla="*/ 261080 h 4749526"/>
              <a:gd name="connsiteX11337" fmla="*/ 1633265 w 7402822"/>
              <a:gd name="connsiteY11337" fmla="*/ 224651 h 4749526"/>
              <a:gd name="connsiteX11338" fmla="*/ 1672731 w 7402822"/>
              <a:gd name="connsiteY11338" fmla="*/ 197328 h 4749526"/>
              <a:gd name="connsiteX11339" fmla="*/ 1706124 w 7402822"/>
              <a:gd name="connsiteY11339" fmla="*/ 185186 h 4749526"/>
              <a:gd name="connsiteX11340" fmla="*/ 1700054 w 7402822"/>
              <a:gd name="connsiteY11340" fmla="*/ 166970 h 4749526"/>
              <a:gd name="connsiteX11341" fmla="*/ 1693982 w 7402822"/>
              <a:gd name="connsiteY11341" fmla="*/ 163935 h 4749526"/>
              <a:gd name="connsiteX11342" fmla="*/ 1706124 w 7402822"/>
              <a:gd name="connsiteY11342" fmla="*/ 154827 h 4749526"/>
              <a:gd name="connsiteX11343" fmla="*/ 1718268 w 7402822"/>
              <a:gd name="connsiteY11343" fmla="*/ 154827 h 4749526"/>
              <a:gd name="connsiteX11344" fmla="*/ 1742555 w 7402822"/>
              <a:gd name="connsiteY11344" fmla="*/ 179114 h 4749526"/>
              <a:gd name="connsiteX11345" fmla="*/ 1751662 w 7402822"/>
              <a:gd name="connsiteY11345" fmla="*/ 185186 h 4749526"/>
              <a:gd name="connsiteX11346" fmla="*/ 1757734 w 7402822"/>
              <a:gd name="connsiteY11346" fmla="*/ 176077 h 4749526"/>
              <a:gd name="connsiteX11347" fmla="*/ 1769877 w 7402822"/>
              <a:gd name="connsiteY11347" fmla="*/ 127505 h 4749526"/>
              <a:gd name="connsiteX11348" fmla="*/ 1782020 w 7402822"/>
              <a:gd name="connsiteY11348" fmla="*/ 103218 h 4749526"/>
              <a:gd name="connsiteX11349" fmla="*/ 1794164 w 7402822"/>
              <a:gd name="connsiteY11349" fmla="*/ 97146 h 4749526"/>
              <a:gd name="connsiteX11350" fmla="*/ 1818450 w 7402822"/>
              <a:gd name="connsiteY11350" fmla="*/ 75896 h 4749526"/>
              <a:gd name="connsiteX11351" fmla="*/ 1845772 w 7402822"/>
              <a:gd name="connsiteY11351" fmla="*/ 78932 h 4749526"/>
              <a:gd name="connsiteX11352" fmla="*/ 1860951 w 7402822"/>
              <a:gd name="connsiteY11352" fmla="*/ 81967 h 4749526"/>
              <a:gd name="connsiteX11353" fmla="*/ 1873095 w 7402822"/>
              <a:gd name="connsiteY11353" fmla="*/ 69825 h 4749526"/>
              <a:gd name="connsiteX11354" fmla="*/ 1885237 w 7402822"/>
              <a:gd name="connsiteY11354" fmla="*/ 66788 h 4749526"/>
              <a:gd name="connsiteX11355" fmla="*/ 1900416 w 7402822"/>
              <a:gd name="connsiteY11355" fmla="*/ 66788 h 4749526"/>
              <a:gd name="connsiteX11356" fmla="*/ 1924703 w 7402822"/>
              <a:gd name="connsiteY11356" fmla="*/ 63753 h 4749526"/>
              <a:gd name="connsiteX11357" fmla="*/ 1930774 w 7402822"/>
              <a:gd name="connsiteY11357" fmla="*/ 66788 h 4749526"/>
              <a:gd name="connsiteX11358" fmla="*/ 1936846 w 7402822"/>
              <a:gd name="connsiteY11358" fmla="*/ 72860 h 4749526"/>
              <a:gd name="connsiteX11359" fmla="*/ 1952025 w 7402822"/>
              <a:gd name="connsiteY11359" fmla="*/ 63753 h 4749526"/>
              <a:gd name="connsiteX11360" fmla="*/ 2610797 w 7402822"/>
              <a:gd name="connsiteY11360" fmla="*/ 33394 h 4749526"/>
              <a:gd name="connsiteX11361" fmla="*/ 2625976 w 7402822"/>
              <a:gd name="connsiteY11361" fmla="*/ 36430 h 4749526"/>
              <a:gd name="connsiteX11362" fmla="*/ 2638120 w 7402822"/>
              <a:gd name="connsiteY11362" fmla="*/ 51609 h 4749526"/>
              <a:gd name="connsiteX11363" fmla="*/ 2644192 w 7402822"/>
              <a:gd name="connsiteY11363" fmla="*/ 63752 h 4749526"/>
              <a:gd name="connsiteX11364" fmla="*/ 2635084 w 7402822"/>
              <a:gd name="connsiteY11364" fmla="*/ 63752 h 4749526"/>
              <a:gd name="connsiteX11365" fmla="*/ 2629013 w 7402822"/>
              <a:gd name="connsiteY11365" fmla="*/ 18215 h 4749526"/>
              <a:gd name="connsiteX11366" fmla="*/ 2641155 w 7402822"/>
              <a:gd name="connsiteY11366" fmla="*/ 18215 h 4749526"/>
              <a:gd name="connsiteX11367" fmla="*/ 2656334 w 7402822"/>
              <a:gd name="connsiteY11367" fmla="*/ 30358 h 4749526"/>
              <a:gd name="connsiteX11368" fmla="*/ 2647227 w 7402822"/>
              <a:gd name="connsiteY11368" fmla="*/ 42502 h 4749526"/>
              <a:gd name="connsiteX11369" fmla="*/ 2650263 w 7402822"/>
              <a:gd name="connsiteY11369" fmla="*/ 9107 h 4749526"/>
              <a:gd name="connsiteX11370" fmla="*/ 2662406 w 7402822"/>
              <a:gd name="connsiteY11370" fmla="*/ 18215 h 4749526"/>
              <a:gd name="connsiteX11371" fmla="*/ 2647227 w 7402822"/>
              <a:gd name="connsiteY11371" fmla="*/ 12144 h 4749526"/>
              <a:gd name="connsiteX11372" fmla="*/ 2665442 w 7402822"/>
              <a:gd name="connsiteY11372" fmla="*/ 0 h 4749526"/>
              <a:gd name="connsiteX11373" fmla="*/ 2917414 w 7402822"/>
              <a:gd name="connsiteY11373" fmla="*/ 0 h 4749526"/>
              <a:gd name="connsiteX11374" fmla="*/ 2941701 w 7402822"/>
              <a:gd name="connsiteY11374" fmla="*/ 33394 h 4749526"/>
              <a:gd name="connsiteX11375" fmla="*/ 2944736 w 7402822"/>
              <a:gd name="connsiteY11375" fmla="*/ 42502 h 4749526"/>
              <a:gd name="connsiteX11376" fmla="*/ 2950808 w 7402822"/>
              <a:gd name="connsiteY11376" fmla="*/ 45537 h 4749526"/>
              <a:gd name="connsiteX11377" fmla="*/ 2959915 w 7402822"/>
              <a:gd name="connsiteY11377" fmla="*/ 85003 h 4749526"/>
              <a:gd name="connsiteX11378" fmla="*/ 2987238 w 7402822"/>
              <a:gd name="connsiteY11378" fmla="*/ 97146 h 4749526"/>
              <a:gd name="connsiteX11379" fmla="*/ 2993309 w 7402822"/>
              <a:gd name="connsiteY11379" fmla="*/ 109289 h 4749526"/>
              <a:gd name="connsiteX11380" fmla="*/ 3002417 w 7402822"/>
              <a:gd name="connsiteY11380" fmla="*/ 106254 h 4749526"/>
              <a:gd name="connsiteX11381" fmla="*/ 3026704 w 7402822"/>
              <a:gd name="connsiteY11381" fmla="*/ 133576 h 4749526"/>
              <a:gd name="connsiteX11382" fmla="*/ 3023667 w 7402822"/>
              <a:gd name="connsiteY11382" fmla="*/ 142683 h 4749526"/>
              <a:gd name="connsiteX11383" fmla="*/ 3020632 w 7402822"/>
              <a:gd name="connsiteY11383" fmla="*/ 166969 h 4749526"/>
              <a:gd name="connsiteX11384" fmla="*/ 3011524 w 7402822"/>
              <a:gd name="connsiteY11384" fmla="*/ 227686 h 4749526"/>
              <a:gd name="connsiteX11385" fmla="*/ 3011524 w 7402822"/>
              <a:gd name="connsiteY11385" fmla="*/ 251973 h 4749526"/>
              <a:gd name="connsiteX11386" fmla="*/ 3014560 w 7402822"/>
              <a:gd name="connsiteY11386" fmla="*/ 279295 h 4749526"/>
              <a:gd name="connsiteX11387" fmla="*/ 3023667 w 7402822"/>
              <a:gd name="connsiteY11387" fmla="*/ 309653 h 4749526"/>
              <a:gd name="connsiteX11388" fmla="*/ 3026704 w 7402822"/>
              <a:gd name="connsiteY11388" fmla="*/ 306616 h 4749526"/>
              <a:gd name="connsiteX11389" fmla="*/ 3041883 w 7402822"/>
              <a:gd name="connsiteY11389" fmla="*/ 285367 h 4749526"/>
              <a:gd name="connsiteX11390" fmla="*/ 3047953 w 7402822"/>
              <a:gd name="connsiteY11390" fmla="*/ 306616 h 4749526"/>
              <a:gd name="connsiteX11391" fmla="*/ 3050990 w 7402822"/>
              <a:gd name="connsiteY11391" fmla="*/ 309653 h 4749526"/>
              <a:gd name="connsiteX11392" fmla="*/ 3063133 w 7402822"/>
              <a:gd name="connsiteY11392" fmla="*/ 291437 h 4749526"/>
              <a:gd name="connsiteX11393" fmla="*/ 3075276 w 7402822"/>
              <a:gd name="connsiteY11393" fmla="*/ 294474 h 4749526"/>
              <a:gd name="connsiteX11394" fmla="*/ 3087419 w 7402822"/>
              <a:gd name="connsiteY11394" fmla="*/ 306616 h 4749526"/>
              <a:gd name="connsiteX11395" fmla="*/ 3090455 w 7402822"/>
              <a:gd name="connsiteY11395" fmla="*/ 306616 h 4749526"/>
              <a:gd name="connsiteX11396" fmla="*/ 3096527 w 7402822"/>
              <a:gd name="connsiteY11396" fmla="*/ 276259 h 4749526"/>
              <a:gd name="connsiteX11397" fmla="*/ 3120814 w 7402822"/>
              <a:gd name="connsiteY11397" fmla="*/ 242865 h 4749526"/>
              <a:gd name="connsiteX11398" fmla="*/ 3148135 w 7402822"/>
              <a:gd name="connsiteY11398" fmla="*/ 239829 h 4749526"/>
              <a:gd name="connsiteX11399" fmla="*/ 3199744 w 7402822"/>
              <a:gd name="connsiteY11399" fmla="*/ 264116 h 4749526"/>
              <a:gd name="connsiteX11400" fmla="*/ 3214924 w 7402822"/>
              <a:gd name="connsiteY11400" fmla="*/ 285367 h 4749526"/>
              <a:gd name="connsiteX11401" fmla="*/ 3193673 w 7402822"/>
              <a:gd name="connsiteY11401" fmla="*/ 315725 h 4749526"/>
              <a:gd name="connsiteX11402" fmla="*/ 3169386 w 7402822"/>
              <a:gd name="connsiteY11402" fmla="*/ 352154 h 4749526"/>
              <a:gd name="connsiteX11403" fmla="*/ 3160279 w 7402822"/>
              <a:gd name="connsiteY11403" fmla="*/ 358226 h 4749526"/>
              <a:gd name="connsiteX11404" fmla="*/ 3142063 w 7402822"/>
              <a:gd name="connsiteY11404" fmla="*/ 391619 h 4749526"/>
              <a:gd name="connsiteX11405" fmla="*/ 3132956 w 7402822"/>
              <a:gd name="connsiteY11405" fmla="*/ 412870 h 4749526"/>
              <a:gd name="connsiteX11406" fmla="*/ 3120814 w 7402822"/>
              <a:gd name="connsiteY11406" fmla="*/ 455372 h 4749526"/>
              <a:gd name="connsiteX11407" fmla="*/ 3108670 w 7402822"/>
              <a:gd name="connsiteY11407" fmla="*/ 464479 h 4749526"/>
              <a:gd name="connsiteX11408" fmla="*/ 3105634 w 7402822"/>
              <a:gd name="connsiteY11408" fmla="*/ 482694 h 4749526"/>
              <a:gd name="connsiteX11409" fmla="*/ 3096527 w 7402822"/>
              <a:gd name="connsiteY11409" fmla="*/ 510017 h 4749526"/>
              <a:gd name="connsiteX11410" fmla="*/ 3075276 w 7402822"/>
              <a:gd name="connsiteY11410" fmla="*/ 519124 h 4749526"/>
              <a:gd name="connsiteX11411" fmla="*/ 3063133 w 7402822"/>
              <a:gd name="connsiteY11411" fmla="*/ 525196 h 4749526"/>
              <a:gd name="connsiteX11412" fmla="*/ 3060097 w 7402822"/>
              <a:gd name="connsiteY11412" fmla="*/ 546446 h 4749526"/>
              <a:gd name="connsiteX11413" fmla="*/ 3057062 w 7402822"/>
              <a:gd name="connsiteY11413" fmla="*/ 576804 h 4749526"/>
              <a:gd name="connsiteX11414" fmla="*/ 3054025 w 7402822"/>
              <a:gd name="connsiteY11414" fmla="*/ 610198 h 4749526"/>
              <a:gd name="connsiteX11415" fmla="*/ 3047953 w 7402822"/>
              <a:gd name="connsiteY11415" fmla="*/ 613234 h 4749526"/>
              <a:gd name="connsiteX11416" fmla="*/ 3038846 w 7402822"/>
              <a:gd name="connsiteY11416" fmla="*/ 625377 h 4749526"/>
              <a:gd name="connsiteX11417" fmla="*/ 3026704 w 7402822"/>
              <a:gd name="connsiteY11417" fmla="*/ 686093 h 4749526"/>
              <a:gd name="connsiteX11418" fmla="*/ 3011524 w 7402822"/>
              <a:gd name="connsiteY11418" fmla="*/ 740737 h 4749526"/>
              <a:gd name="connsiteX11419" fmla="*/ 3020632 w 7402822"/>
              <a:gd name="connsiteY11419" fmla="*/ 740737 h 4749526"/>
              <a:gd name="connsiteX11420" fmla="*/ 3035811 w 7402822"/>
              <a:gd name="connsiteY11420" fmla="*/ 749845 h 4749526"/>
              <a:gd name="connsiteX11421" fmla="*/ 3063133 w 7402822"/>
              <a:gd name="connsiteY11421" fmla="*/ 771095 h 4749526"/>
              <a:gd name="connsiteX11422" fmla="*/ 3087419 w 7402822"/>
              <a:gd name="connsiteY11422" fmla="*/ 774132 h 4749526"/>
              <a:gd name="connsiteX11423" fmla="*/ 3090455 w 7402822"/>
              <a:gd name="connsiteY11423" fmla="*/ 789311 h 4749526"/>
              <a:gd name="connsiteX11424" fmla="*/ 3090455 w 7402822"/>
              <a:gd name="connsiteY11424" fmla="*/ 816633 h 4749526"/>
              <a:gd name="connsiteX11425" fmla="*/ 3078312 w 7402822"/>
              <a:gd name="connsiteY11425" fmla="*/ 819668 h 4749526"/>
              <a:gd name="connsiteX11426" fmla="*/ 3054025 w 7402822"/>
              <a:gd name="connsiteY11426" fmla="*/ 807526 h 4749526"/>
              <a:gd name="connsiteX11427" fmla="*/ 3029739 w 7402822"/>
              <a:gd name="connsiteY11427" fmla="*/ 807526 h 4749526"/>
              <a:gd name="connsiteX11428" fmla="*/ 3011524 w 7402822"/>
              <a:gd name="connsiteY11428" fmla="*/ 816633 h 4749526"/>
              <a:gd name="connsiteX11429" fmla="*/ 3002417 w 7402822"/>
              <a:gd name="connsiteY11429" fmla="*/ 822705 h 4749526"/>
              <a:gd name="connsiteX11430" fmla="*/ 2996345 w 7402822"/>
              <a:gd name="connsiteY11430" fmla="*/ 831812 h 4749526"/>
              <a:gd name="connsiteX11431" fmla="*/ 3002417 w 7402822"/>
              <a:gd name="connsiteY11431" fmla="*/ 846991 h 4749526"/>
              <a:gd name="connsiteX11432" fmla="*/ 3014560 w 7402822"/>
              <a:gd name="connsiteY11432" fmla="*/ 868242 h 4749526"/>
              <a:gd name="connsiteX11433" fmla="*/ 3041883 w 7402822"/>
              <a:gd name="connsiteY11433" fmla="*/ 874313 h 4749526"/>
              <a:gd name="connsiteX11434" fmla="*/ 3054025 w 7402822"/>
              <a:gd name="connsiteY11434" fmla="*/ 871277 h 4749526"/>
              <a:gd name="connsiteX11435" fmla="*/ 3060097 w 7402822"/>
              <a:gd name="connsiteY11435" fmla="*/ 883421 h 4749526"/>
              <a:gd name="connsiteX11436" fmla="*/ 3060097 w 7402822"/>
              <a:gd name="connsiteY11436" fmla="*/ 889492 h 4749526"/>
              <a:gd name="connsiteX11437" fmla="*/ 3060097 w 7402822"/>
              <a:gd name="connsiteY11437" fmla="*/ 901635 h 4749526"/>
              <a:gd name="connsiteX11438" fmla="*/ 3066169 w 7402822"/>
              <a:gd name="connsiteY11438" fmla="*/ 925922 h 4749526"/>
              <a:gd name="connsiteX11439" fmla="*/ 3063133 w 7402822"/>
              <a:gd name="connsiteY11439" fmla="*/ 962352 h 4749526"/>
              <a:gd name="connsiteX11440" fmla="*/ 3054025 w 7402822"/>
              <a:gd name="connsiteY11440" fmla="*/ 965387 h 4749526"/>
              <a:gd name="connsiteX11441" fmla="*/ 3038846 w 7402822"/>
              <a:gd name="connsiteY11441" fmla="*/ 980566 h 4749526"/>
              <a:gd name="connsiteX11442" fmla="*/ 3038846 w 7402822"/>
              <a:gd name="connsiteY11442" fmla="*/ 1001817 h 4749526"/>
              <a:gd name="connsiteX11443" fmla="*/ 3057062 w 7402822"/>
              <a:gd name="connsiteY11443" fmla="*/ 1004853 h 4749526"/>
              <a:gd name="connsiteX11444" fmla="*/ 3075276 w 7402822"/>
              <a:gd name="connsiteY11444" fmla="*/ 1016996 h 4749526"/>
              <a:gd name="connsiteX11445" fmla="*/ 3057062 w 7402822"/>
              <a:gd name="connsiteY11445" fmla="*/ 1035211 h 4749526"/>
              <a:gd name="connsiteX11446" fmla="*/ 3050990 w 7402822"/>
              <a:gd name="connsiteY11446" fmla="*/ 1032176 h 4749526"/>
              <a:gd name="connsiteX11447" fmla="*/ 3047953 w 7402822"/>
              <a:gd name="connsiteY11447" fmla="*/ 1023068 h 4749526"/>
              <a:gd name="connsiteX11448" fmla="*/ 3041883 w 7402822"/>
              <a:gd name="connsiteY11448" fmla="*/ 1020032 h 4749526"/>
              <a:gd name="connsiteX11449" fmla="*/ 3026704 w 7402822"/>
              <a:gd name="connsiteY11449" fmla="*/ 1016996 h 4749526"/>
              <a:gd name="connsiteX11450" fmla="*/ 3020632 w 7402822"/>
              <a:gd name="connsiteY11450" fmla="*/ 1020032 h 4749526"/>
              <a:gd name="connsiteX11451" fmla="*/ 3014560 w 7402822"/>
              <a:gd name="connsiteY11451" fmla="*/ 1026104 h 4749526"/>
              <a:gd name="connsiteX11452" fmla="*/ 3011524 w 7402822"/>
              <a:gd name="connsiteY11452" fmla="*/ 1032176 h 4749526"/>
              <a:gd name="connsiteX11453" fmla="*/ 3008488 w 7402822"/>
              <a:gd name="connsiteY11453" fmla="*/ 1050390 h 4749526"/>
              <a:gd name="connsiteX11454" fmla="*/ 3014560 w 7402822"/>
              <a:gd name="connsiteY11454" fmla="*/ 1059497 h 4749526"/>
              <a:gd name="connsiteX11455" fmla="*/ 3020632 w 7402822"/>
              <a:gd name="connsiteY11455" fmla="*/ 1050390 h 4749526"/>
              <a:gd name="connsiteX11456" fmla="*/ 3032774 w 7402822"/>
              <a:gd name="connsiteY11456" fmla="*/ 1056462 h 4749526"/>
              <a:gd name="connsiteX11457" fmla="*/ 3038846 w 7402822"/>
              <a:gd name="connsiteY11457" fmla="*/ 1062534 h 4749526"/>
              <a:gd name="connsiteX11458" fmla="*/ 3041883 w 7402822"/>
              <a:gd name="connsiteY11458" fmla="*/ 1074676 h 4749526"/>
              <a:gd name="connsiteX11459" fmla="*/ 3044918 w 7402822"/>
              <a:gd name="connsiteY11459" fmla="*/ 1086820 h 4749526"/>
              <a:gd name="connsiteX11460" fmla="*/ 3041883 w 7402822"/>
              <a:gd name="connsiteY11460" fmla="*/ 1092892 h 4749526"/>
              <a:gd name="connsiteX11461" fmla="*/ 3029739 w 7402822"/>
              <a:gd name="connsiteY11461" fmla="*/ 1092892 h 4749526"/>
              <a:gd name="connsiteX11462" fmla="*/ 3020632 w 7402822"/>
              <a:gd name="connsiteY11462" fmla="*/ 1092892 h 4749526"/>
              <a:gd name="connsiteX11463" fmla="*/ 3008488 w 7402822"/>
              <a:gd name="connsiteY11463" fmla="*/ 1108071 h 4749526"/>
              <a:gd name="connsiteX11464" fmla="*/ 2996345 w 7402822"/>
              <a:gd name="connsiteY11464" fmla="*/ 1101999 h 4749526"/>
              <a:gd name="connsiteX11465" fmla="*/ 2981166 w 7402822"/>
              <a:gd name="connsiteY11465" fmla="*/ 1092892 h 4749526"/>
              <a:gd name="connsiteX11466" fmla="*/ 2972059 w 7402822"/>
              <a:gd name="connsiteY11466" fmla="*/ 1083784 h 4749526"/>
              <a:gd name="connsiteX11467" fmla="*/ 2962951 w 7402822"/>
              <a:gd name="connsiteY11467" fmla="*/ 1080748 h 4749526"/>
              <a:gd name="connsiteX11468" fmla="*/ 2959915 w 7402822"/>
              <a:gd name="connsiteY11468" fmla="*/ 1086820 h 4749526"/>
              <a:gd name="connsiteX11469" fmla="*/ 2956880 w 7402822"/>
              <a:gd name="connsiteY11469" fmla="*/ 1086820 h 4749526"/>
              <a:gd name="connsiteX11470" fmla="*/ 2953844 w 7402822"/>
              <a:gd name="connsiteY11470" fmla="*/ 1083784 h 4749526"/>
              <a:gd name="connsiteX11471" fmla="*/ 2947772 w 7402822"/>
              <a:gd name="connsiteY11471" fmla="*/ 1092892 h 4749526"/>
              <a:gd name="connsiteX11472" fmla="*/ 2932594 w 7402822"/>
              <a:gd name="connsiteY11472" fmla="*/ 1108071 h 4749526"/>
              <a:gd name="connsiteX11473" fmla="*/ 2935629 w 7402822"/>
              <a:gd name="connsiteY11473" fmla="*/ 1117178 h 4749526"/>
              <a:gd name="connsiteX11474" fmla="*/ 2941701 w 7402822"/>
              <a:gd name="connsiteY11474" fmla="*/ 1120214 h 4749526"/>
              <a:gd name="connsiteX11475" fmla="*/ 2947772 w 7402822"/>
              <a:gd name="connsiteY11475" fmla="*/ 1120214 h 4749526"/>
              <a:gd name="connsiteX11476" fmla="*/ 2950808 w 7402822"/>
              <a:gd name="connsiteY11476" fmla="*/ 1126286 h 4749526"/>
              <a:gd name="connsiteX11477" fmla="*/ 2953844 w 7402822"/>
              <a:gd name="connsiteY11477" fmla="*/ 1141465 h 4749526"/>
              <a:gd name="connsiteX11478" fmla="*/ 2956880 w 7402822"/>
              <a:gd name="connsiteY11478" fmla="*/ 1147536 h 4749526"/>
              <a:gd name="connsiteX11479" fmla="*/ 2959915 w 7402822"/>
              <a:gd name="connsiteY11479" fmla="*/ 1156644 h 4749526"/>
              <a:gd name="connsiteX11480" fmla="*/ 2959915 w 7402822"/>
              <a:gd name="connsiteY11480" fmla="*/ 1165751 h 4749526"/>
              <a:gd name="connsiteX11481" fmla="*/ 2981166 w 7402822"/>
              <a:gd name="connsiteY11481" fmla="*/ 1183965 h 4749526"/>
              <a:gd name="connsiteX11482" fmla="*/ 2999381 w 7402822"/>
              <a:gd name="connsiteY11482" fmla="*/ 1199145 h 4749526"/>
              <a:gd name="connsiteX11483" fmla="*/ 3002417 w 7402822"/>
              <a:gd name="connsiteY11483" fmla="*/ 1211288 h 4749526"/>
              <a:gd name="connsiteX11484" fmla="*/ 3002417 w 7402822"/>
              <a:gd name="connsiteY11484" fmla="*/ 1220395 h 4749526"/>
              <a:gd name="connsiteX11485" fmla="*/ 3002417 w 7402822"/>
              <a:gd name="connsiteY11485" fmla="*/ 1238610 h 4749526"/>
              <a:gd name="connsiteX11486" fmla="*/ 3008488 w 7402822"/>
              <a:gd name="connsiteY11486" fmla="*/ 1229503 h 4749526"/>
              <a:gd name="connsiteX11487" fmla="*/ 3017595 w 7402822"/>
              <a:gd name="connsiteY11487" fmla="*/ 1226467 h 4749526"/>
              <a:gd name="connsiteX11488" fmla="*/ 3017595 w 7402822"/>
              <a:gd name="connsiteY11488" fmla="*/ 1235575 h 4749526"/>
              <a:gd name="connsiteX11489" fmla="*/ 3017595 w 7402822"/>
              <a:gd name="connsiteY11489" fmla="*/ 1250754 h 4749526"/>
              <a:gd name="connsiteX11490" fmla="*/ 3014560 w 7402822"/>
              <a:gd name="connsiteY11490" fmla="*/ 1272005 h 4749526"/>
              <a:gd name="connsiteX11491" fmla="*/ 3020632 w 7402822"/>
              <a:gd name="connsiteY11491" fmla="*/ 1281112 h 4749526"/>
              <a:gd name="connsiteX11492" fmla="*/ 3020632 w 7402822"/>
              <a:gd name="connsiteY11492" fmla="*/ 1293255 h 4749526"/>
              <a:gd name="connsiteX11493" fmla="*/ 3017595 w 7402822"/>
              <a:gd name="connsiteY11493" fmla="*/ 1296291 h 4749526"/>
              <a:gd name="connsiteX11494" fmla="*/ 3014560 w 7402822"/>
              <a:gd name="connsiteY11494" fmla="*/ 1296291 h 4749526"/>
              <a:gd name="connsiteX11495" fmla="*/ 2999381 w 7402822"/>
              <a:gd name="connsiteY11495" fmla="*/ 1296291 h 4749526"/>
              <a:gd name="connsiteX11496" fmla="*/ 2987238 w 7402822"/>
              <a:gd name="connsiteY11496" fmla="*/ 1296291 h 4749526"/>
              <a:gd name="connsiteX11497" fmla="*/ 2978130 w 7402822"/>
              <a:gd name="connsiteY11497" fmla="*/ 1287184 h 4749526"/>
              <a:gd name="connsiteX11498" fmla="*/ 2965987 w 7402822"/>
              <a:gd name="connsiteY11498" fmla="*/ 1268968 h 4749526"/>
              <a:gd name="connsiteX11499" fmla="*/ 2965987 w 7402822"/>
              <a:gd name="connsiteY11499" fmla="*/ 1259861 h 4749526"/>
              <a:gd name="connsiteX11500" fmla="*/ 2962951 w 7402822"/>
              <a:gd name="connsiteY11500" fmla="*/ 1250754 h 4749526"/>
              <a:gd name="connsiteX11501" fmla="*/ 2950808 w 7402822"/>
              <a:gd name="connsiteY11501" fmla="*/ 1241646 h 4749526"/>
              <a:gd name="connsiteX11502" fmla="*/ 2938664 w 7402822"/>
              <a:gd name="connsiteY11502" fmla="*/ 1247718 h 4749526"/>
              <a:gd name="connsiteX11503" fmla="*/ 2932594 w 7402822"/>
              <a:gd name="connsiteY11503" fmla="*/ 1253789 h 4749526"/>
              <a:gd name="connsiteX11504" fmla="*/ 2911343 w 7402822"/>
              <a:gd name="connsiteY11504" fmla="*/ 1262897 h 4749526"/>
              <a:gd name="connsiteX11505" fmla="*/ 2902235 w 7402822"/>
              <a:gd name="connsiteY11505" fmla="*/ 1262897 h 4749526"/>
              <a:gd name="connsiteX11506" fmla="*/ 2899199 w 7402822"/>
              <a:gd name="connsiteY11506" fmla="*/ 1262897 h 4749526"/>
              <a:gd name="connsiteX11507" fmla="*/ 2893127 w 7402822"/>
              <a:gd name="connsiteY11507" fmla="*/ 1265933 h 4749526"/>
              <a:gd name="connsiteX11508" fmla="*/ 2890092 w 7402822"/>
              <a:gd name="connsiteY11508" fmla="*/ 1268968 h 4749526"/>
              <a:gd name="connsiteX11509" fmla="*/ 2887056 w 7402822"/>
              <a:gd name="connsiteY11509" fmla="*/ 1278075 h 4749526"/>
              <a:gd name="connsiteX11510" fmla="*/ 2880984 w 7402822"/>
              <a:gd name="connsiteY11510" fmla="*/ 1287184 h 4749526"/>
              <a:gd name="connsiteX11511" fmla="*/ 2880984 w 7402822"/>
              <a:gd name="connsiteY11511" fmla="*/ 1296291 h 4749526"/>
              <a:gd name="connsiteX11512" fmla="*/ 2896164 w 7402822"/>
              <a:gd name="connsiteY11512" fmla="*/ 1302363 h 4749526"/>
              <a:gd name="connsiteX11513" fmla="*/ 2908306 w 7402822"/>
              <a:gd name="connsiteY11513" fmla="*/ 1308434 h 4749526"/>
              <a:gd name="connsiteX11514" fmla="*/ 2917414 w 7402822"/>
              <a:gd name="connsiteY11514" fmla="*/ 1308434 h 4749526"/>
              <a:gd name="connsiteX11515" fmla="*/ 2923485 w 7402822"/>
              <a:gd name="connsiteY11515" fmla="*/ 1308434 h 4749526"/>
              <a:gd name="connsiteX11516" fmla="*/ 2932594 w 7402822"/>
              <a:gd name="connsiteY11516" fmla="*/ 1302363 h 4749526"/>
              <a:gd name="connsiteX11517" fmla="*/ 2941701 w 7402822"/>
              <a:gd name="connsiteY11517" fmla="*/ 1299326 h 4749526"/>
              <a:gd name="connsiteX11518" fmla="*/ 2956880 w 7402822"/>
              <a:gd name="connsiteY11518" fmla="*/ 1302363 h 4749526"/>
              <a:gd name="connsiteX11519" fmla="*/ 2981166 w 7402822"/>
              <a:gd name="connsiteY11519" fmla="*/ 1314505 h 4749526"/>
              <a:gd name="connsiteX11520" fmla="*/ 3008488 w 7402822"/>
              <a:gd name="connsiteY11520" fmla="*/ 1317542 h 4749526"/>
              <a:gd name="connsiteX11521" fmla="*/ 2999381 w 7402822"/>
              <a:gd name="connsiteY11521" fmla="*/ 1326649 h 4749526"/>
              <a:gd name="connsiteX11522" fmla="*/ 2990274 w 7402822"/>
              <a:gd name="connsiteY11522" fmla="*/ 1332721 h 4749526"/>
              <a:gd name="connsiteX11523" fmla="*/ 2984202 w 7402822"/>
              <a:gd name="connsiteY11523" fmla="*/ 1335756 h 4749526"/>
              <a:gd name="connsiteX11524" fmla="*/ 2972059 w 7402822"/>
              <a:gd name="connsiteY11524" fmla="*/ 1350935 h 4749526"/>
              <a:gd name="connsiteX11525" fmla="*/ 2959915 w 7402822"/>
              <a:gd name="connsiteY11525" fmla="*/ 1360043 h 4749526"/>
              <a:gd name="connsiteX11526" fmla="*/ 2956880 w 7402822"/>
              <a:gd name="connsiteY11526" fmla="*/ 1357007 h 4749526"/>
              <a:gd name="connsiteX11527" fmla="*/ 2947772 w 7402822"/>
              <a:gd name="connsiteY11527" fmla="*/ 1372186 h 4749526"/>
              <a:gd name="connsiteX11528" fmla="*/ 2944736 w 7402822"/>
              <a:gd name="connsiteY11528" fmla="*/ 1378257 h 4749526"/>
              <a:gd name="connsiteX11529" fmla="*/ 2938664 w 7402822"/>
              <a:gd name="connsiteY11529" fmla="*/ 1384329 h 4749526"/>
              <a:gd name="connsiteX11530" fmla="*/ 2926522 w 7402822"/>
              <a:gd name="connsiteY11530" fmla="*/ 1396473 h 4749526"/>
              <a:gd name="connsiteX11531" fmla="*/ 2914378 w 7402822"/>
              <a:gd name="connsiteY11531" fmla="*/ 1402545 h 4749526"/>
              <a:gd name="connsiteX11532" fmla="*/ 2887056 w 7402822"/>
              <a:gd name="connsiteY11532" fmla="*/ 1411652 h 4749526"/>
              <a:gd name="connsiteX11533" fmla="*/ 2880984 w 7402822"/>
              <a:gd name="connsiteY11533" fmla="*/ 1408615 h 4749526"/>
              <a:gd name="connsiteX11534" fmla="*/ 2874913 w 7402822"/>
              <a:gd name="connsiteY11534" fmla="*/ 1417723 h 4749526"/>
              <a:gd name="connsiteX11535" fmla="*/ 2868841 w 7402822"/>
              <a:gd name="connsiteY11535" fmla="*/ 1417723 h 4749526"/>
              <a:gd name="connsiteX11536" fmla="*/ 2862770 w 7402822"/>
              <a:gd name="connsiteY11536" fmla="*/ 1420759 h 4749526"/>
              <a:gd name="connsiteX11537" fmla="*/ 2835447 w 7402822"/>
              <a:gd name="connsiteY11537" fmla="*/ 1429866 h 4749526"/>
              <a:gd name="connsiteX11538" fmla="*/ 2823305 w 7402822"/>
              <a:gd name="connsiteY11538" fmla="*/ 1432903 h 4749526"/>
              <a:gd name="connsiteX11539" fmla="*/ 2811161 w 7402822"/>
              <a:gd name="connsiteY11539" fmla="*/ 1429866 h 4749526"/>
              <a:gd name="connsiteX11540" fmla="*/ 2805089 w 7402822"/>
              <a:gd name="connsiteY11540" fmla="*/ 1417723 h 4749526"/>
              <a:gd name="connsiteX11541" fmla="*/ 2795982 w 7402822"/>
              <a:gd name="connsiteY11541" fmla="*/ 1402545 h 4749526"/>
              <a:gd name="connsiteX11542" fmla="*/ 2795982 w 7402822"/>
              <a:gd name="connsiteY11542" fmla="*/ 1405580 h 4749526"/>
              <a:gd name="connsiteX11543" fmla="*/ 2795982 w 7402822"/>
              <a:gd name="connsiteY11543" fmla="*/ 1414687 h 4749526"/>
              <a:gd name="connsiteX11544" fmla="*/ 2799017 w 7402822"/>
              <a:gd name="connsiteY11544" fmla="*/ 1442010 h 4749526"/>
              <a:gd name="connsiteX11545" fmla="*/ 2786874 w 7402822"/>
              <a:gd name="connsiteY11545" fmla="*/ 1454154 h 4749526"/>
              <a:gd name="connsiteX11546" fmla="*/ 2780803 w 7402822"/>
              <a:gd name="connsiteY11546" fmla="*/ 1466296 h 4749526"/>
              <a:gd name="connsiteX11547" fmla="*/ 2777767 w 7402822"/>
              <a:gd name="connsiteY11547" fmla="*/ 1478440 h 4749526"/>
              <a:gd name="connsiteX11548" fmla="*/ 2771695 w 7402822"/>
              <a:gd name="connsiteY11548" fmla="*/ 1487547 h 4749526"/>
              <a:gd name="connsiteX11549" fmla="*/ 2765624 w 7402822"/>
              <a:gd name="connsiteY11549" fmla="*/ 1496655 h 4749526"/>
              <a:gd name="connsiteX11550" fmla="*/ 2759552 w 7402822"/>
              <a:gd name="connsiteY11550" fmla="*/ 1508798 h 4749526"/>
              <a:gd name="connsiteX11551" fmla="*/ 2747409 w 7402822"/>
              <a:gd name="connsiteY11551" fmla="*/ 1520941 h 4749526"/>
              <a:gd name="connsiteX11552" fmla="*/ 2738302 w 7402822"/>
              <a:gd name="connsiteY11552" fmla="*/ 1527013 h 4749526"/>
              <a:gd name="connsiteX11553" fmla="*/ 2735265 w 7402822"/>
              <a:gd name="connsiteY11553" fmla="*/ 1527013 h 4749526"/>
              <a:gd name="connsiteX11554" fmla="*/ 2729194 w 7402822"/>
              <a:gd name="connsiteY11554" fmla="*/ 1536120 h 4749526"/>
              <a:gd name="connsiteX11555" fmla="*/ 2720086 w 7402822"/>
              <a:gd name="connsiteY11555" fmla="*/ 1545227 h 4749526"/>
              <a:gd name="connsiteX11556" fmla="*/ 2701872 w 7402822"/>
              <a:gd name="connsiteY11556" fmla="*/ 1554335 h 4749526"/>
              <a:gd name="connsiteX11557" fmla="*/ 2689728 w 7402822"/>
              <a:gd name="connsiteY11557" fmla="*/ 1548264 h 4749526"/>
              <a:gd name="connsiteX11558" fmla="*/ 2677585 w 7402822"/>
              <a:gd name="connsiteY11558" fmla="*/ 1557371 h 4749526"/>
              <a:gd name="connsiteX11559" fmla="*/ 2659370 w 7402822"/>
              <a:gd name="connsiteY11559" fmla="*/ 1563443 h 4749526"/>
              <a:gd name="connsiteX11560" fmla="*/ 2650263 w 7402822"/>
              <a:gd name="connsiteY11560" fmla="*/ 1569514 h 4749526"/>
              <a:gd name="connsiteX11561" fmla="*/ 2641155 w 7402822"/>
              <a:gd name="connsiteY11561" fmla="*/ 1584693 h 4749526"/>
              <a:gd name="connsiteX11562" fmla="*/ 2632048 w 7402822"/>
              <a:gd name="connsiteY11562" fmla="*/ 1590765 h 4749526"/>
              <a:gd name="connsiteX11563" fmla="*/ 2629013 w 7402822"/>
              <a:gd name="connsiteY11563" fmla="*/ 1584693 h 4749526"/>
              <a:gd name="connsiteX11564" fmla="*/ 2622941 w 7402822"/>
              <a:gd name="connsiteY11564" fmla="*/ 1587729 h 4749526"/>
              <a:gd name="connsiteX11565" fmla="*/ 2619904 w 7402822"/>
              <a:gd name="connsiteY11565" fmla="*/ 1599872 h 4749526"/>
              <a:gd name="connsiteX11566" fmla="*/ 2625976 w 7402822"/>
              <a:gd name="connsiteY11566" fmla="*/ 1605944 h 4749526"/>
              <a:gd name="connsiteX11567" fmla="*/ 2629013 w 7402822"/>
              <a:gd name="connsiteY11567" fmla="*/ 1612015 h 4749526"/>
              <a:gd name="connsiteX11568" fmla="*/ 2632048 w 7402822"/>
              <a:gd name="connsiteY11568" fmla="*/ 1624158 h 4749526"/>
              <a:gd name="connsiteX11569" fmla="*/ 2622941 w 7402822"/>
              <a:gd name="connsiteY11569" fmla="*/ 1621123 h 4749526"/>
              <a:gd name="connsiteX11570" fmla="*/ 2613834 w 7402822"/>
              <a:gd name="connsiteY11570" fmla="*/ 1624158 h 4749526"/>
              <a:gd name="connsiteX11571" fmla="*/ 2607762 w 7402822"/>
              <a:gd name="connsiteY11571" fmla="*/ 1627195 h 4749526"/>
              <a:gd name="connsiteX11572" fmla="*/ 2619904 w 7402822"/>
              <a:gd name="connsiteY11572" fmla="*/ 1633266 h 4749526"/>
              <a:gd name="connsiteX11573" fmla="*/ 2629013 w 7402822"/>
              <a:gd name="connsiteY11573" fmla="*/ 1633266 h 4749526"/>
              <a:gd name="connsiteX11574" fmla="*/ 2629013 w 7402822"/>
              <a:gd name="connsiteY11574" fmla="*/ 1654516 h 4749526"/>
              <a:gd name="connsiteX11575" fmla="*/ 2622941 w 7402822"/>
              <a:gd name="connsiteY11575" fmla="*/ 1666660 h 4749526"/>
              <a:gd name="connsiteX11576" fmla="*/ 2592583 w 7402822"/>
              <a:gd name="connsiteY11576" fmla="*/ 1706125 h 4749526"/>
              <a:gd name="connsiteX11577" fmla="*/ 2589546 w 7402822"/>
              <a:gd name="connsiteY11577" fmla="*/ 1709161 h 4749526"/>
              <a:gd name="connsiteX11578" fmla="*/ 2592583 w 7402822"/>
              <a:gd name="connsiteY11578" fmla="*/ 1712197 h 4749526"/>
              <a:gd name="connsiteX11579" fmla="*/ 2592583 w 7402822"/>
              <a:gd name="connsiteY11579" fmla="*/ 1718269 h 4749526"/>
              <a:gd name="connsiteX11580" fmla="*/ 2595618 w 7402822"/>
              <a:gd name="connsiteY11580" fmla="*/ 1730412 h 4749526"/>
              <a:gd name="connsiteX11581" fmla="*/ 2592583 w 7402822"/>
              <a:gd name="connsiteY11581" fmla="*/ 1742556 h 4749526"/>
              <a:gd name="connsiteX11582" fmla="*/ 2592583 w 7402822"/>
              <a:gd name="connsiteY11582" fmla="*/ 1745591 h 4749526"/>
              <a:gd name="connsiteX11583" fmla="*/ 2586511 w 7402822"/>
              <a:gd name="connsiteY11583" fmla="*/ 1757735 h 4749526"/>
              <a:gd name="connsiteX11584" fmla="*/ 2583475 w 7402822"/>
              <a:gd name="connsiteY11584" fmla="*/ 1769877 h 4749526"/>
              <a:gd name="connsiteX11585" fmla="*/ 2583475 w 7402822"/>
              <a:gd name="connsiteY11585" fmla="*/ 1785056 h 4749526"/>
              <a:gd name="connsiteX11586" fmla="*/ 2583475 w 7402822"/>
              <a:gd name="connsiteY11586" fmla="*/ 1788093 h 4749526"/>
              <a:gd name="connsiteX11587" fmla="*/ 2580439 w 7402822"/>
              <a:gd name="connsiteY11587" fmla="*/ 1794164 h 4749526"/>
              <a:gd name="connsiteX11588" fmla="*/ 2574368 w 7402822"/>
              <a:gd name="connsiteY11588" fmla="*/ 1797200 h 4749526"/>
              <a:gd name="connsiteX11589" fmla="*/ 2577404 w 7402822"/>
              <a:gd name="connsiteY11589" fmla="*/ 1809343 h 4749526"/>
              <a:gd name="connsiteX11590" fmla="*/ 2571332 w 7402822"/>
              <a:gd name="connsiteY11590" fmla="*/ 1812379 h 4749526"/>
              <a:gd name="connsiteX11591" fmla="*/ 2562225 w 7402822"/>
              <a:gd name="connsiteY11591" fmla="*/ 1809343 h 4749526"/>
              <a:gd name="connsiteX11592" fmla="*/ 2553117 w 7402822"/>
              <a:gd name="connsiteY11592" fmla="*/ 1809343 h 4749526"/>
              <a:gd name="connsiteX11593" fmla="*/ 2547045 w 7402822"/>
              <a:gd name="connsiteY11593" fmla="*/ 1815415 h 4749526"/>
              <a:gd name="connsiteX11594" fmla="*/ 2540974 w 7402822"/>
              <a:gd name="connsiteY11594" fmla="*/ 1815415 h 4749526"/>
              <a:gd name="connsiteX11595" fmla="*/ 2534902 w 7402822"/>
              <a:gd name="connsiteY11595" fmla="*/ 1809343 h 4749526"/>
              <a:gd name="connsiteX11596" fmla="*/ 2534902 w 7402822"/>
              <a:gd name="connsiteY11596" fmla="*/ 1797200 h 4749526"/>
              <a:gd name="connsiteX11597" fmla="*/ 2522759 w 7402822"/>
              <a:gd name="connsiteY11597" fmla="*/ 1794164 h 4749526"/>
              <a:gd name="connsiteX11598" fmla="*/ 2516687 w 7402822"/>
              <a:gd name="connsiteY11598" fmla="*/ 1791128 h 4749526"/>
              <a:gd name="connsiteX11599" fmla="*/ 2513652 w 7402822"/>
              <a:gd name="connsiteY11599" fmla="*/ 1782021 h 4749526"/>
              <a:gd name="connsiteX11600" fmla="*/ 2507580 w 7402822"/>
              <a:gd name="connsiteY11600" fmla="*/ 1769877 h 4749526"/>
              <a:gd name="connsiteX11601" fmla="*/ 2495436 w 7402822"/>
              <a:gd name="connsiteY11601" fmla="*/ 1775949 h 4749526"/>
              <a:gd name="connsiteX11602" fmla="*/ 2477222 w 7402822"/>
              <a:gd name="connsiteY11602" fmla="*/ 1778985 h 4749526"/>
              <a:gd name="connsiteX11603" fmla="*/ 2474186 w 7402822"/>
              <a:gd name="connsiteY11603" fmla="*/ 1778985 h 4749526"/>
              <a:gd name="connsiteX11604" fmla="*/ 2471150 w 7402822"/>
              <a:gd name="connsiteY11604" fmla="*/ 1775949 h 4749526"/>
              <a:gd name="connsiteX11605" fmla="*/ 2465078 w 7402822"/>
              <a:gd name="connsiteY11605" fmla="*/ 1769877 h 4749526"/>
              <a:gd name="connsiteX11606" fmla="*/ 2459007 w 7402822"/>
              <a:gd name="connsiteY11606" fmla="*/ 1757735 h 4749526"/>
              <a:gd name="connsiteX11607" fmla="*/ 2449900 w 7402822"/>
              <a:gd name="connsiteY11607" fmla="*/ 1748626 h 4749526"/>
              <a:gd name="connsiteX11608" fmla="*/ 2449900 w 7402822"/>
              <a:gd name="connsiteY11608" fmla="*/ 1742556 h 4749526"/>
              <a:gd name="connsiteX11609" fmla="*/ 2440792 w 7402822"/>
              <a:gd name="connsiteY11609" fmla="*/ 1730412 h 4749526"/>
              <a:gd name="connsiteX11610" fmla="*/ 2428649 w 7402822"/>
              <a:gd name="connsiteY11610" fmla="*/ 1709161 h 4749526"/>
              <a:gd name="connsiteX11611" fmla="*/ 2428649 w 7402822"/>
              <a:gd name="connsiteY11611" fmla="*/ 1700054 h 4749526"/>
              <a:gd name="connsiteX11612" fmla="*/ 2425613 w 7402822"/>
              <a:gd name="connsiteY11612" fmla="*/ 1690946 h 4749526"/>
              <a:gd name="connsiteX11613" fmla="*/ 2413470 w 7402822"/>
              <a:gd name="connsiteY11613" fmla="*/ 1669695 h 4749526"/>
              <a:gd name="connsiteX11614" fmla="*/ 2410434 w 7402822"/>
              <a:gd name="connsiteY11614" fmla="*/ 1669695 h 4749526"/>
              <a:gd name="connsiteX11615" fmla="*/ 2404363 w 7402822"/>
              <a:gd name="connsiteY11615" fmla="*/ 1657553 h 4749526"/>
              <a:gd name="connsiteX11616" fmla="*/ 2395255 w 7402822"/>
              <a:gd name="connsiteY11616" fmla="*/ 1636302 h 4749526"/>
              <a:gd name="connsiteX11617" fmla="*/ 2380076 w 7402822"/>
              <a:gd name="connsiteY11617" fmla="*/ 1584693 h 4749526"/>
              <a:gd name="connsiteX11618" fmla="*/ 2377040 w 7402822"/>
              <a:gd name="connsiteY11618" fmla="*/ 1563443 h 4749526"/>
              <a:gd name="connsiteX11619" fmla="*/ 2367933 w 7402822"/>
              <a:gd name="connsiteY11619" fmla="*/ 1557371 h 4749526"/>
              <a:gd name="connsiteX11620" fmla="*/ 2358825 w 7402822"/>
              <a:gd name="connsiteY11620" fmla="*/ 1536120 h 4749526"/>
              <a:gd name="connsiteX11621" fmla="*/ 2361861 w 7402822"/>
              <a:gd name="connsiteY11621" fmla="*/ 1517906 h 4749526"/>
              <a:gd name="connsiteX11622" fmla="*/ 2374005 w 7402822"/>
              <a:gd name="connsiteY11622" fmla="*/ 1508798 h 4749526"/>
              <a:gd name="connsiteX11623" fmla="*/ 2352754 w 7402822"/>
              <a:gd name="connsiteY11623" fmla="*/ 1487547 h 4749526"/>
              <a:gd name="connsiteX11624" fmla="*/ 2355789 w 7402822"/>
              <a:gd name="connsiteY11624" fmla="*/ 1466296 h 4749526"/>
              <a:gd name="connsiteX11625" fmla="*/ 2358825 w 7402822"/>
              <a:gd name="connsiteY11625" fmla="*/ 1448082 h 4749526"/>
              <a:gd name="connsiteX11626" fmla="*/ 2364897 w 7402822"/>
              <a:gd name="connsiteY11626" fmla="*/ 1438975 h 4749526"/>
              <a:gd name="connsiteX11627" fmla="*/ 2361861 w 7402822"/>
              <a:gd name="connsiteY11627" fmla="*/ 1426831 h 4749526"/>
              <a:gd name="connsiteX11628" fmla="*/ 2370968 w 7402822"/>
              <a:gd name="connsiteY11628" fmla="*/ 1426831 h 4749526"/>
              <a:gd name="connsiteX11629" fmla="*/ 2377040 w 7402822"/>
              <a:gd name="connsiteY11629" fmla="*/ 1414687 h 4749526"/>
              <a:gd name="connsiteX11630" fmla="*/ 2389184 w 7402822"/>
              <a:gd name="connsiteY11630" fmla="*/ 1405580 h 4749526"/>
              <a:gd name="connsiteX11631" fmla="*/ 2407398 w 7402822"/>
              <a:gd name="connsiteY11631" fmla="*/ 1405580 h 4749526"/>
              <a:gd name="connsiteX11632" fmla="*/ 2413470 w 7402822"/>
              <a:gd name="connsiteY11632" fmla="*/ 1402545 h 4749526"/>
              <a:gd name="connsiteX11633" fmla="*/ 2419542 w 7402822"/>
              <a:gd name="connsiteY11633" fmla="*/ 1390401 h 4749526"/>
              <a:gd name="connsiteX11634" fmla="*/ 2413470 w 7402822"/>
              <a:gd name="connsiteY11634" fmla="*/ 1393436 h 4749526"/>
              <a:gd name="connsiteX11635" fmla="*/ 2407398 w 7402822"/>
              <a:gd name="connsiteY11635" fmla="*/ 1393436 h 4749526"/>
              <a:gd name="connsiteX11636" fmla="*/ 2410434 w 7402822"/>
              <a:gd name="connsiteY11636" fmla="*/ 1369150 h 4749526"/>
              <a:gd name="connsiteX11637" fmla="*/ 2416505 w 7402822"/>
              <a:gd name="connsiteY11637" fmla="*/ 1347899 h 4749526"/>
              <a:gd name="connsiteX11638" fmla="*/ 2422577 w 7402822"/>
              <a:gd name="connsiteY11638" fmla="*/ 1335756 h 4749526"/>
              <a:gd name="connsiteX11639" fmla="*/ 2428649 w 7402822"/>
              <a:gd name="connsiteY11639" fmla="*/ 1335756 h 4749526"/>
              <a:gd name="connsiteX11640" fmla="*/ 2428649 w 7402822"/>
              <a:gd name="connsiteY11640" fmla="*/ 1320577 h 4749526"/>
              <a:gd name="connsiteX11641" fmla="*/ 2419542 w 7402822"/>
              <a:gd name="connsiteY11641" fmla="*/ 1323613 h 4749526"/>
              <a:gd name="connsiteX11642" fmla="*/ 2410434 w 7402822"/>
              <a:gd name="connsiteY11642" fmla="*/ 1323613 h 4749526"/>
              <a:gd name="connsiteX11643" fmla="*/ 2401326 w 7402822"/>
              <a:gd name="connsiteY11643" fmla="*/ 1323613 h 4749526"/>
              <a:gd name="connsiteX11644" fmla="*/ 2386147 w 7402822"/>
              <a:gd name="connsiteY11644" fmla="*/ 1317542 h 4749526"/>
              <a:gd name="connsiteX11645" fmla="*/ 2367933 w 7402822"/>
              <a:gd name="connsiteY11645" fmla="*/ 1302363 h 4749526"/>
              <a:gd name="connsiteX11646" fmla="*/ 2352754 w 7402822"/>
              <a:gd name="connsiteY11646" fmla="*/ 1296291 h 4749526"/>
              <a:gd name="connsiteX11647" fmla="*/ 2340610 w 7402822"/>
              <a:gd name="connsiteY11647" fmla="*/ 1281112 h 4749526"/>
              <a:gd name="connsiteX11648" fmla="*/ 2349718 w 7402822"/>
              <a:gd name="connsiteY11648" fmla="*/ 1272005 h 4749526"/>
              <a:gd name="connsiteX11649" fmla="*/ 2361861 w 7402822"/>
              <a:gd name="connsiteY11649" fmla="*/ 1272005 h 4749526"/>
              <a:gd name="connsiteX11650" fmla="*/ 2374005 w 7402822"/>
              <a:gd name="connsiteY11650" fmla="*/ 1275040 h 4749526"/>
              <a:gd name="connsiteX11651" fmla="*/ 2389184 w 7402822"/>
              <a:gd name="connsiteY11651" fmla="*/ 1284147 h 4749526"/>
              <a:gd name="connsiteX11652" fmla="*/ 2401326 w 7402822"/>
              <a:gd name="connsiteY11652" fmla="*/ 1293255 h 4749526"/>
              <a:gd name="connsiteX11653" fmla="*/ 2404363 w 7402822"/>
              <a:gd name="connsiteY11653" fmla="*/ 1293255 h 4749526"/>
              <a:gd name="connsiteX11654" fmla="*/ 2407398 w 7402822"/>
              <a:gd name="connsiteY11654" fmla="*/ 1287184 h 4749526"/>
              <a:gd name="connsiteX11655" fmla="*/ 2410434 w 7402822"/>
              <a:gd name="connsiteY11655" fmla="*/ 1287184 h 4749526"/>
              <a:gd name="connsiteX11656" fmla="*/ 2419542 w 7402822"/>
              <a:gd name="connsiteY11656" fmla="*/ 1284147 h 4749526"/>
              <a:gd name="connsiteX11657" fmla="*/ 2416505 w 7402822"/>
              <a:gd name="connsiteY11657" fmla="*/ 1272005 h 4749526"/>
              <a:gd name="connsiteX11658" fmla="*/ 2395255 w 7402822"/>
              <a:gd name="connsiteY11658" fmla="*/ 1256826 h 4749526"/>
              <a:gd name="connsiteX11659" fmla="*/ 2407398 w 7402822"/>
              <a:gd name="connsiteY11659" fmla="*/ 1262897 h 4749526"/>
              <a:gd name="connsiteX11660" fmla="*/ 2416505 w 7402822"/>
              <a:gd name="connsiteY11660" fmla="*/ 1256826 h 4749526"/>
              <a:gd name="connsiteX11661" fmla="*/ 2383112 w 7402822"/>
              <a:gd name="connsiteY11661" fmla="*/ 1250754 h 4749526"/>
              <a:gd name="connsiteX11662" fmla="*/ 2383112 w 7402822"/>
              <a:gd name="connsiteY11662" fmla="*/ 1235575 h 4749526"/>
              <a:gd name="connsiteX11663" fmla="*/ 2380076 w 7402822"/>
              <a:gd name="connsiteY11663" fmla="*/ 1235575 h 4749526"/>
              <a:gd name="connsiteX11664" fmla="*/ 2374005 w 7402822"/>
              <a:gd name="connsiteY11664" fmla="*/ 1232539 h 4749526"/>
              <a:gd name="connsiteX11665" fmla="*/ 2383112 w 7402822"/>
              <a:gd name="connsiteY11665" fmla="*/ 1223431 h 4749526"/>
              <a:gd name="connsiteX11666" fmla="*/ 2374005 w 7402822"/>
              <a:gd name="connsiteY11666" fmla="*/ 1214324 h 4749526"/>
              <a:gd name="connsiteX11667" fmla="*/ 2367933 w 7402822"/>
              <a:gd name="connsiteY11667" fmla="*/ 1214324 h 4749526"/>
              <a:gd name="connsiteX11668" fmla="*/ 2364897 w 7402822"/>
              <a:gd name="connsiteY11668" fmla="*/ 1205216 h 4749526"/>
              <a:gd name="connsiteX11669" fmla="*/ 2358825 w 7402822"/>
              <a:gd name="connsiteY11669" fmla="*/ 1211288 h 4749526"/>
              <a:gd name="connsiteX11670" fmla="*/ 2352754 w 7402822"/>
              <a:gd name="connsiteY11670" fmla="*/ 1223431 h 4749526"/>
              <a:gd name="connsiteX11671" fmla="*/ 2346682 w 7402822"/>
              <a:gd name="connsiteY11671" fmla="*/ 1235575 h 4749526"/>
              <a:gd name="connsiteX11672" fmla="*/ 2340610 w 7402822"/>
              <a:gd name="connsiteY11672" fmla="*/ 1238610 h 4749526"/>
              <a:gd name="connsiteX11673" fmla="*/ 2325432 w 7402822"/>
              <a:gd name="connsiteY11673" fmla="*/ 1235575 h 4749526"/>
              <a:gd name="connsiteX11674" fmla="*/ 2313288 w 7402822"/>
              <a:gd name="connsiteY11674" fmla="*/ 1217360 h 4749526"/>
              <a:gd name="connsiteX11675" fmla="*/ 2316324 w 7402822"/>
              <a:gd name="connsiteY11675" fmla="*/ 1211288 h 4749526"/>
              <a:gd name="connsiteX11676" fmla="*/ 2319360 w 7402822"/>
              <a:gd name="connsiteY11676" fmla="*/ 1196109 h 4749526"/>
              <a:gd name="connsiteX11677" fmla="*/ 2328467 w 7402822"/>
              <a:gd name="connsiteY11677" fmla="*/ 1180930 h 4749526"/>
              <a:gd name="connsiteX11678" fmla="*/ 2322395 w 7402822"/>
              <a:gd name="connsiteY11678" fmla="*/ 1159679 h 4749526"/>
              <a:gd name="connsiteX11679" fmla="*/ 2331503 w 7402822"/>
              <a:gd name="connsiteY11679" fmla="*/ 1162716 h 4749526"/>
              <a:gd name="connsiteX11680" fmla="*/ 2334539 w 7402822"/>
              <a:gd name="connsiteY11680" fmla="*/ 1156644 h 4749526"/>
              <a:gd name="connsiteX11681" fmla="*/ 2334539 w 7402822"/>
              <a:gd name="connsiteY11681" fmla="*/ 1138428 h 4749526"/>
              <a:gd name="connsiteX11682" fmla="*/ 2340610 w 7402822"/>
              <a:gd name="connsiteY11682" fmla="*/ 1138428 h 4749526"/>
              <a:gd name="connsiteX11683" fmla="*/ 2331503 w 7402822"/>
              <a:gd name="connsiteY11683" fmla="*/ 1126286 h 4749526"/>
              <a:gd name="connsiteX11684" fmla="*/ 2322395 w 7402822"/>
              <a:gd name="connsiteY11684" fmla="*/ 1120214 h 4749526"/>
              <a:gd name="connsiteX11685" fmla="*/ 2319360 w 7402822"/>
              <a:gd name="connsiteY11685" fmla="*/ 1089855 h 4749526"/>
              <a:gd name="connsiteX11686" fmla="*/ 2310253 w 7402822"/>
              <a:gd name="connsiteY11686" fmla="*/ 1077713 h 4749526"/>
              <a:gd name="connsiteX11687" fmla="*/ 2307216 w 7402822"/>
              <a:gd name="connsiteY11687" fmla="*/ 1026104 h 4749526"/>
              <a:gd name="connsiteX11688" fmla="*/ 2307216 w 7402822"/>
              <a:gd name="connsiteY11688" fmla="*/ 1010925 h 4749526"/>
              <a:gd name="connsiteX11689" fmla="*/ 2301144 w 7402822"/>
              <a:gd name="connsiteY11689" fmla="*/ 1010925 h 4749526"/>
              <a:gd name="connsiteX11690" fmla="*/ 2292037 w 7402822"/>
              <a:gd name="connsiteY11690" fmla="*/ 998782 h 4749526"/>
              <a:gd name="connsiteX11691" fmla="*/ 2289002 w 7402822"/>
              <a:gd name="connsiteY11691" fmla="*/ 986638 h 4749526"/>
              <a:gd name="connsiteX11692" fmla="*/ 2282930 w 7402822"/>
              <a:gd name="connsiteY11692" fmla="*/ 980566 h 4749526"/>
              <a:gd name="connsiteX11693" fmla="*/ 2258644 w 7402822"/>
              <a:gd name="connsiteY11693" fmla="*/ 950208 h 4749526"/>
              <a:gd name="connsiteX11694" fmla="*/ 2264715 w 7402822"/>
              <a:gd name="connsiteY11694" fmla="*/ 941101 h 4749526"/>
              <a:gd name="connsiteX11695" fmla="*/ 2264715 w 7402822"/>
              <a:gd name="connsiteY11695" fmla="*/ 928958 h 4749526"/>
              <a:gd name="connsiteX11696" fmla="*/ 2255608 w 7402822"/>
              <a:gd name="connsiteY11696" fmla="*/ 916815 h 4749526"/>
              <a:gd name="connsiteX11697" fmla="*/ 2243465 w 7402822"/>
              <a:gd name="connsiteY11697" fmla="*/ 907707 h 4749526"/>
              <a:gd name="connsiteX11698" fmla="*/ 2228285 w 7402822"/>
              <a:gd name="connsiteY11698" fmla="*/ 895564 h 4749526"/>
              <a:gd name="connsiteX11699" fmla="*/ 2176676 w 7402822"/>
              <a:gd name="connsiteY11699" fmla="*/ 871277 h 4749526"/>
              <a:gd name="connsiteX11700" fmla="*/ 2155426 w 7402822"/>
              <a:gd name="connsiteY11700" fmla="*/ 862170 h 4749526"/>
              <a:gd name="connsiteX11701" fmla="*/ 2152390 w 7402822"/>
              <a:gd name="connsiteY11701" fmla="*/ 877349 h 4749526"/>
              <a:gd name="connsiteX11702" fmla="*/ 2146319 w 7402822"/>
              <a:gd name="connsiteY11702" fmla="*/ 883421 h 4749526"/>
              <a:gd name="connsiteX11703" fmla="*/ 2140247 w 7402822"/>
              <a:gd name="connsiteY11703" fmla="*/ 874313 h 4749526"/>
              <a:gd name="connsiteX11704" fmla="*/ 2134175 w 7402822"/>
              <a:gd name="connsiteY11704" fmla="*/ 874313 h 4749526"/>
              <a:gd name="connsiteX11705" fmla="*/ 2106853 w 7402822"/>
              <a:gd name="connsiteY11705" fmla="*/ 883421 h 4749526"/>
              <a:gd name="connsiteX11706" fmla="*/ 2094710 w 7402822"/>
              <a:gd name="connsiteY11706" fmla="*/ 901635 h 4749526"/>
              <a:gd name="connsiteX11707" fmla="*/ 2085603 w 7402822"/>
              <a:gd name="connsiteY11707" fmla="*/ 895564 h 4749526"/>
              <a:gd name="connsiteX11708" fmla="*/ 2058280 w 7402822"/>
              <a:gd name="connsiteY11708" fmla="*/ 886456 h 4749526"/>
              <a:gd name="connsiteX11709" fmla="*/ 2046137 w 7402822"/>
              <a:gd name="connsiteY11709" fmla="*/ 877349 h 4749526"/>
              <a:gd name="connsiteX11710" fmla="*/ 2037030 w 7402822"/>
              <a:gd name="connsiteY11710" fmla="*/ 865205 h 4749526"/>
              <a:gd name="connsiteX11711" fmla="*/ 2024886 w 7402822"/>
              <a:gd name="connsiteY11711" fmla="*/ 843956 h 4749526"/>
              <a:gd name="connsiteX11712" fmla="*/ 2009707 w 7402822"/>
              <a:gd name="connsiteY11712" fmla="*/ 825740 h 4749526"/>
              <a:gd name="connsiteX11713" fmla="*/ 2003636 w 7402822"/>
              <a:gd name="connsiteY11713" fmla="*/ 819668 h 4749526"/>
              <a:gd name="connsiteX11714" fmla="*/ 1994528 w 7402822"/>
              <a:gd name="connsiteY11714" fmla="*/ 807526 h 4749526"/>
              <a:gd name="connsiteX11715" fmla="*/ 1997564 w 7402822"/>
              <a:gd name="connsiteY11715" fmla="*/ 795382 h 4749526"/>
              <a:gd name="connsiteX11716" fmla="*/ 2006672 w 7402822"/>
              <a:gd name="connsiteY11716" fmla="*/ 786275 h 4749526"/>
              <a:gd name="connsiteX11717" fmla="*/ 2021851 w 7402822"/>
              <a:gd name="connsiteY11717" fmla="*/ 783239 h 4749526"/>
              <a:gd name="connsiteX11718" fmla="*/ 2030958 w 7402822"/>
              <a:gd name="connsiteY11718" fmla="*/ 786275 h 4749526"/>
              <a:gd name="connsiteX11719" fmla="*/ 2040066 w 7402822"/>
              <a:gd name="connsiteY11719" fmla="*/ 761988 h 4749526"/>
              <a:gd name="connsiteX11720" fmla="*/ 2012743 w 7402822"/>
              <a:gd name="connsiteY11720" fmla="*/ 743774 h 4749526"/>
              <a:gd name="connsiteX11721" fmla="*/ 2009707 w 7402822"/>
              <a:gd name="connsiteY11721" fmla="*/ 740737 h 4749526"/>
              <a:gd name="connsiteX11722" fmla="*/ 2009707 w 7402822"/>
              <a:gd name="connsiteY11722" fmla="*/ 731630 h 4749526"/>
              <a:gd name="connsiteX11723" fmla="*/ 2003636 w 7402822"/>
              <a:gd name="connsiteY11723" fmla="*/ 731630 h 4749526"/>
              <a:gd name="connsiteX11724" fmla="*/ 1991493 w 7402822"/>
              <a:gd name="connsiteY11724" fmla="*/ 728595 h 4749526"/>
              <a:gd name="connsiteX11725" fmla="*/ 1976314 w 7402822"/>
              <a:gd name="connsiteY11725" fmla="*/ 716451 h 4749526"/>
              <a:gd name="connsiteX11726" fmla="*/ 1961135 w 7402822"/>
              <a:gd name="connsiteY11726" fmla="*/ 695200 h 4749526"/>
              <a:gd name="connsiteX11727" fmla="*/ 1967207 w 7402822"/>
              <a:gd name="connsiteY11727" fmla="*/ 658771 h 4749526"/>
              <a:gd name="connsiteX11728" fmla="*/ 1979349 w 7402822"/>
              <a:gd name="connsiteY11728" fmla="*/ 655735 h 4749526"/>
              <a:gd name="connsiteX11729" fmla="*/ 1988456 w 7402822"/>
              <a:gd name="connsiteY11729" fmla="*/ 646627 h 4749526"/>
              <a:gd name="connsiteX11730" fmla="*/ 1997564 w 7402822"/>
              <a:gd name="connsiteY11730" fmla="*/ 646627 h 4749526"/>
              <a:gd name="connsiteX11731" fmla="*/ 2003636 w 7402822"/>
              <a:gd name="connsiteY11731" fmla="*/ 646627 h 4749526"/>
              <a:gd name="connsiteX11732" fmla="*/ 2006672 w 7402822"/>
              <a:gd name="connsiteY11732" fmla="*/ 637520 h 4749526"/>
              <a:gd name="connsiteX11733" fmla="*/ 2018815 w 7402822"/>
              <a:gd name="connsiteY11733" fmla="*/ 634485 h 4749526"/>
              <a:gd name="connsiteX11734" fmla="*/ 2043101 w 7402822"/>
              <a:gd name="connsiteY11734" fmla="*/ 616269 h 4749526"/>
              <a:gd name="connsiteX11735" fmla="*/ 2040066 w 7402822"/>
              <a:gd name="connsiteY11735" fmla="*/ 616269 h 4749526"/>
              <a:gd name="connsiteX11736" fmla="*/ 2043101 w 7402822"/>
              <a:gd name="connsiteY11736" fmla="*/ 607162 h 4749526"/>
              <a:gd name="connsiteX11737" fmla="*/ 2052208 w 7402822"/>
              <a:gd name="connsiteY11737" fmla="*/ 601090 h 4749526"/>
              <a:gd name="connsiteX11738" fmla="*/ 2070424 w 7402822"/>
              <a:gd name="connsiteY11738" fmla="*/ 595019 h 4749526"/>
              <a:gd name="connsiteX11739" fmla="*/ 2085603 w 7402822"/>
              <a:gd name="connsiteY11739" fmla="*/ 591983 h 4749526"/>
              <a:gd name="connsiteX11740" fmla="*/ 2097745 w 7402822"/>
              <a:gd name="connsiteY11740" fmla="*/ 595019 h 4749526"/>
              <a:gd name="connsiteX11741" fmla="*/ 2106853 w 7402822"/>
              <a:gd name="connsiteY11741" fmla="*/ 591983 h 4749526"/>
              <a:gd name="connsiteX11742" fmla="*/ 2122032 w 7402822"/>
              <a:gd name="connsiteY11742" fmla="*/ 561625 h 4749526"/>
              <a:gd name="connsiteX11743" fmla="*/ 2128104 w 7402822"/>
              <a:gd name="connsiteY11743" fmla="*/ 540375 h 4749526"/>
              <a:gd name="connsiteX11744" fmla="*/ 2125068 w 7402822"/>
              <a:gd name="connsiteY11744" fmla="*/ 513052 h 4749526"/>
              <a:gd name="connsiteX11745" fmla="*/ 2122032 w 7402822"/>
              <a:gd name="connsiteY11745" fmla="*/ 491801 h 4749526"/>
              <a:gd name="connsiteX11746" fmla="*/ 2094710 w 7402822"/>
              <a:gd name="connsiteY11746" fmla="*/ 488766 h 4749526"/>
              <a:gd name="connsiteX11747" fmla="*/ 2082566 w 7402822"/>
              <a:gd name="connsiteY11747" fmla="*/ 485729 h 4749526"/>
              <a:gd name="connsiteX11748" fmla="*/ 2073459 w 7402822"/>
              <a:gd name="connsiteY11748" fmla="*/ 470551 h 4749526"/>
              <a:gd name="connsiteX11749" fmla="*/ 2073459 w 7402822"/>
              <a:gd name="connsiteY11749" fmla="*/ 452336 h 4749526"/>
              <a:gd name="connsiteX11750" fmla="*/ 2100782 w 7402822"/>
              <a:gd name="connsiteY11750" fmla="*/ 415907 h 4749526"/>
              <a:gd name="connsiteX11751" fmla="*/ 2112925 w 7402822"/>
              <a:gd name="connsiteY11751" fmla="*/ 403763 h 4749526"/>
              <a:gd name="connsiteX11752" fmla="*/ 2125068 w 7402822"/>
              <a:gd name="connsiteY11752" fmla="*/ 388584 h 4749526"/>
              <a:gd name="connsiteX11753" fmla="*/ 2137211 w 7402822"/>
              <a:gd name="connsiteY11753" fmla="*/ 367333 h 4749526"/>
              <a:gd name="connsiteX11754" fmla="*/ 2146319 w 7402822"/>
              <a:gd name="connsiteY11754" fmla="*/ 361261 h 4749526"/>
              <a:gd name="connsiteX11755" fmla="*/ 2152390 w 7402822"/>
              <a:gd name="connsiteY11755" fmla="*/ 349118 h 4749526"/>
              <a:gd name="connsiteX11756" fmla="*/ 2161497 w 7402822"/>
              <a:gd name="connsiteY11756" fmla="*/ 343046 h 4749526"/>
              <a:gd name="connsiteX11757" fmla="*/ 2170605 w 7402822"/>
              <a:gd name="connsiteY11757" fmla="*/ 336975 h 4749526"/>
              <a:gd name="connsiteX11758" fmla="*/ 2191855 w 7402822"/>
              <a:gd name="connsiteY11758" fmla="*/ 352154 h 4749526"/>
              <a:gd name="connsiteX11759" fmla="*/ 2210071 w 7402822"/>
              <a:gd name="connsiteY11759" fmla="*/ 346083 h 4749526"/>
              <a:gd name="connsiteX11760" fmla="*/ 2207035 w 7402822"/>
              <a:gd name="connsiteY11760" fmla="*/ 303581 h 4749526"/>
              <a:gd name="connsiteX11761" fmla="*/ 2203999 w 7402822"/>
              <a:gd name="connsiteY11761" fmla="*/ 282330 h 4749526"/>
              <a:gd name="connsiteX11762" fmla="*/ 2197927 w 7402822"/>
              <a:gd name="connsiteY11762" fmla="*/ 267151 h 4749526"/>
              <a:gd name="connsiteX11763" fmla="*/ 2203999 w 7402822"/>
              <a:gd name="connsiteY11763" fmla="*/ 255008 h 4749526"/>
              <a:gd name="connsiteX11764" fmla="*/ 2228285 w 7402822"/>
              <a:gd name="connsiteY11764" fmla="*/ 236794 h 4749526"/>
              <a:gd name="connsiteX11765" fmla="*/ 2243465 w 7402822"/>
              <a:gd name="connsiteY11765" fmla="*/ 224650 h 4749526"/>
              <a:gd name="connsiteX11766" fmla="*/ 2255608 w 7402822"/>
              <a:gd name="connsiteY11766" fmla="*/ 215543 h 4749526"/>
              <a:gd name="connsiteX11767" fmla="*/ 2279895 w 7402822"/>
              <a:gd name="connsiteY11767" fmla="*/ 203399 h 4749526"/>
              <a:gd name="connsiteX11768" fmla="*/ 2337575 w 7402822"/>
              <a:gd name="connsiteY11768" fmla="*/ 176077 h 4749526"/>
              <a:gd name="connsiteX11769" fmla="*/ 2358825 w 7402822"/>
              <a:gd name="connsiteY11769" fmla="*/ 200364 h 4749526"/>
              <a:gd name="connsiteX11770" fmla="*/ 2370968 w 7402822"/>
              <a:gd name="connsiteY11770" fmla="*/ 224650 h 4749526"/>
              <a:gd name="connsiteX11771" fmla="*/ 2380076 w 7402822"/>
              <a:gd name="connsiteY11771" fmla="*/ 224650 h 4749526"/>
              <a:gd name="connsiteX11772" fmla="*/ 2410434 w 7402822"/>
              <a:gd name="connsiteY11772" fmla="*/ 242865 h 4749526"/>
              <a:gd name="connsiteX11773" fmla="*/ 2428649 w 7402822"/>
              <a:gd name="connsiteY11773" fmla="*/ 242865 h 4749526"/>
              <a:gd name="connsiteX11774" fmla="*/ 2446864 w 7402822"/>
              <a:gd name="connsiteY11774" fmla="*/ 239829 h 4749526"/>
              <a:gd name="connsiteX11775" fmla="*/ 2428649 w 7402822"/>
              <a:gd name="connsiteY11775" fmla="*/ 215543 h 4749526"/>
              <a:gd name="connsiteX11776" fmla="*/ 2410434 w 7402822"/>
              <a:gd name="connsiteY11776" fmla="*/ 151790 h 4749526"/>
              <a:gd name="connsiteX11777" fmla="*/ 2422577 w 7402822"/>
              <a:gd name="connsiteY11777" fmla="*/ 148755 h 4749526"/>
              <a:gd name="connsiteX11778" fmla="*/ 2437756 w 7402822"/>
              <a:gd name="connsiteY11778" fmla="*/ 148755 h 4749526"/>
              <a:gd name="connsiteX11779" fmla="*/ 2449900 w 7402822"/>
              <a:gd name="connsiteY11779" fmla="*/ 154827 h 4749526"/>
              <a:gd name="connsiteX11780" fmla="*/ 2459007 w 7402822"/>
              <a:gd name="connsiteY11780" fmla="*/ 166969 h 4749526"/>
              <a:gd name="connsiteX11781" fmla="*/ 2465078 w 7402822"/>
              <a:gd name="connsiteY11781" fmla="*/ 176077 h 4749526"/>
              <a:gd name="connsiteX11782" fmla="*/ 2468115 w 7402822"/>
              <a:gd name="connsiteY11782" fmla="*/ 182148 h 4749526"/>
              <a:gd name="connsiteX11783" fmla="*/ 2486329 w 7402822"/>
              <a:gd name="connsiteY11783" fmla="*/ 197327 h 4749526"/>
              <a:gd name="connsiteX11784" fmla="*/ 2510615 w 7402822"/>
              <a:gd name="connsiteY11784" fmla="*/ 215543 h 4749526"/>
              <a:gd name="connsiteX11785" fmla="*/ 2513652 w 7402822"/>
              <a:gd name="connsiteY11785" fmla="*/ 221615 h 4749526"/>
              <a:gd name="connsiteX11786" fmla="*/ 2516687 w 7402822"/>
              <a:gd name="connsiteY11786" fmla="*/ 224650 h 4749526"/>
              <a:gd name="connsiteX11787" fmla="*/ 2519724 w 7402822"/>
              <a:gd name="connsiteY11787" fmla="*/ 233757 h 4749526"/>
              <a:gd name="connsiteX11788" fmla="*/ 2531866 w 7402822"/>
              <a:gd name="connsiteY11788" fmla="*/ 255008 h 4749526"/>
              <a:gd name="connsiteX11789" fmla="*/ 2556153 w 7402822"/>
              <a:gd name="connsiteY11789" fmla="*/ 251973 h 4749526"/>
              <a:gd name="connsiteX11790" fmla="*/ 2547045 w 7402822"/>
              <a:gd name="connsiteY11790" fmla="*/ 242865 h 4749526"/>
              <a:gd name="connsiteX11791" fmla="*/ 2540974 w 7402822"/>
              <a:gd name="connsiteY11791" fmla="*/ 230722 h 4749526"/>
              <a:gd name="connsiteX11792" fmla="*/ 2540974 w 7402822"/>
              <a:gd name="connsiteY11792" fmla="*/ 209471 h 4749526"/>
              <a:gd name="connsiteX11793" fmla="*/ 2544010 w 7402822"/>
              <a:gd name="connsiteY11793" fmla="*/ 188220 h 4749526"/>
              <a:gd name="connsiteX11794" fmla="*/ 2550081 w 7402822"/>
              <a:gd name="connsiteY11794" fmla="*/ 179113 h 4749526"/>
              <a:gd name="connsiteX11795" fmla="*/ 2547045 w 7402822"/>
              <a:gd name="connsiteY11795" fmla="*/ 145719 h 4749526"/>
              <a:gd name="connsiteX11796" fmla="*/ 2544010 w 7402822"/>
              <a:gd name="connsiteY11796" fmla="*/ 139647 h 4749526"/>
              <a:gd name="connsiteX11797" fmla="*/ 2519724 w 7402822"/>
              <a:gd name="connsiteY11797" fmla="*/ 100182 h 4749526"/>
              <a:gd name="connsiteX11798" fmla="*/ 2510615 w 7402822"/>
              <a:gd name="connsiteY11798" fmla="*/ 91075 h 4749526"/>
              <a:gd name="connsiteX11799" fmla="*/ 2498473 w 7402822"/>
              <a:gd name="connsiteY11799" fmla="*/ 75896 h 4749526"/>
              <a:gd name="connsiteX11800" fmla="*/ 2522759 w 7402822"/>
              <a:gd name="connsiteY11800" fmla="*/ 51609 h 4749526"/>
              <a:gd name="connsiteX11801" fmla="*/ 2550081 w 7402822"/>
              <a:gd name="connsiteY11801" fmla="*/ 42502 h 4749526"/>
              <a:gd name="connsiteX11802" fmla="*/ 2574368 w 7402822"/>
              <a:gd name="connsiteY11802" fmla="*/ 24287 h 4749526"/>
              <a:gd name="connsiteX11803" fmla="*/ 2598655 w 7402822"/>
              <a:gd name="connsiteY11803" fmla="*/ 33394 h 4749526"/>
              <a:gd name="connsiteX11804" fmla="*/ 2632048 w 7402822"/>
              <a:gd name="connsiteY11804" fmla="*/ 75896 h 4749526"/>
              <a:gd name="connsiteX11805" fmla="*/ 2665442 w 7402822"/>
              <a:gd name="connsiteY11805" fmla="*/ 60716 h 4749526"/>
              <a:gd name="connsiteX11806" fmla="*/ 2665442 w 7402822"/>
              <a:gd name="connsiteY11806" fmla="*/ 15179 h 474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Lst>
            <a:rect l="l" t="t" r="r" b="b"/>
            <a:pathLst>
              <a:path w="7402822" h="4749526">
                <a:moveTo>
                  <a:pt x="2060994" y="4745373"/>
                </a:moveTo>
                <a:lnTo>
                  <a:pt x="2064348" y="4746491"/>
                </a:lnTo>
                <a:lnTo>
                  <a:pt x="2061312" y="4746491"/>
                </a:lnTo>
                <a:close/>
                <a:moveTo>
                  <a:pt x="2076492" y="4743454"/>
                </a:moveTo>
                <a:lnTo>
                  <a:pt x="2079527" y="4749526"/>
                </a:lnTo>
                <a:lnTo>
                  <a:pt x="2076492" y="4749526"/>
                </a:lnTo>
                <a:lnTo>
                  <a:pt x="2073456" y="4749526"/>
                </a:lnTo>
                <a:close/>
                <a:moveTo>
                  <a:pt x="2021847" y="4722204"/>
                </a:moveTo>
                <a:lnTo>
                  <a:pt x="2037026" y="4722204"/>
                </a:lnTo>
                <a:lnTo>
                  <a:pt x="2040062" y="4722204"/>
                </a:lnTo>
                <a:lnTo>
                  <a:pt x="2033991" y="4724228"/>
                </a:lnTo>
                <a:lnTo>
                  <a:pt x="2046133" y="4722204"/>
                </a:lnTo>
                <a:lnTo>
                  <a:pt x="2055241" y="4725240"/>
                </a:lnTo>
                <a:lnTo>
                  <a:pt x="2060994" y="4745373"/>
                </a:lnTo>
                <a:lnTo>
                  <a:pt x="2055241" y="4743454"/>
                </a:lnTo>
                <a:lnTo>
                  <a:pt x="2046133" y="4737384"/>
                </a:lnTo>
                <a:lnTo>
                  <a:pt x="2040062" y="4737384"/>
                </a:lnTo>
                <a:lnTo>
                  <a:pt x="2037026" y="4740419"/>
                </a:lnTo>
                <a:lnTo>
                  <a:pt x="2030954" y="4734347"/>
                </a:lnTo>
                <a:lnTo>
                  <a:pt x="2021847" y="4731312"/>
                </a:lnTo>
                <a:lnTo>
                  <a:pt x="2021847" y="4725240"/>
                </a:lnTo>
                <a:lnTo>
                  <a:pt x="2027919" y="4725240"/>
                </a:lnTo>
                <a:lnTo>
                  <a:pt x="2029943" y="4724902"/>
                </a:lnTo>
                <a:close/>
                <a:moveTo>
                  <a:pt x="2070420" y="4719168"/>
                </a:moveTo>
                <a:lnTo>
                  <a:pt x="2082563" y="4728276"/>
                </a:lnTo>
                <a:lnTo>
                  <a:pt x="2079527" y="4734347"/>
                </a:lnTo>
                <a:lnTo>
                  <a:pt x="2070420" y="4734347"/>
                </a:lnTo>
                <a:lnTo>
                  <a:pt x="2061312" y="4731312"/>
                </a:lnTo>
                <a:lnTo>
                  <a:pt x="2055241" y="4722204"/>
                </a:lnTo>
                <a:close/>
                <a:moveTo>
                  <a:pt x="2015775" y="4719168"/>
                </a:moveTo>
                <a:lnTo>
                  <a:pt x="2015775" y="4728276"/>
                </a:lnTo>
                <a:lnTo>
                  <a:pt x="2012740" y="4731312"/>
                </a:lnTo>
                <a:lnTo>
                  <a:pt x="2003633" y="4725240"/>
                </a:lnTo>
                <a:lnTo>
                  <a:pt x="2000596" y="4722204"/>
                </a:lnTo>
                <a:lnTo>
                  <a:pt x="2003633" y="4722204"/>
                </a:lnTo>
                <a:close/>
                <a:moveTo>
                  <a:pt x="1994524" y="4716133"/>
                </a:moveTo>
                <a:lnTo>
                  <a:pt x="2000596" y="4719168"/>
                </a:lnTo>
                <a:lnTo>
                  <a:pt x="1991489" y="4722204"/>
                </a:lnTo>
                <a:close/>
                <a:moveTo>
                  <a:pt x="2140244" y="4713097"/>
                </a:moveTo>
                <a:lnTo>
                  <a:pt x="2146316" y="4713097"/>
                </a:lnTo>
                <a:lnTo>
                  <a:pt x="2149352" y="4716133"/>
                </a:lnTo>
                <a:lnTo>
                  <a:pt x="2137209" y="4719168"/>
                </a:lnTo>
                <a:lnTo>
                  <a:pt x="2131137" y="4716133"/>
                </a:lnTo>
                <a:close/>
                <a:moveTo>
                  <a:pt x="2686690" y="4688810"/>
                </a:moveTo>
                <a:lnTo>
                  <a:pt x="2695797" y="4688810"/>
                </a:lnTo>
                <a:lnTo>
                  <a:pt x="2707941" y="4691846"/>
                </a:lnTo>
                <a:lnTo>
                  <a:pt x="2726155" y="4716133"/>
                </a:lnTo>
                <a:lnTo>
                  <a:pt x="2723120" y="4719168"/>
                </a:lnTo>
                <a:lnTo>
                  <a:pt x="2714012" y="4707025"/>
                </a:lnTo>
                <a:lnTo>
                  <a:pt x="2698833" y="4691846"/>
                </a:lnTo>
                <a:lnTo>
                  <a:pt x="2692762" y="4691846"/>
                </a:lnTo>
                <a:close/>
                <a:moveTo>
                  <a:pt x="1988453" y="4685774"/>
                </a:moveTo>
                <a:lnTo>
                  <a:pt x="1994524" y="4688810"/>
                </a:lnTo>
                <a:lnTo>
                  <a:pt x="2000596" y="4697918"/>
                </a:lnTo>
                <a:lnTo>
                  <a:pt x="1991489" y="4697918"/>
                </a:lnTo>
                <a:lnTo>
                  <a:pt x="1988453" y="4694882"/>
                </a:lnTo>
                <a:close/>
                <a:moveTo>
                  <a:pt x="1979346" y="4682739"/>
                </a:moveTo>
                <a:lnTo>
                  <a:pt x="1985417" y="4682739"/>
                </a:lnTo>
                <a:lnTo>
                  <a:pt x="1988453" y="4685774"/>
                </a:lnTo>
                <a:lnTo>
                  <a:pt x="1982382" y="4697918"/>
                </a:lnTo>
                <a:lnTo>
                  <a:pt x="1976310" y="4691846"/>
                </a:lnTo>
                <a:lnTo>
                  <a:pt x="1976310" y="4685774"/>
                </a:lnTo>
                <a:close/>
                <a:moveTo>
                  <a:pt x="2012740" y="4673631"/>
                </a:moveTo>
                <a:lnTo>
                  <a:pt x="2012740" y="4682739"/>
                </a:lnTo>
                <a:lnTo>
                  <a:pt x="2015775" y="4688810"/>
                </a:lnTo>
                <a:lnTo>
                  <a:pt x="2009703" y="4694882"/>
                </a:lnTo>
                <a:lnTo>
                  <a:pt x="2006668" y="4691846"/>
                </a:lnTo>
                <a:lnTo>
                  <a:pt x="2003633" y="4685774"/>
                </a:lnTo>
                <a:lnTo>
                  <a:pt x="2006668" y="4679703"/>
                </a:lnTo>
                <a:close/>
                <a:moveTo>
                  <a:pt x="1961131" y="4667560"/>
                </a:moveTo>
                <a:lnTo>
                  <a:pt x="1976310" y="4679703"/>
                </a:lnTo>
                <a:lnTo>
                  <a:pt x="1970238" y="4688810"/>
                </a:lnTo>
                <a:lnTo>
                  <a:pt x="1964167" y="4691846"/>
                </a:lnTo>
                <a:lnTo>
                  <a:pt x="1961131" y="4688810"/>
                </a:lnTo>
                <a:lnTo>
                  <a:pt x="1967203" y="4682739"/>
                </a:lnTo>
                <a:lnTo>
                  <a:pt x="1958095" y="4682739"/>
                </a:lnTo>
                <a:lnTo>
                  <a:pt x="1958095" y="4688810"/>
                </a:lnTo>
                <a:lnTo>
                  <a:pt x="1948988" y="4673631"/>
                </a:lnTo>
                <a:close/>
                <a:moveTo>
                  <a:pt x="1924701" y="4643274"/>
                </a:moveTo>
                <a:lnTo>
                  <a:pt x="1936844" y="4652381"/>
                </a:lnTo>
                <a:lnTo>
                  <a:pt x="1945952" y="4655416"/>
                </a:lnTo>
                <a:lnTo>
                  <a:pt x="1952023" y="4658453"/>
                </a:lnTo>
                <a:lnTo>
                  <a:pt x="1958095" y="4664524"/>
                </a:lnTo>
                <a:lnTo>
                  <a:pt x="1948988" y="4664524"/>
                </a:lnTo>
                <a:lnTo>
                  <a:pt x="1933809" y="4655416"/>
                </a:lnTo>
                <a:lnTo>
                  <a:pt x="1927737" y="4649344"/>
                </a:lnTo>
                <a:close/>
                <a:moveTo>
                  <a:pt x="2030954" y="4640237"/>
                </a:moveTo>
                <a:lnTo>
                  <a:pt x="2049169" y="4640237"/>
                </a:lnTo>
                <a:lnTo>
                  <a:pt x="2049169" y="4659558"/>
                </a:lnTo>
                <a:lnTo>
                  <a:pt x="2049170" y="4659559"/>
                </a:lnTo>
                <a:lnTo>
                  <a:pt x="2049170" y="4640237"/>
                </a:lnTo>
                <a:lnTo>
                  <a:pt x="2052206" y="4649344"/>
                </a:lnTo>
                <a:lnTo>
                  <a:pt x="2052206" y="4658453"/>
                </a:lnTo>
                <a:lnTo>
                  <a:pt x="2055242" y="4667560"/>
                </a:lnTo>
                <a:lnTo>
                  <a:pt x="2067385" y="4679703"/>
                </a:lnTo>
                <a:lnTo>
                  <a:pt x="2073457" y="4685774"/>
                </a:lnTo>
                <a:lnTo>
                  <a:pt x="2079528" y="4691846"/>
                </a:lnTo>
                <a:lnTo>
                  <a:pt x="2088636" y="4697918"/>
                </a:lnTo>
                <a:lnTo>
                  <a:pt x="2094707" y="4703989"/>
                </a:lnTo>
                <a:lnTo>
                  <a:pt x="2100779" y="4707025"/>
                </a:lnTo>
                <a:lnTo>
                  <a:pt x="2112923" y="4710061"/>
                </a:lnTo>
                <a:lnTo>
                  <a:pt x="2122030" y="4710061"/>
                </a:lnTo>
                <a:lnTo>
                  <a:pt x="2118993" y="4722204"/>
                </a:lnTo>
                <a:lnTo>
                  <a:pt x="2106851" y="4722204"/>
                </a:lnTo>
                <a:lnTo>
                  <a:pt x="2088636" y="4722204"/>
                </a:lnTo>
                <a:lnTo>
                  <a:pt x="2073457" y="4719168"/>
                </a:lnTo>
                <a:lnTo>
                  <a:pt x="2049170" y="4716133"/>
                </a:lnTo>
                <a:lnTo>
                  <a:pt x="2049170" y="4715373"/>
                </a:lnTo>
                <a:lnTo>
                  <a:pt x="2049169" y="4715370"/>
                </a:lnTo>
                <a:lnTo>
                  <a:pt x="2049169" y="4716133"/>
                </a:lnTo>
                <a:lnTo>
                  <a:pt x="2049169" y="4719168"/>
                </a:lnTo>
                <a:lnTo>
                  <a:pt x="2040062" y="4722204"/>
                </a:lnTo>
                <a:lnTo>
                  <a:pt x="2027919" y="4713097"/>
                </a:lnTo>
                <a:lnTo>
                  <a:pt x="2006668" y="4713097"/>
                </a:lnTo>
                <a:lnTo>
                  <a:pt x="2000596" y="4713097"/>
                </a:lnTo>
                <a:lnTo>
                  <a:pt x="1994524" y="4707025"/>
                </a:lnTo>
                <a:lnTo>
                  <a:pt x="1988453" y="4707025"/>
                </a:lnTo>
                <a:lnTo>
                  <a:pt x="1985417" y="4700954"/>
                </a:lnTo>
                <a:lnTo>
                  <a:pt x="2033991" y="4700954"/>
                </a:lnTo>
                <a:lnTo>
                  <a:pt x="2033991" y="4707025"/>
                </a:lnTo>
                <a:lnTo>
                  <a:pt x="2040062" y="4707025"/>
                </a:lnTo>
                <a:lnTo>
                  <a:pt x="2040062" y="4700954"/>
                </a:lnTo>
                <a:lnTo>
                  <a:pt x="2027919" y="4694882"/>
                </a:lnTo>
                <a:lnTo>
                  <a:pt x="2018812" y="4688810"/>
                </a:lnTo>
                <a:lnTo>
                  <a:pt x="2018812" y="4679703"/>
                </a:lnTo>
                <a:lnTo>
                  <a:pt x="2021847" y="4676667"/>
                </a:lnTo>
                <a:lnTo>
                  <a:pt x="2033991" y="4670595"/>
                </a:lnTo>
                <a:lnTo>
                  <a:pt x="2033991" y="4664524"/>
                </a:lnTo>
                <a:lnTo>
                  <a:pt x="2021847" y="4664524"/>
                </a:lnTo>
                <a:lnTo>
                  <a:pt x="2015775" y="4670595"/>
                </a:lnTo>
                <a:lnTo>
                  <a:pt x="2012740" y="4664524"/>
                </a:lnTo>
                <a:lnTo>
                  <a:pt x="2012740" y="4655416"/>
                </a:lnTo>
                <a:lnTo>
                  <a:pt x="2021847" y="4649344"/>
                </a:lnTo>
                <a:close/>
                <a:moveTo>
                  <a:pt x="1921665" y="4606844"/>
                </a:moveTo>
                <a:lnTo>
                  <a:pt x="1921665" y="4618986"/>
                </a:lnTo>
                <a:lnTo>
                  <a:pt x="1918630" y="4622023"/>
                </a:lnTo>
                <a:lnTo>
                  <a:pt x="1918630" y="4609879"/>
                </a:lnTo>
                <a:close/>
                <a:moveTo>
                  <a:pt x="2249533" y="4597736"/>
                </a:moveTo>
                <a:lnTo>
                  <a:pt x="2255605" y="4597736"/>
                </a:lnTo>
                <a:lnTo>
                  <a:pt x="2261677" y="4597736"/>
                </a:lnTo>
                <a:lnTo>
                  <a:pt x="2264712" y="4597736"/>
                </a:lnTo>
                <a:lnTo>
                  <a:pt x="2273820" y="4600772"/>
                </a:lnTo>
                <a:lnTo>
                  <a:pt x="2273820" y="4609879"/>
                </a:lnTo>
                <a:lnTo>
                  <a:pt x="2267748" y="4609879"/>
                </a:lnTo>
                <a:lnTo>
                  <a:pt x="2261677" y="4612915"/>
                </a:lnTo>
                <a:lnTo>
                  <a:pt x="2258641" y="4618986"/>
                </a:lnTo>
                <a:lnTo>
                  <a:pt x="2246498" y="4628095"/>
                </a:lnTo>
                <a:lnTo>
                  <a:pt x="2240426" y="4631130"/>
                </a:lnTo>
                <a:lnTo>
                  <a:pt x="2234354" y="4625058"/>
                </a:lnTo>
                <a:lnTo>
                  <a:pt x="2240426" y="4612915"/>
                </a:lnTo>
                <a:lnTo>
                  <a:pt x="2246498" y="4612915"/>
                </a:lnTo>
                <a:lnTo>
                  <a:pt x="2249533" y="4612915"/>
                </a:lnTo>
                <a:lnTo>
                  <a:pt x="2249533" y="4603807"/>
                </a:lnTo>
                <a:close/>
                <a:moveTo>
                  <a:pt x="2216140" y="4597736"/>
                </a:moveTo>
                <a:lnTo>
                  <a:pt x="2219175" y="4600772"/>
                </a:lnTo>
                <a:lnTo>
                  <a:pt x="2240426" y="4600772"/>
                </a:lnTo>
                <a:lnTo>
                  <a:pt x="2240426" y="4597736"/>
                </a:lnTo>
                <a:lnTo>
                  <a:pt x="2243462" y="4600772"/>
                </a:lnTo>
                <a:lnTo>
                  <a:pt x="2240426" y="4603807"/>
                </a:lnTo>
                <a:lnTo>
                  <a:pt x="2237391" y="4606844"/>
                </a:lnTo>
                <a:lnTo>
                  <a:pt x="2234354" y="4612915"/>
                </a:lnTo>
                <a:lnTo>
                  <a:pt x="2219175" y="4625058"/>
                </a:lnTo>
                <a:lnTo>
                  <a:pt x="2216140" y="4628095"/>
                </a:lnTo>
                <a:lnTo>
                  <a:pt x="2207033" y="4622023"/>
                </a:lnTo>
                <a:lnTo>
                  <a:pt x="2216140" y="4618986"/>
                </a:lnTo>
                <a:lnTo>
                  <a:pt x="2219175" y="4612915"/>
                </a:lnTo>
                <a:lnTo>
                  <a:pt x="2225247" y="4609879"/>
                </a:lnTo>
                <a:lnTo>
                  <a:pt x="2216140" y="4600772"/>
                </a:lnTo>
                <a:close/>
                <a:moveTo>
                  <a:pt x="1921665" y="4591664"/>
                </a:moveTo>
                <a:lnTo>
                  <a:pt x="1927737" y="4594700"/>
                </a:lnTo>
                <a:lnTo>
                  <a:pt x="1918630" y="4600772"/>
                </a:lnTo>
                <a:close/>
                <a:moveTo>
                  <a:pt x="1924701" y="4576485"/>
                </a:moveTo>
                <a:lnTo>
                  <a:pt x="1930772" y="4582557"/>
                </a:lnTo>
                <a:lnTo>
                  <a:pt x="1930772" y="4588629"/>
                </a:lnTo>
                <a:lnTo>
                  <a:pt x="1921665" y="4588629"/>
                </a:lnTo>
                <a:close/>
                <a:moveTo>
                  <a:pt x="6892807" y="4573449"/>
                </a:moveTo>
                <a:lnTo>
                  <a:pt x="6895842" y="4573449"/>
                </a:lnTo>
                <a:lnTo>
                  <a:pt x="6895842" y="4582556"/>
                </a:lnTo>
                <a:lnTo>
                  <a:pt x="6889770" y="4582556"/>
                </a:lnTo>
                <a:close/>
                <a:moveTo>
                  <a:pt x="1909523" y="4570414"/>
                </a:moveTo>
                <a:lnTo>
                  <a:pt x="1915593" y="4570414"/>
                </a:lnTo>
                <a:lnTo>
                  <a:pt x="1912558" y="4579521"/>
                </a:lnTo>
                <a:lnTo>
                  <a:pt x="1909523" y="4576485"/>
                </a:lnTo>
                <a:close/>
                <a:moveTo>
                  <a:pt x="1927737" y="4567378"/>
                </a:moveTo>
                <a:lnTo>
                  <a:pt x="1933809" y="4576485"/>
                </a:lnTo>
                <a:lnTo>
                  <a:pt x="1933809" y="4582557"/>
                </a:lnTo>
                <a:lnTo>
                  <a:pt x="1927737" y="4576485"/>
                </a:lnTo>
                <a:close/>
                <a:moveTo>
                  <a:pt x="1909523" y="4555234"/>
                </a:moveTo>
                <a:lnTo>
                  <a:pt x="1915593" y="4555234"/>
                </a:lnTo>
                <a:lnTo>
                  <a:pt x="1921665" y="4558271"/>
                </a:lnTo>
                <a:lnTo>
                  <a:pt x="1915593" y="4564342"/>
                </a:lnTo>
                <a:lnTo>
                  <a:pt x="1909523" y="4564342"/>
                </a:lnTo>
                <a:lnTo>
                  <a:pt x="1909523" y="4558271"/>
                </a:lnTo>
                <a:close/>
                <a:moveTo>
                  <a:pt x="1909523" y="4543092"/>
                </a:moveTo>
                <a:lnTo>
                  <a:pt x="1915593" y="4549163"/>
                </a:lnTo>
                <a:lnTo>
                  <a:pt x="1912558" y="4549163"/>
                </a:lnTo>
                <a:lnTo>
                  <a:pt x="1906486" y="4546127"/>
                </a:lnTo>
                <a:close/>
                <a:moveTo>
                  <a:pt x="1924701" y="4512734"/>
                </a:moveTo>
                <a:lnTo>
                  <a:pt x="1927737" y="4527913"/>
                </a:lnTo>
                <a:lnTo>
                  <a:pt x="1930772" y="4540055"/>
                </a:lnTo>
                <a:lnTo>
                  <a:pt x="1924701" y="4555234"/>
                </a:lnTo>
                <a:lnTo>
                  <a:pt x="1918630" y="4546127"/>
                </a:lnTo>
                <a:lnTo>
                  <a:pt x="1912558" y="4540055"/>
                </a:lnTo>
                <a:lnTo>
                  <a:pt x="1918630" y="4524876"/>
                </a:lnTo>
                <a:close/>
                <a:moveTo>
                  <a:pt x="1924701" y="4494518"/>
                </a:moveTo>
                <a:lnTo>
                  <a:pt x="1927737" y="4506662"/>
                </a:lnTo>
                <a:lnTo>
                  <a:pt x="1927737" y="4509697"/>
                </a:lnTo>
                <a:lnTo>
                  <a:pt x="1918630" y="4506662"/>
                </a:lnTo>
                <a:close/>
                <a:moveTo>
                  <a:pt x="1906486" y="4491483"/>
                </a:moveTo>
                <a:lnTo>
                  <a:pt x="1912558" y="4491483"/>
                </a:lnTo>
                <a:lnTo>
                  <a:pt x="1915593" y="4506662"/>
                </a:lnTo>
                <a:lnTo>
                  <a:pt x="1912558" y="4512734"/>
                </a:lnTo>
                <a:lnTo>
                  <a:pt x="1909523" y="4506662"/>
                </a:lnTo>
                <a:lnTo>
                  <a:pt x="1906486" y="4500590"/>
                </a:lnTo>
                <a:close/>
                <a:moveTo>
                  <a:pt x="1921665" y="4485411"/>
                </a:moveTo>
                <a:lnTo>
                  <a:pt x="1918630" y="4491483"/>
                </a:lnTo>
                <a:lnTo>
                  <a:pt x="1912558" y="4491483"/>
                </a:lnTo>
                <a:lnTo>
                  <a:pt x="1915593" y="4488447"/>
                </a:lnTo>
                <a:close/>
                <a:moveTo>
                  <a:pt x="6932272" y="4452016"/>
                </a:moveTo>
                <a:lnTo>
                  <a:pt x="6935307" y="4464160"/>
                </a:lnTo>
                <a:lnTo>
                  <a:pt x="6923165" y="4470232"/>
                </a:lnTo>
                <a:lnTo>
                  <a:pt x="6923165" y="4467195"/>
                </a:lnTo>
                <a:lnTo>
                  <a:pt x="6926201" y="4455053"/>
                </a:lnTo>
                <a:close/>
                <a:moveTo>
                  <a:pt x="1915593" y="4424694"/>
                </a:moveTo>
                <a:lnTo>
                  <a:pt x="1921665" y="4424694"/>
                </a:lnTo>
                <a:lnTo>
                  <a:pt x="1921665" y="4430766"/>
                </a:lnTo>
                <a:lnTo>
                  <a:pt x="1915593" y="4433803"/>
                </a:lnTo>
                <a:close/>
                <a:moveTo>
                  <a:pt x="1939880" y="4400408"/>
                </a:moveTo>
                <a:lnTo>
                  <a:pt x="1945952" y="4403445"/>
                </a:lnTo>
                <a:lnTo>
                  <a:pt x="1942916" y="4409515"/>
                </a:lnTo>
                <a:lnTo>
                  <a:pt x="1933809" y="4406480"/>
                </a:lnTo>
                <a:close/>
                <a:moveTo>
                  <a:pt x="1930772" y="4391301"/>
                </a:moveTo>
                <a:lnTo>
                  <a:pt x="1939880" y="4391301"/>
                </a:lnTo>
                <a:lnTo>
                  <a:pt x="1933809" y="4397373"/>
                </a:lnTo>
                <a:close/>
                <a:moveTo>
                  <a:pt x="7254067" y="4363978"/>
                </a:moveTo>
                <a:lnTo>
                  <a:pt x="7260139" y="4363978"/>
                </a:lnTo>
                <a:lnTo>
                  <a:pt x="7254067" y="4367014"/>
                </a:lnTo>
                <a:lnTo>
                  <a:pt x="7254067" y="4370050"/>
                </a:lnTo>
                <a:lnTo>
                  <a:pt x="7254067" y="4376122"/>
                </a:lnTo>
                <a:lnTo>
                  <a:pt x="7247995" y="4373085"/>
                </a:lnTo>
                <a:lnTo>
                  <a:pt x="7251032" y="4370050"/>
                </a:lnTo>
                <a:lnTo>
                  <a:pt x="7247995" y="4367014"/>
                </a:lnTo>
                <a:close/>
                <a:moveTo>
                  <a:pt x="1939880" y="4312370"/>
                </a:moveTo>
                <a:lnTo>
                  <a:pt x="1948988" y="4312370"/>
                </a:lnTo>
                <a:lnTo>
                  <a:pt x="1952023" y="4321477"/>
                </a:lnTo>
                <a:lnTo>
                  <a:pt x="1948988" y="4324514"/>
                </a:lnTo>
                <a:lnTo>
                  <a:pt x="1942916" y="4330584"/>
                </a:lnTo>
                <a:lnTo>
                  <a:pt x="1948988" y="4339692"/>
                </a:lnTo>
                <a:lnTo>
                  <a:pt x="1948988" y="4345764"/>
                </a:lnTo>
                <a:lnTo>
                  <a:pt x="1948988" y="4351835"/>
                </a:lnTo>
                <a:lnTo>
                  <a:pt x="1939880" y="4354871"/>
                </a:lnTo>
                <a:lnTo>
                  <a:pt x="1933809" y="4351835"/>
                </a:lnTo>
                <a:lnTo>
                  <a:pt x="1933809" y="4345764"/>
                </a:lnTo>
                <a:lnTo>
                  <a:pt x="1936844" y="4324514"/>
                </a:lnTo>
                <a:close/>
                <a:moveTo>
                  <a:pt x="6452614" y="4282012"/>
                </a:moveTo>
                <a:lnTo>
                  <a:pt x="6461721" y="4285047"/>
                </a:lnTo>
                <a:lnTo>
                  <a:pt x="6473865" y="4291119"/>
                </a:lnTo>
                <a:lnTo>
                  <a:pt x="6486007" y="4294154"/>
                </a:lnTo>
                <a:lnTo>
                  <a:pt x="6498151" y="4291119"/>
                </a:lnTo>
                <a:lnTo>
                  <a:pt x="6519401" y="4282012"/>
                </a:lnTo>
                <a:lnTo>
                  <a:pt x="6525473" y="4285047"/>
                </a:lnTo>
                <a:lnTo>
                  <a:pt x="6525473" y="4294154"/>
                </a:lnTo>
                <a:lnTo>
                  <a:pt x="6525473" y="4312369"/>
                </a:lnTo>
                <a:lnTo>
                  <a:pt x="6522437" y="4318441"/>
                </a:lnTo>
                <a:lnTo>
                  <a:pt x="6519401" y="4324513"/>
                </a:lnTo>
                <a:lnTo>
                  <a:pt x="6516365" y="4336656"/>
                </a:lnTo>
                <a:lnTo>
                  <a:pt x="6510294" y="4339692"/>
                </a:lnTo>
                <a:lnTo>
                  <a:pt x="6507259" y="4342727"/>
                </a:lnTo>
                <a:lnTo>
                  <a:pt x="6504223" y="4351835"/>
                </a:lnTo>
                <a:lnTo>
                  <a:pt x="6492079" y="4360943"/>
                </a:lnTo>
                <a:lnTo>
                  <a:pt x="6486007" y="4357906"/>
                </a:lnTo>
                <a:lnTo>
                  <a:pt x="6479935" y="4357906"/>
                </a:lnTo>
                <a:lnTo>
                  <a:pt x="6467793" y="4342727"/>
                </a:lnTo>
                <a:lnTo>
                  <a:pt x="6461721" y="4324513"/>
                </a:lnTo>
                <a:lnTo>
                  <a:pt x="6464757" y="4321477"/>
                </a:lnTo>
                <a:lnTo>
                  <a:pt x="6461721" y="4315405"/>
                </a:lnTo>
                <a:lnTo>
                  <a:pt x="6452614" y="4300226"/>
                </a:lnTo>
                <a:lnTo>
                  <a:pt x="6449577" y="4285047"/>
                </a:lnTo>
                <a:close/>
                <a:moveTo>
                  <a:pt x="7029417" y="4275940"/>
                </a:moveTo>
                <a:lnTo>
                  <a:pt x="7029417" y="4282012"/>
                </a:lnTo>
                <a:lnTo>
                  <a:pt x="7035489" y="4294154"/>
                </a:lnTo>
                <a:lnTo>
                  <a:pt x="7038525" y="4297191"/>
                </a:lnTo>
                <a:lnTo>
                  <a:pt x="7044597" y="4294154"/>
                </a:lnTo>
                <a:lnTo>
                  <a:pt x="7050669" y="4288083"/>
                </a:lnTo>
                <a:lnTo>
                  <a:pt x="7053704" y="4294154"/>
                </a:lnTo>
                <a:lnTo>
                  <a:pt x="7059775" y="4288083"/>
                </a:lnTo>
                <a:lnTo>
                  <a:pt x="7062812" y="4291119"/>
                </a:lnTo>
                <a:lnTo>
                  <a:pt x="7062812" y="4297191"/>
                </a:lnTo>
                <a:lnTo>
                  <a:pt x="7059775" y="4306298"/>
                </a:lnTo>
                <a:lnTo>
                  <a:pt x="7056741" y="4309334"/>
                </a:lnTo>
                <a:lnTo>
                  <a:pt x="7056741" y="4315405"/>
                </a:lnTo>
                <a:lnTo>
                  <a:pt x="7044597" y="4339692"/>
                </a:lnTo>
                <a:lnTo>
                  <a:pt x="7029417" y="4354871"/>
                </a:lnTo>
                <a:lnTo>
                  <a:pt x="7038525" y="4363978"/>
                </a:lnTo>
                <a:lnTo>
                  <a:pt x="7035489" y="4367014"/>
                </a:lnTo>
                <a:lnTo>
                  <a:pt x="7026382" y="4367014"/>
                </a:lnTo>
                <a:lnTo>
                  <a:pt x="7020310" y="4370050"/>
                </a:lnTo>
                <a:lnTo>
                  <a:pt x="7014239" y="4373085"/>
                </a:lnTo>
                <a:lnTo>
                  <a:pt x="7005131" y="4376122"/>
                </a:lnTo>
                <a:lnTo>
                  <a:pt x="7005131" y="4382193"/>
                </a:lnTo>
                <a:lnTo>
                  <a:pt x="6999059" y="4397372"/>
                </a:lnTo>
                <a:lnTo>
                  <a:pt x="6992989" y="4409515"/>
                </a:lnTo>
                <a:lnTo>
                  <a:pt x="6983880" y="4430766"/>
                </a:lnTo>
                <a:lnTo>
                  <a:pt x="6968701" y="4445945"/>
                </a:lnTo>
                <a:lnTo>
                  <a:pt x="6962631" y="4448981"/>
                </a:lnTo>
                <a:lnTo>
                  <a:pt x="6950487" y="4452016"/>
                </a:lnTo>
                <a:lnTo>
                  <a:pt x="6941379" y="4445945"/>
                </a:lnTo>
                <a:lnTo>
                  <a:pt x="6932272" y="4439874"/>
                </a:lnTo>
                <a:lnTo>
                  <a:pt x="6923165" y="4436837"/>
                </a:lnTo>
                <a:lnTo>
                  <a:pt x="6917093" y="4439874"/>
                </a:lnTo>
                <a:lnTo>
                  <a:pt x="6907986" y="4436837"/>
                </a:lnTo>
                <a:lnTo>
                  <a:pt x="6904949" y="4430766"/>
                </a:lnTo>
                <a:lnTo>
                  <a:pt x="6907986" y="4430766"/>
                </a:lnTo>
                <a:lnTo>
                  <a:pt x="6907986" y="4421659"/>
                </a:lnTo>
                <a:lnTo>
                  <a:pt x="6907986" y="4412551"/>
                </a:lnTo>
                <a:lnTo>
                  <a:pt x="6914057" y="4403444"/>
                </a:lnTo>
                <a:lnTo>
                  <a:pt x="6917093" y="4400408"/>
                </a:lnTo>
                <a:lnTo>
                  <a:pt x="6920129" y="4397372"/>
                </a:lnTo>
                <a:lnTo>
                  <a:pt x="6926201" y="4391301"/>
                </a:lnTo>
                <a:lnTo>
                  <a:pt x="6935307" y="4379157"/>
                </a:lnTo>
                <a:lnTo>
                  <a:pt x="6941379" y="4376122"/>
                </a:lnTo>
                <a:lnTo>
                  <a:pt x="6962631" y="4363978"/>
                </a:lnTo>
                <a:lnTo>
                  <a:pt x="6968701" y="4357906"/>
                </a:lnTo>
                <a:lnTo>
                  <a:pt x="6974773" y="4354871"/>
                </a:lnTo>
                <a:lnTo>
                  <a:pt x="6986917" y="4342727"/>
                </a:lnTo>
                <a:lnTo>
                  <a:pt x="6992989" y="4339692"/>
                </a:lnTo>
                <a:lnTo>
                  <a:pt x="6999059" y="4330584"/>
                </a:lnTo>
                <a:lnTo>
                  <a:pt x="7005131" y="4309334"/>
                </a:lnTo>
                <a:lnTo>
                  <a:pt x="7011203" y="4309334"/>
                </a:lnTo>
                <a:lnTo>
                  <a:pt x="7014239" y="4300226"/>
                </a:lnTo>
                <a:lnTo>
                  <a:pt x="7017275" y="4291119"/>
                </a:lnTo>
                <a:lnTo>
                  <a:pt x="7020310" y="4282012"/>
                </a:lnTo>
                <a:close/>
                <a:moveTo>
                  <a:pt x="6519401" y="4254689"/>
                </a:moveTo>
                <a:lnTo>
                  <a:pt x="6525473" y="4260761"/>
                </a:lnTo>
                <a:lnTo>
                  <a:pt x="6525473" y="4266833"/>
                </a:lnTo>
                <a:lnTo>
                  <a:pt x="6522437" y="4269868"/>
                </a:lnTo>
                <a:lnTo>
                  <a:pt x="6519401" y="4263796"/>
                </a:lnTo>
                <a:lnTo>
                  <a:pt x="6516365" y="4260761"/>
                </a:lnTo>
                <a:lnTo>
                  <a:pt x="6516365" y="4257724"/>
                </a:lnTo>
                <a:close/>
                <a:moveTo>
                  <a:pt x="6440471" y="4251654"/>
                </a:moveTo>
                <a:lnTo>
                  <a:pt x="6440471" y="4260761"/>
                </a:lnTo>
                <a:lnTo>
                  <a:pt x="6434399" y="4263796"/>
                </a:lnTo>
                <a:lnTo>
                  <a:pt x="6434399" y="4254689"/>
                </a:lnTo>
                <a:close/>
                <a:moveTo>
                  <a:pt x="6294752" y="4148435"/>
                </a:moveTo>
                <a:lnTo>
                  <a:pt x="6306895" y="4148435"/>
                </a:lnTo>
                <a:lnTo>
                  <a:pt x="6316002" y="4151472"/>
                </a:lnTo>
                <a:lnTo>
                  <a:pt x="6312967" y="4157543"/>
                </a:lnTo>
                <a:lnTo>
                  <a:pt x="6300823" y="4160579"/>
                </a:lnTo>
                <a:lnTo>
                  <a:pt x="6297787" y="4157543"/>
                </a:lnTo>
                <a:lnTo>
                  <a:pt x="6291716" y="4157543"/>
                </a:lnTo>
                <a:lnTo>
                  <a:pt x="6288681" y="4157543"/>
                </a:lnTo>
                <a:lnTo>
                  <a:pt x="6282609" y="4154507"/>
                </a:lnTo>
                <a:lnTo>
                  <a:pt x="6285644" y="4151472"/>
                </a:lnTo>
                <a:close/>
                <a:moveTo>
                  <a:pt x="7038525" y="4130221"/>
                </a:moveTo>
                <a:lnTo>
                  <a:pt x="7053704" y="4130221"/>
                </a:lnTo>
                <a:lnTo>
                  <a:pt x="7059775" y="4136293"/>
                </a:lnTo>
                <a:lnTo>
                  <a:pt x="7062812" y="4139328"/>
                </a:lnTo>
                <a:lnTo>
                  <a:pt x="7065847" y="4145400"/>
                </a:lnTo>
                <a:lnTo>
                  <a:pt x="7068883" y="4148435"/>
                </a:lnTo>
                <a:lnTo>
                  <a:pt x="7065847" y="4151472"/>
                </a:lnTo>
                <a:lnTo>
                  <a:pt x="7065847" y="4154507"/>
                </a:lnTo>
                <a:lnTo>
                  <a:pt x="7071919" y="4166651"/>
                </a:lnTo>
                <a:lnTo>
                  <a:pt x="7071919" y="4175758"/>
                </a:lnTo>
                <a:lnTo>
                  <a:pt x="7081027" y="4181830"/>
                </a:lnTo>
                <a:lnTo>
                  <a:pt x="7084062" y="4187901"/>
                </a:lnTo>
                <a:lnTo>
                  <a:pt x="7087099" y="4187901"/>
                </a:lnTo>
                <a:lnTo>
                  <a:pt x="7090134" y="4187901"/>
                </a:lnTo>
                <a:lnTo>
                  <a:pt x="7087099" y="4178793"/>
                </a:lnTo>
                <a:lnTo>
                  <a:pt x="7084062" y="4169686"/>
                </a:lnTo>
                <a:lnTo>
                  <a:pt x="7090134" y="4172723"/>
                </a:lnTo>
                <a:lnTo>
                  <a:pt x="7096205" y="4178793"/>
                </a:lnTo>
                <a:lnTo>
                  <a:pt x="7096205" y="4190937"/>
                </a:lnTo>
                <a:lnTo>
                  <a:pt x="7099241" y="4197009"/>
                </a:lnTo>
                <a:lnTo>
                  <a:pt x="7108349" y="4203080"/>
                </a:lnTo>
                <a:lnTo>
                  <a:pt x="7120492" y="4209152"/>
                </a:lnTo>
                <a:lnTo>
                  <a:pt x="7129599" y="4206116"/>
                </a:lnTo>
                <a:lnTo>
                  <a:pt x="7132635" y="4200044"/>
                </a:lnTo>
                <a:lnTo>
                  <a:pt x="7138707" y="4197009"/>
                </a:lnTo>
                <a:lnTo>
                  <a:pt x="7147814" y="4200044"/>
                </a:lnTo>
                <a:lnTo>
                  <a:pt x="7147814" y="4212188"/>
                </a:lnTo>
                <a:lnTo>
                  <a:pt x="7141743" y="4227367"/>
                </a:lnTo>
                <a:lnTo>
                  <a:pt x="7135671" y="4236474"/>
                </a:lnTo>
                <a:lnTo>
                  <a:pt x="7132635" y="4236474"/>
                </a:lnTo>
                <a:lnTo>
                  <a:pt x="7120492" y="4239510"/>
                </a:lnTo>
                <a:lnTo>
                  <a:pt x="7117457" y="4254689"/>
                </a:lnTo>
                <a:lnTo>
                  <a:pt x="7120492" y="4251654"/>
                </a:lnTo>
                <a:lnTo>
                  <a:pt x="7120492" y="4257724"/>
                </a:lnTo>
                <a:lnTo>
                  <a:pt x="7114420" y="4269868"/>
                </a:lnTo>
                <a:lnTo>
                  <a:pt x="7108349" y="4275940"/>
                </a:lnTo>
                <a:lnTo>
                  <a:pt x="7108349" y="4278975"/>
                </a:lnTo>
                <a:lnTo>
                  <a:pt x="7099241" y="4288083"/>
                </a:lnTo>
                <a:lnTo>
                  <a:pt x="7084062" y="4306298"/>
                </a:lnTo>
                <a:lnTo>
                  <a:pt x="7081027" y="4303262"/>
                </a:lnTo>
                <a:lnTo>
                  <a:pt x="7074955" y="4300226"/>
                </a:lnTo>
                <a:lnTo>
                  <a:pt x="7068883" y="4297191"/>
                </a:lnTo>
                <a:lnTo>
                  <a:pt x="7071919" y="4291119"/>
                </a:lnTo>
                <a:lnTo>
                  <a:pt x="7081027" y="4278975"/>
                </a:lnTo>
                <a:lnTo>
                  <a:pt x="7081027" y="4263796"/>
                </a:lnTo>
                <a:lnTo>
                  <a:pt x="7071919" y="4257724"/>
                </a:lnTo>
                <a:lnTo>
                  <a:pt x="7059775" y="4251654"/>
                </a:lnTo>
                <a:lnTo>
                  <a:pt x="7050669" y="4245582"/>
                </a:lnTo>
                <a:lnTo>
                  <a:pt x="7056741" y="4236474"/>
                </a:lnTo>
                <a:lnTo>
                  <a:pt x="7062812" y="4233438"/>
                </a:lnTo>
                <a:lnTo>
                  <a:pt x="7065847" y="4233438"/>
                </a:lnTo>
                <a:lnTo>
                  <a:pt x="7071919" y="4221295"/>
                </a:lnTo>
                <a:lnTo>
                  <a:pt x="7074955" y="4209152"/>
                </a:lnTo>
                <a:lnTo>
                  <a:pt x="7071919" y="4193973"/>
                </a:lnTo>
                <a:lnTo>
                  <a:pt x="7071919" y="4184865"/>
                </a:lnTo>
                <a:lnTo>
                  <a:pt x="7068883" y="4181830"/>
                </a:lnTo>
                <a:lnTo>
                  <a:pt x="7065847" y="4178793"/>
                </a:lnTo>
                <a:lnTo>
                  <a:pt x="7062812" y="4172723"/>
                </a:lnTo>
                <a:lnTo>
                  <a:pt x="7062812" y="4169686"/>
                </a:lnTo>
                <a:lnTo>
                  <a:pt x="7056741" y="4163614"/>
                </a:lnTo>
                <a:lnTo>
                  <a:pt x="7050669" y="4157543"/>
                </a:lnTo>
                <a:lnTo>
                  <a:pt x="7044597" y="4148435"/>
                </a:lnTo>
                <a:lnTo>
                  <a:pt x="7041561" y="4139328"/>
                </a:lnTo>
                <a:close/>
                <a:moveTo>
                  <a:pt x="2361313" y="4065925"/>
                </a:moveTo>
                <a:lnTo>
                  <a:pt x="2361858" y="4066469"/>
                </a:lnTo>
                <a:lnTo>
                  <a:pt x="2361858" y="4066468"/>
                </a:lnTo>
                <a:lnTo>
                  <a:pt x="2361314" y="4065925"/>
                </a:lnTo>
                <a:close/>
                <a:moveTo>
                  <a:pt x="5796880" y="3905571"/>
                </a:moveTo>
                <a:lnTo>
                  <a:pt x="5796880" y="3908607"/>
                </a:lnTo>
                <a:lnTo>
                  <a:pt x="5799915" y="3914678"/>
                </a:lnTo>
                <a:lnTo>
                  <a:pt x="5799915" y="3917714"/>
                </a:lnTo>
                <a:lnTo>
                  <a:pt x="5793843" y="3908607"/>
                </a:lnTo>
                <a:close/>
                <a:moveTo>
                  <a:pt x="6628691" y="3887356"/>
                </a:moveTo>
                <a:lnTo>
                  <a:pt x="6631727" y="3893428"/>
                </a:lnTo>
                <a:lnTo>
                  <a:pt x="6628691" y="3899499"/>
                </a:lnTo>
                <a:lnTo>
                  <a:pt x="6625655" y="3908607"/>
                </a:lnTo>
                <a:lnTo>
                  <a:pt x="6625655" y="3890392"/>
                </a:lnTo>
                <a:close/>
                <a:moveTo>
                  <a:pt x="7278354" y="3808425"/>
                </a:moveTo>
                <a:lnTo>
                  <a:pt x="7281391" y="3808425"/>
                </a:lnTo>
                <a:lnTo>
                  <a:pt x="7281391" y="3811461"/>
                </a:lnTo>
                <a:close/>
                <a:moveTo>
                  <a:pt x="4615951" y="3805390"/>
                </a:moveTo>
                <a:lnTo>
                  <a:pt x="4618986" y="3811462"/>
                </a:lnTo>
                <a:lnTo>
                  <a:pt x="4612914" y="3814498"/>
                </a:lnTo>
                <a:lnTo>
                  <a:pt x="4606844" y="3808426"/>
                </a:lnTo>
                <a:close/>
                <a:moveTo>
                  <a:pt x="6917092" y="3799316"/>
                </a:moveTo>
                <a:lnTo>
                  <a:pt x="6920129" y="3805388"/>
                </a:lnTo>
                <a:lnTo>
                  <a:pt x="6920129" y="3808424"/>
                </a:lnTo>
                <a:lnTo>
                  <a:pt x="6914057" y="3802353"/>
                </a:lnTo>
                <a:close/>
                <a:moveTo>
                  <a:pt x="4652380" y="3784140"/>
                </a:moveTo>
                <a:lnTo>
                  <a:pt x="4658452" y="3787175"/>
                </a:lnTo>
                <a:lnTo>
                  <a:pt x="4655416" y="3793247"/>
                </a:lnTo>
                <a:lnTo>
                  <a:pt x="4646309" y="3793247"/>
                </a:lnTo>
                <a:close/>
                <a:moveTo>
                  <a:pt x="6850305" y="3784138"/>
                </a:moveTo>
                <a:lnTo>
                  <a:pt x="6859412" y="3790210"/>
                </a:lnTo>
                <a:lnTo>
                  <a:pt x="6871555" y="3799317"/>
                </a:lnTo>
                <a:lnTo>
                  <a:pt x="6907985" y="3829675"/>
                </a:lnTo>
                <a:lnTo>
                  <a:pt x="6911021" y="3835747"/>
                </a:lnTo>
                <a:lnTo>
                  <a:pt x="6901914" y="3832712"/>
                </a:lnTo>
                <a:lnTo>
                  <a:pt x="6892807" y="3829675"/>
                </a:lnTo>
                <a:lnTo>
                  <a:pt x="6877627" y="3820568"/>
                </a:lnTo>
                <a:lnTo>
                  <a:pt x="6874591" y="3814496"/>
                </a:lnTo>
                <a:lnTo>
                  <a:pt x="6859412" y="3802354"/>
                </a:lnTo>
                <a:lnTo>
                  <a:pt x="6850305" y="3787174"/>
                </a:lnTo>
                <a:close/>
                <a:moveTo>
                  <a:pt x="7138707" y="3762888"/>
                </a:moveTo>
                <a:lnTo>
                  <a:pt x="7141743" y="3762888"/>
                </a:lnTo>
                <a:lnTo>
                  <a:pt x="7147814" y="3762888"/>
                </a:lnTo>
                <a:lnTo>
                  <a:pt x="7141743" y="3765923"/>
                </a:lnTo>
                <a:close/>
                <a:moveTo>
                  <a:pt x="6953522" y="3753780"/>
                </a:moveTo>
                <a:lnTo>
                  <a:pt x="6956559" y="3756815"/>
                </a:lnTo>
                <a:lnTo>
                  <a:pt x="6959594" y="3759851"/>
                </a:lnTo>
                <a:lnTo>
                  <a:pt x="6956559" y="3759851"/>
                </a:lnTo>
                <a:lnTo>
                  <a:pt x="6953522" y="3756815"/>
                </a:lnTo>
                <a:close/>
                <a:moveTo>
                  <a:pt x="379475" y="3729494"/>
                </a:moveTo>
                <a:lnTo>
                  <a:pt x="385548" y="3732530"/>
                </a:lnTo>
                <a:lnTo>
                  <a:pt x="388583" y="3738602"/>
                </a:lnTo>
                <a:lnTo>
                  <a:pt x="379475" y="3735566"/>
                </a:lnTo>
                <a:close/>
                <a:moveTo>
                  <a:pt x="6938343" y="3729492"/>
                </a:moveTo>
                <a:lnTo>
                  <a:pt x="6944415" y="3732529"/>
                </a:lnTo>
                <a:lnTo>
                  <a:pt x="6941379" y="3735564"/>
                </a:lnTo>
                <a:lnTo>
                  <a:pt x="6935307" y="3735564"/>
                </a:lnTo>
                <a:close/>
                <a:moveTo>
                  <a:pt x="7144779" y="3726458"/>
                </a:moveTo>
                <a:lnTo>
                  <a:pt x="7150850" y="3732530"/>
                </a:lnTo>
                <a:lnTo>
                  <a:pt x="7153885" y="3741637"/>
                </a:lnTo>
                <a:lnTo>
                  <a:pt x="7147814" y="3741637"/>
                </a:lnTo>
                <a:lnTo>
                  <a:pt x="7138707" y="3744673"/>
                </a:lnTo>
                <a:lnTo>
                  <a:pt x="7126563" y="3741637"/>
                </a:lnTo>
                <a:lnTo>
                  <a:pt x="7123527" y="3738602"/>
                </a:lnTo>
                <a:lnTo>
                  <a:pt x="7129599" y="3729493"/>
                </a:lnTo>
                <a:close/>
                <a:moveTo>
                  <a:pt x="6340289" y="3708244"/>
                </a:moveTo>
                <a:lnTo>
                  <a:pt x="6349397" y="3708244"/>
                </a:lnTo>
                <a:lnTo>
                  <a:pt x="6337253" y="3714315"/>
                </a:lnTo>
                <a:close/>
                <a:moveTo>
                  <a:pt x="7181209" y="3702172"/>
                </a:moveTo>
                <a:lnTo>
                  <a:pt x="7175137" y="3705207"/>
                </a:lnTo>
                <a:lnTo>
                  <a:pt x="7175137" y="3708244"/>
                </a:lnTo>
                <a:lnTo>
                  <a:pt x="7175137" y="3714314"/>
                </a:lnTo>
                <a:lnTo>
                  <a:pt x="7162993" y="3714314"/>
                </a:lnTo>
                <a:lnTo>
                  <a:pt x="7156921" y="3717351"/>
                </a:lnTo>
                <a:lnTo>
                  <a:pt x="7150850" y="3717351"/>
                </a:lnTo>
                <a:lnTo>
                  <a:pt x="7147814" y="3714314"/>
                </a:lnTo>
                <a:lnTo>
                  <a:pt x="7153885" y="3708244"/>
                </a:lnTo>
                <a:close/>
                <a:moveTo>
                  <a:pt x="6932272" y="3702171"/>
                </a:moveTo>
                <a:lnTo>
                  <a:pt x="6938343" y="3702171"/>
                </a:lnTo>
                <a:lnTo>
                  <a:pt x="6938343" y="3705206"/>
                </a:lnTo>
                <a:lnTo>
                  <a:pt x="6932272" y="3705206"/>
                </a:lnTo>
                <a:close/>
                <a:moveTo>
                  <a:pt x="6914057" y="3696099"/>
                </a:moveTo>
                <a:lnTo>
                  <a:pt x="6923164" y="3699135"/>
                </a:lnTo>
                <a:lnTo>
                  <a:pt x="6926201" y="3705206"/>
                </a:lnTo>
                <a:lnTo>
                  <a:pt x="6929235" y="3708243"/>
                </a:lnTo>
                <a:lnTo>
                  <a:pt x="6920129" y="3708243"/>
                </a:lnTo>
                <a:close/>
                <a:moveTo>
                  <a:pt x="6904949" y="3668777"/>
                </a:moveTo>
                <a:lnTo>
                  <a:pt x="6907985" y="3674848"/>
                </a:lnTo>
                <a:lnTo>
                  <a:pt x="6907985" y="3680920"/>
                </a:lnTo>
                <a:lnTo>
                  <a:pt x="6911021" y="3677884"/>
                </a:lnTo>
                <a:lnTo>
                  <a:pt x="6914057" y="3674848"/>
                </a:lnTo>
                <a:lnTo>
                  <a:pt x="6917092" y="3683956"/>
                </a:lnTo>
                <a:lnTo>
                  <a:pt x="6914057" y="3686992"/>
                </a:lnTo>
                <a:lnTo>
                  <a:pt x="6911021" y="3690027"/>
                </a:lnTo>
                <a:lnTo>
                  <a:pt x="6904949" y="3683956"/>
                </a:lnTo>
                <a:lnTo>
                  <a:pt x="6901914" y="3674848"/>
                </a:lnTo>
                <a:close/>
                <a:moveTo>
                  <a:pt x="7345141" y="3650563"/>
                </a:moveTo>
                <a:lnTo>
                  <a:pt x="7348177" y="3650563"/>
                </a:lnTo>
                <a:lnTo>
                  <a:pt x="7357285" y="3653599"/>
                </a:lnTo>
                <a:lnTo>
                  <a:pt x="7351213" y="3656634"/>
                </a:lnTo>
                <a:close/>
                <a:moveTo>
                  <a:pt x="6285644" y="3650563"/>
                </a:moveTo>
                <a:lnTo>
                  <a:pt x="6288681" y="3656634"/>
                </a:lnTo>
                <a:lnTo>
                  <a:pt x="6291716" y="3659671"/>
                </a:lnTo>
                <a:lnTo>
                  <a:pt x="6279573" y="3659671"/>
                </a:lnTo>
                <a:lnTo>
                  <a:pt x="6279573" y="3653599"/>
                </a:lnTo>
                <a:close/>
                <a:moveTo>
                  <a:pt x="7329963" y="3644491"/>
                </a:moveTo>
                <a:lnTo>
                  <a:pt x="7342105" y="3644491"/>
                </a:lnTo>
                <a:lnTo>
                  <a:pt x="7342105" y="3647527"/>
                </a:lnTo>
                <a:lnTo>
                  <a:pt x="7342105" y="3650563"/>
                </a:lnTo>
                <a:lnTo>
                  <a:pt x="7339070" y="3650563"/>
                </a:lnTo>
                <a:lnTo>
                  <a:pt x="7336034" y="3650563"/>
                </a:lnTo>
                <a:close/>
                <a:moveTo>
                  <a:pt x="4382194" y="3614136"/>
                </a:moveTo>
                <a:lnTo>
                  <a:pt x="4385229" y="3620206"/>
                </a:lnTo>
                <a:lnTo>
                  <a:pt x="4379157" y="3617171"/>
                </a:lnTo>
                <a:close/>
                <a:moveTo>
                  <a:pt x="4482375" y="3611099"/>
                </a:moveTo>
                <a:lnTo>
                  <a:pt x="4494518" y="3629315"/>
                </a:lnTo>
                <a:lnTo>
                  <a:pt x="4500590" y="3647529"/>
                </a:lnTo>
                <a:lnTo>
                  <a:pt x="4500590" y="3665744"/>
                </a:lnTo>
                <a:lnTo>
                  <a:pt x="4506662" y="3680923"/>
                </a:lnTo>
                <a:lnTo>
                  <a:pt x="4503625" y="3690030"/>
                </a:lnTo>
                <a:lnTo>
                  <a:pt x="4500590" y="3696102"/>
                </a:lnTo>
                <a:lnTo>
                  <a:pt x="4494518" y="3686995"/>
                </a:lnTo>
                <a:lnTo>
                  <a:pt x="4494518" y="3683959"/>
                </a:lnTo>
                <a:lnTo>
                  <a:pt x="4491483" y="3683959"/>
                </a:lnTo>
                <a:lnTo>
                  <a:pt x="4491483" y="3696102"/>
                </a:lnTo>
                <a:lnTo>
                  <a:pt x="4491483" y="3699138"/>
                </a:lnTo>
                <a:lnTo>
                  <a:pt x="4494518" y="3702174"/>
                </a:lnTo>
                <a:lnTo>
                  <a:pt x="4494518" y="3708246"/>
                </a:lnTo>
                <a:lnTo>
                  <a:pt x="4491483" y="3714317"/>
                </a:lnTo>
                <a:lnTo>
                  <a:pt x="4488446" y="3717353"/>
                </a:lnTo>
                <a:lnTo>
                  <a:pt x="4485411" y="3723425"/>
                </a:lnTo>
                <a:lnTo>
                  <a:pt x="4485411" y="3729496"/>
                </a:lnTo>
                <a:lnTo>
                  <a:pt x="4488446" y="3732532"/>
                </a:lnTo>
                <a:lnTo>
                  <a:pt x="4485411" y="3738604"/>
                </a:lnTo>
                <a:lnTo>
                  <a:pt x="4485411" y="3747711"/>
                </a:lnTo>
                <a:lnTo>
                  <a:pt x="4476304" y="3768962"/>
                </a:lnTo>
                <a:lnTo>
                  <a:pt x="4455053" y="3835749"/>
                </a:lnTo>
                <a:lnTo>
                  <a:pt x="4448981" y="3863072"/>
                </a:lnTo>
                <a:lnTo>
                  <a:pt x="4439874" y="3890394"/>
                </a:lnTo>
                <a:lnTo>
                  <a:pt x="4430766" y="3899502"/>
                </a:lnTo>
                <a:lnTo>
                  <a:pt x="4421659" y="3899502"/>
                </a:lnTo>
                <a:lnTo>
                  <a:pt x="4409515" y="3902537"/>
                </a:lnTo>
                <a:lnTo>
                  <a:pt x="4397373" y="3908609"/>
                </a:lnTo>
                <a:lnTo>
                  <a:pt x="4388265" y="3902537"/>
                </a:lnTo>
                <a:lnTo>
                  <a:pt x="4376122" y="3896465"/>
                </a:lnTo>
                <a:lnTo>
                  <a:pt x="4370050" y="3884323"/>
                </a:lnTo>
                <a:lnTo>
                  <a:pt x="4367015" y="3875215"/>
                </a:lnTo>
                <a:lnTo>
                  <a:pt x="4367015" y="3863072"/>
                </a:lnTo>
                <a:lnTo>
                  <a:pt x="4360943" y="3847893"/>
                </a:lnTo>
                <a:lnTo>
                  <a:pt x="4357907" y="3823606"/>
                </a:lnTo>
                <a:lnTo>
                  <a:pt x="4360943" y="3817535"/>
                </a:lnTo>
                <a:lnTo>
                  <a:pt x="4363978" y="3811463"/>
                </a:lnTo>
                <a:lnTo>
                  <a:pt x="4370050" y="3808427"/>
                </a:lnTo>
                <a:lnTo>
                  <a:pt x="4373086" y="3799320"/>
                </a:lnTo>
                <a:lnTo>
                  <a:pt x="4382194" y="3784141"/>
                </a:lnTo>
                <a:lnTo>
                  <a:pt x="4382194" y="3771997"/>
                </a:lnTo>
                <a:lnTo>
                  <a:pt x="4379157" y="3759855"/>
                </a:lnTo>
                <a:lnTo>
                  <a:pt x="4373086" y="3747711"/>
                </a:lnTo>
                <a:lnTo>
                  <a:pt x="4373086" y="3735567"/>
                </a:lnTo>
                <a:lnTo>
                  <a:pt x="4373086" y="3726460"/>
                </a:lnTo>
                <a:lnTo>
                  <a:pt x="4382194" y="3711281"/>
                </a:lnTo>
                <a:lnTo>
                  <a:pt x="4382194" y="3708246"/>
                </a:lnTo>
                <a:lnTo>
                  <a:pt x="4382194" y="3705209"/>
                </a:lnTo>
                <a:lnTo>
                  <a:pt x="4385229" y="3702174"/>
                </a:lnTo>
                <a:lnTo>
                  <a:pt x="4400408" y="3696102"/>
                </a:lnTo>
                <a:lnTo>
                  <a:pt x="4406480" y="3696102"/>
                </a:lnTo>
                <a:lnTo>
                  <a:pt x="4406480" y="3693066"/>
                </a:lnTo>
                <a:lnTo>
                  <a:pt x="4415587" y="3693066"/>
                </a:lnTo>
                <a:lnTo>
                  <a:pt x="4421659" y="3693066"/>
                </a:lnTo>
                <a:lnTo>
                  <a:pt x="4433802" y="3680923"/>
                </a:lnTo>
                <a:lnTo>
                  <a:pt x="4442910" y="3671815"/>
                </a:lnTo>
                <a:lnTo>
                  <a:pt x="4445945" y="3671815"/>
                </a:lnTo>
                <a:lnTo>
                  <a:pt x="4442910" y="3677887"/>
                </a:lnTo>
                <a:lnTo>
                  <a:pt x="4445945" y="3677887"/>
                </a:lnTo>
                <a:lnTo>
                  <a:pt x="4452017" y="3668780"/>
                </a:lnTo>
                <a:lnTo>
                  <a:pt x="4448981" y="3662708"/>
                </a:lnTo>
                <a:lnTo>
                  <a:pt x="4455053" y="3647529"/>
                </a:lnTo>
                <a:lnTo>
                  <a:pt x="4458088" y="3647529"/>
                </a:lnTo>
                <a:lnTo>
                  <a:pt x="4464160" y="3644494"/>
                </a:lnTo>
                <a:lnTo>
                  <a:pt x="4470232" y="3641457"/>
                </a:lnTo>
                <a:lnTo>
                  <a:pt x="4473267" y="3638422"/>
                </a:lnTo>
                <a:lnTo>
                  <a:pt x="4476304" y="3629315"/>
                </a:lnTo>
                <a:lnTo>
                  <a:pt x="4473267" y="3623243"/>
                </a:lnTo>
                <a:lnTo>
                  <a:pt x="4476304" y="3620206"/>
                </a:lnTo>
                <a:close/>
                <a:moveTo>
                  <a:pt x="6768337" y="3601990"/>
                </a:moveTo>
                <a:lnTo>
                  <a:pt x="6777445" y="3605025"/>
                </a:lnTo>
                <a:lnTo>
                  <a:pt x="6777445" y="3608062"/>
                </a:lnTo>
                <a:lnTo>
                  <a:pt x="6768337" y="3605025"/>
                </a:lnTo>
                <a:close/>
                <a:moveTo>
                  <a:pt x="6152069" y="3601990"/>
                </a:moveTo>
                <a:lnTo>
                  <a:pt x="6158141" y="3605026"/>
                </a:lnTo>
                <a:lnTo>
                  <a:pt x="6155105" y="3611097"/>
                </a:lnTo>
                <a:lnTo>
                  <a:pt x="6145997" y="3611097"/>
                </a:lnTo>
                <a:close/>
                <a:moveTo>
                  <a:pt x="4357907" y="3598956"/>
                </a:moveTo>
                <a:lnTo>
                  <a:pt x="4360943" y="3601992"/>
                </a:lnTo>
                <a:lnTo>
                  <a:pt x="4360943" y="3608064"/>
                </a:lnTo>
                <a:lnTo>
                  <a:pt x="4360943" y="3611099"/>
                </a:lnTo>
                <a:lnTo>
                  <a:pt x="4357907" y="3605027"/>
                </a:lnTo>
                <a:close/>
                <a:moveTo>
                  <a:pt x="6155105" y="3595918"/>
                </a:moveTo>
                <a:lnTo>
                  <a:pt x="6158141" y="3595918"/>
                </a:lnTo>
                <a:lnTo>
                  <a:pt x="6164212" y="3598954"/>
                </a:lnTo>
                <a:lnTo>
                  <a:pt x="6170284" y="3598954"/>
                </a:lnTo>
                <a:lnTo>
                  <a:pt x="6173319" y="3595918"/>
                </a:lnTo>
                <a:lnTo>
                  <a:pt x="6179391" y="3598954"/>
                </a:lnTo>
                <a:lnTo>
                  <a:pt x="6173319" y="3608062"/>
                </a:lnTo>
                <a:lnTo>
                  <a:pt x="6167247" y="3611097"/>
                </a:lnTo>
                <a:lnTo>
                  <a:pt x="6158141" y="3605026"/>
                </a:lnTo>
                <a:lnTo>
                  <a:pt x="6155105" y="3598954"/>
                </a:lnTo>
                <a:close/>
                <a:moveTo>
                  <a:pt x="6410112" y="3586811"/>
                </a:moveTo>
                <a:lnTo>
                  <a:pt x="6416184" y="3611097"/>
                </a:lnTo>
                <a:lnTo>
                  <a:pt x="6419221" y="3614134"/>
                </a:lnTo>
                <a:lnTo>
                  <a:pt x="6425291" y="3623241"/>
                </a:lnTo>
                <a:lnTo>
                  <a:pt x="6428327" y="3635383"/>
                </a:lnTo>
                <a:lnTo>
                  <a:pt x="6428327" y="3650563"/>
                </a:lnTo>
                <a:lnTo>
                  <a:pt x="6431363" y="3662706"/>
                </a:lnTo>
                <a:lnTo>
                  <a:pt x="6437435" y="3665742"/>
                </a:lnTo>
                <a:lnTo>
                  <a:pt x="6443507" y="3662706"/>
                </a:lnTo>
                <a:lnTo>
                  <a:pt x="6446542" y="3659671"/>
                </a:lnTo>
                <a:lnTo>
                  <a:pt x="6449577" y="3662706"/>
                </a:lnTo>
                <a:lnTo>
                  <a:pt x="6452614" y="3668778"/>
                </a:lnTo>
                <a:lnTo>
                  <a:pt x="6461721" y="3677885"/>
                </a:lnTo>
                <a:lnTo>
                  <a:pt x="6464757" y="3680921"/>
                </a:lnTo>
                <a:lnTo>
                  <a:pt x="6464757" y="3690029"/>
                </a:lnTo>
                <a:lnTo>
                  <a:pt x="6467793" y="3702172"/>
                </a:lnTo>
                <a:lnTo>
                  <a:pt x="6467793" y="3708244"/>
                </a:lnTo>
                <a:lnTo>
                  <a:pt x="6470829" y="3714315"/>
                </a:lnTo>
                <a:lnTo>
                  <a:pt x="6473865" y="3717351"/>
                </a:lnTo>
                <a:lnTo>
                  <a:pt x="6476901" y="3720386"/>
                </a:lnTo>
                <a:lnTo>
                  <a:pt x="6479935" y="3735565"/>
                </a:lnTo>
                <a:lnTo>
                  <a:pt x="6479935" y="3744674"/>
                </a:lnTo>
                <a:lnTo>
                  <a:pt x="6482972" y="3759852"/>
                </a:lnTo>
                <a:lnTo>
                  <a:pt x="6492079" y="3765923"/>
                </a:lnTo>
                <a:lnTo>
                  <a:pt x="6507259" y="3775031"/>
                </a:lnTo>
                <a:lnTo>
                  <a:pt x="6516365" y="3781103"/>
                </a:lnTo>
                <a:lnTo>
                  <a:pt x="6528509" y="3784139"/>
                </a:lnTo>
                <a:lnTo>
                  <a:pt x="6534581" y="3787174"/>
                </a:lnTo>
                <a:lnTo>
                  <a:pt x="6537617" y="3793246"/>
                </a:lnTo>
                <a:lnTo>
                  <a:pt x="6543689" y="3808425"/>
                </a:lnTo>
                <a:lnTo>
                  <a:pt x="6549759" y="3826640"/>
                </a:lnTo>
                <a:lnTo>
                  <a:pt x="6555831" y="3835747"/>
                </a:lnTo>
                <a:lnTo>
                  <a:pt x="6561903" y="3841819"/>
                </a:lnTo>
                <a:lnTo>
                  <a:pt x="6561903" y="3832712"/>
                </a:lnTo>
                <a:lnTo>
                  <a:pt x="6561903" y="3829675"/>
                </a:lnTo>
                <a:lnTo>
                  <a:pt x="6567975" y="3835747"/>
                </a:lnTo>
                <a:lnTo>
                  <a:pt x="6571011" y="3835747"/>
                </a:lnTo>
                <a:lnTo>
                  <a:pt x="6574047" y="3835747"/>
                </a:lnTo>
                <a:lnTo>
                  <a:pt x="6577082" y="3838784"/>
                </a:lnTo>
                <a:lnTo>
                  <a:pt x="6577082" y="3844854"/>
                </a:lnTo>
                <a:lnTo>
                  <a:pt x="6577082" y="3847891"/>
                </a:lnTo>
                <a:lnTo>
                  <a:pt x="6577082" y="3850926"/>
                </a:lnTo>
                <a:lnTo>
                  <a:pt x="6580117" y="3860033"/>
                </a:lnTo>
                <a:lnTo>
                  <a:pt x="6586189" y="3869142"/>
                </a:lnTo>
                <a:lnTo>
                  <a:pt x="6595297" y="3872177"/>
                </a:lnTo>
                <a:lnTo>
                  <a:pt x="6601369" y="3881284"/>
                </a:lnTo>
                <a:lnTo>
                  <a:pt x="6613512" y="3896463"/>
                </a:lnTo>
                <a:lnTo>
                  <a:pt x="6619583" y="3905571"/>
                </a:lnTo>
                <a:lnTo>
                  <a:pt x="6622619" y="3911643"/>
                </a:lnTo>
                <a:lnTo>
                  <a:pt x="6625655" y="3917714"/>
                </a:lnTo>
                <a:lnTo>
                  <a:pt x="6625655" y="3923786"/>
                </a:lnTo>
                <a:lnTo>
                  <a:pt x="6625655" y="3932894"/>
                </a:lnTo>
                <a:lnTo>
                  <a:pt x="6625655" y="3935929"/>
                </a:lnTo>
                <a:lnTo>
                  <a:pt x="6625655" y="3938965"/>
                </a:lnTo>
                <a:lnTo>
                  <a:pt x="6625655" y="3942001"/>
                </a:lnTo>
                <a:lnTo>
                  <a:pt x="6622619" y="3945036"/>
                </a:lnTo>
                <a:lnTo>
                  <a:pt x="6628691" y="3951108"/>
                </a:lnTo>
                <a:lnTo>
                  <a:pt x="6631727" y="3963252"/>
                </a:lnTo>
                <a:lnTo>
                  <a:pt x="6634762" y="3990573"/>
                </a:lnTo>
                <a:lnTo>
                  <a:pt x="6628691" y="4011824"/>
                </a:lnTo>
                <a:lnTo>
                  <a:pt x="6622619" y="4020932"/>
                </a:lnTo>
                <a:lnTo>
                  <a:pt x="6622619" y="4030039"/>
                </a:lnTo>
                <a:lnTo>
                  <a:pt x="6622619" y="4042183"/>
                </a:lnTo>
                <a:lnTo>
                  <a:pt x="6619583" y="4054325"/>
                </a:lnTo>
                <a:lnTo>
                  <a:pt x="6613512" y="4060397"/>
                </a:lnTo>
                <a:lnTo>
                  <a:pt x="6613512" y="4069504"/>
                </a:lnTo>
                <a:lnTo>
                  <a:pt x="6604405" y="4075576"/>
                </a:lnTo>
                <a:lnTo>
                  <a:pt x="6595297" y="4084683"/>
                </a:lnTo>
                <a:lnTo>
                  <a:pt x="6589225" y="4096827"/>
                </a:lnTo>
                <a:lnTo>
                  <a:pt x="6586189" y="4108970"/>
                </a:lnTo>
                <a:lnTo>
                  <a:pt x="6561903" y="4160579"/>
                </a:lnTo>
                <a:lnTo>
                  <a:pt x="6564939" y="4163614"/>
                </a:lnTo>
                <a:lnTo>
                  <a:pt x="6561903" y="4166651"/>
                </a:lnTo>
                <a:lnTo>
                  <a:pt x="6561903" y="4175758"/>
                </a:lnTo>
                <a:lnTo>
                  <a:pt x="6558867" y="4181830"/>
                </a:lnTo>
                <a:lnTo>
                  <a:pt x="6561903" y="4197009"/>
                </a:lnTo>
                <a:lnTo>
                  <a:pt x="6549759" y="4203080"/>
                </a:lnTo>
                <a:lnTo>
                  <a:pt x="6525473" y="4206116"/>
                </a:lnTo>
                <a:lnTo>
                  <a:pt x="6504223" y="4218259"/>
                </a:lnTo>
                <a:lnTo>
                  <a:pt x="6495115" y="4227367"/>
                </a:lnTo>
                <a:lnTo>
                  <a:pt x="6482972" y="4230403"/>
                </a:lnTo>
                <a:lnTo>
                  <a:pt x="6476901" y="4227367"/>
                </a:lnTo>
                <a:lnTo>
                  <a:pt x="6470829" y="4224331"/>
                </a:lnTo>
                <a:lnTo>
                  <a:pt x="6461721" y="4212188"/>
                </a:lnTo>
                <a:lnTo>
                  <a:pt x="6455649" y="4206116"/>
                </a:lnTo>
                <a:lnTo>
                  <a:pt x="6449577" y="4209152"/>
                </a:lnTo>
                <a:lnTo>
                  <a:pt x="6446542" y="4215224"/>
                </a:lnTo>
                <a:lnTo>
                  <a:pt x="6440471" y="4221295"/>
                </a:lnTo>
                <a:lnTo>
                  <a:pt x="6434399" y="4227367"/>
                </a:lnTo>
                <a:lnTo>
                  <a:pt x="6425291" y="4230403"/>
                </a:lnTo>
                <a:lnTo>
                  <a:pt x="6413149" y="4224331"/>
                </a:lnTo>
                <a:lnTo>
                  <a:pt x="6401005" y="4218259"/>
                </a:lnTo>
                <a:lnTo>
                  <a:pt x="6373683" y="4209152"/>
                </a:lnTo>
                <a:lnTo>
                  <a:pt x="6367611" y="4209152"/>
                </a:lnTo>
                <a:lnTo>
                  <a:pt x="6358504" y="4200044"/>
                </a:lnTo>
                <a:lnTo>
                  <a:pt x="6349397" y="4187901"/>
                </a:lnTo>
                <a:lnTo>
                  <a:pt x="6349397" y="4181830"/>
                </a:lnTo>
                <a:lnTo>
                  <a:pt x="6352432" y="4178793"/>
                </a:lnTo>
                <a:lnTo>
                  <a:pt x="6346361" y="4160579"/>
                </a:lnTo>
                <a:lnTo>
                  <a:pt x="6343325" y="4154507"/>
                </a:lnTo>
                <a:lnTo>
                  <a:pt x="6340289" y="4142364"/>
                </a:lnTo>
                <a:lnTo>
                  <a:pt x="6337253" y="4142364"/>
                </a:lnTo>
                <a:lnTo>
                  <a:pt x="6331181" y="4145400"/>
                </a:lnTo>
                <a:lnTo>
                  <a:pt x="6325111" y="4148435"/>
                </a:lnTo>
                <a:lnTo>
                  <a:pt x="6319039" y="4148435"/>
                </a:lnTo>
                <a:lnTo>
                  <a:pt x="6316002" y="4145400"/>
                </a:lnTo>
                <a:lnTo>
                  <a:pt x="6322074" y="4133256"/>
                </a:lnTo>
                <a:lnTo>
                  <a:pt x="6322074" y="4121113"/>
                </a:lnTo>
                <a:lnTo>
                  <a:pt x="6316002" y="4112006"/>
                </a:lnTo>
                <a:lnTo>
                  <a:pt x="6309931" y="4127185"/>
                </a:lnTo>
                <a:lnTo>
                  <a:pt x="6306895" y="4136293"/>
                </a:lnTo>
                <a:lnTo>
                  <a:pt x="6297787" y="4136293"/>
                </a:lnTo>
                <a:lnTo>
                  <a:pt x="6291716" y="4139328"/>
                </a:lnTo>
                <a:lnTo>
                  <a:pt x="6291716" y="4136293"/>
                </a:lnTo>
                <a:lnTo>
                  <a:pt x="6291716" y="4130221"/>
                </a:lnTo>
                <a:lnTo>
                  <a:pt x="6297787" y="4130221"/>
                </a:lnTo>
                <a:lnTo>
                  <a:pt x="6303859" y="4118078"/>
                </a:lnTo>
                <a:lnTo>
                  <a:pt x="6306895" y="4102899"/>
                </a:lnTo>
                <a:lnTo>
                  <a:pt x="6309931" y="4075576"/>
                </a:lnTo>
                <a:lnTo>
                  <a:pt x="6306895" y="4072541"/>
                </a:lnTo>
                <a:lnTo>
                  <a:pt x="6306895" y="4081648"/>
                </a:lnTo>
                <a:lnTo>
                  <a:pt x="6300823" y="4093791"/>
                </a:lnTo>
                <a:lnTo>
                  <a:pt x="6291716" y="4099863"/>
                </a:lnTo>
                <a:lnTo>
                  <a:pt x="6285644" y="4102899"/>
                </a:lnTo>
                <a:lnTo>
                  <a:pt x="6279573" y="4108970"/>
                </a:lnTo>
                <a:lnTo>
                  <a:pt x="6270465" y="4121113"/>
                </a:lnTo>
                <a:lnTo>
                  <a:pt x="6261357" y="4121113"/>
                </a:lnTo>
                <a:lnTo>
                  <a:pt x="6255285" y="4108970"/>
                </a:lnTo>
                <a:lnTo>
                  <a:pt x="6249215" y="4093791"/>
                </a:lnTo>
                <a:lnTo>
                  <a:pt x="6243143" y="4081648"/>
                </a:lnTo>
                <a:lnTo>
                  <a:pt x="6234036" y="4069504"/>
                </a:lnTo>
                <a:lnTo>
                  <a:pt x="6227964" y="4066469"/>
                </a:lnTo>
                <a:lnTo>
                  <a:pt x="6224929" y="4063434"/>
                </a:lnTo>
                <a:lnTo>
                  <a:pt x="6218857" y="4063434"/>
                </a:lnTo>
                <a:lnTo>
                  <a:pt x="6212785" y="4063434"/>
                </a:lnTo>
                <a:lnTo>
                  <a:pt x="6185462" y="4054325"/>
                </a:lnTo>
                <a:lnTo>
                  <a:pt x="6167247" y="4045218"/>
                </a:lnTo>
                <a:lnTo>
                  <a:pt x="6133854" y="4051290"/>
                </a:lnTo>
                <a:lnTo>
                  <a:pt x="6124747" y="4051290"/>
                </a:lnTo>
                <a:lnTo>
                  <a:pt x="6115639" y="4057362"/>
                </a:lnTo>
                <a:lnTo>
                  <a:pt x="6088317" y="4066469"/>
                </a:lnTo>
                <a:lnTo>
                  <a:pt x="6079209" y="4066469"/>
                </a:lnTo>
                <a:lnTo>
                  <a:pt x="6067066" y="4063434"/>
                </a:lnTo>
                <a:lnTo>
                  <a:pt x="6057959" y="4069504"/>
                </a:lnTo>
                <a:lnTo>
                  <a:pt x="6042779" y="4075576"/>
                </a:lnTo>
                <a:lnTo>
                  <a:pt x="6027601" y="4087720"/>
                </a:lnTo>
                <a:lnTo>
                  <a:pt x="6018493" y="4102899"/>
                </a:lnTo>
                <a:lnTo>
                  <a:pt x="6009386" y="4105934"/>
                </a:lnTo>
                <a:lnTo>
                  <a:pt x="6006349" y="4102899"/>
                </a:lnTo>
                <a:lnTo>
                  <a:pt x="5997242" y="4105934"/>
                </a:lnTo>
                <a:lnTo>
                  <a:pt x="5985099" y="4105934"/>
                </a:lnTo>
                <a:lnTo>
                  <a:pt x="5982063" y="4102899"/>
                </a:lnTo>
                <a:lnTo>
                  <a:pt x="5972956" y="4102899"/>
                </a:lnTo>
                <a:lnTo>
                  <a:pt x="5963849" y="4102899"/>
                </a:lnTo>
                <a:lnTo>
                  <a:pt x="5945634" y="4105934"/>
                </a:lnTo>
                <a:lnTo>
                  <a:pt x="5936526" y="4108970"/>
                </a:lnTo>
                <a:lnTo>
                  <a:pt x="5921347" y="4118078"/>
                </a:lnTo>
                <a:lnTo>
                  <a:pt x="5912241" y="4124149"/>
                </a:lnTo>
                <a:lnTo>
                  <a:pt x="5903132" y="4133256"/>
                </a:lnTo>
                <a:lnTo>
                  <a:pt x="5887953" y="4133256"/>
                </a:lnTo>
                <a:lnTo>
                  <a:pt x="5875811" y="4133256"/>
                </a:lnTo>
                <a:lnTo>
                  <a:pt x="5863667" y="4130221"/>
                </a:lnTo>
                <a:lnTo>
                  <a:pt x="5854560" y="4121113"/>
                </a:lnTo>
                <a:lnTo>
                  <a:pt x="5842417" y="4115042"/>
                </a:lnTo>
                <a:lnTo>
                  <a:pt x="5839381" y="4112006"/>
                </a:lnTo>
                <a:lnTo>
                  <a:pt x="5839381" y="4096827"/>
                </a:lnTo>
                <a:lnTo>
                  <a:pt x="5842417" y="4096827"/>
                </a:lnTo>
                <a:lnTo>
                  <a:pt x="5848488" y="4096827"/>
                </a:lnTo>
                <a:lnTo>
                  <a:pt x="5851524" y="4090755"/>
                </a:lnTo>
                <a:lnTo>
                  <a:pt x="5854560" y="4081648"/>
                </a:lnTo>
                <a:lnTo>
                  <a:pt x="5854560" y="4069504"/>
                </a:lnTo>
                <a:lnTo>
                  <a:pt x="5854560" y="4054325"/>
                </a:lnTo>
                <a:lnTo>
                  <a:pt x="5851524" y="4045218"/>
                </a:lnTo>
                <a:lnTo>
                  <a:pt x="5842417" y="4033075"/>
                </a:lnTo>
                <a:lnTo>
                  <a:pt x="5839381" y="4020932"/>
                </a:lnTo>
                <a:lnTo>
                  <a:pt x="5839381" y="4008788"/>
                </a:lnTo>
                <a:lnTo>
                  <a:pt x="5836345" y="3993610"/>
                </a:lnTo>
                <a:lnTo>
                  <a:pt x="5824202" y="3969323"/>
                </a:lnTo>
                <a:lnTo>
                  <a:pt x="5821166" y="3963252"/>
                </a:lnTo>
                <a:lnTo>
                  <a:pt x="5821166" y="3957180"/>
                </a:lnTo>
                <a:lnTo>
                  <a:pt x="5815094" y="3945036"/>
                </a:lnTo>
                <a:lnTo>
                  <a:pt x="5809022" y="3932894"/>
                </a:lnTo>
                <a:lnTo>
                  <a:pt x="5805987" y="3929857"/>
                </a:lnTo>
                <a:lnTo>
                  <a:pt x="5802951" y="3923786"/>
                </a:lnTo>
                <a:lnTo>
                  <a:pt x="5802951" y="3917714"/>
                </a:lnTo>
                <a:lnTo>
                  <a:pt x="5805987" y="3917714"/>
                </a:lnTo>
                <a:lnTo>
                  <a:pt x="5809022" y="3926822"/>
                </a:lnTo>
                <a:lnTo>
                  <a:pt x="5809022" y="3929857"/>
                </a:lnTo>
                <a:lnTo>
                  <a:pt x="5815094" y="3929857"/>
                </a:lnTo>
                <a:lnTo>
                  <a:pt x="5809022" y="3920750"/>
                </a:lnTo>
                <a:lnTo>
                  <a:pt x="5805987" y="3911643"/>
                </a:lnTo>
                <a:lnTo>
                  <a:pt x="5805987" y="3908607"/>
                </a:lnTo>
                <a:lnTo>
                  <a:pt x="5812059" y="3917714"/>
                </a:lnTo>
                <a:lnTo>
                  <a:pt x="5818130" y="3926822"/>
                </a:lnTo>
                <a:lnTo>
                  <a:pt x="5821166" y="3923786"/>
                </a:lnTo>
                <a:lnTo>
                  <a:pt x="5824202" y="3917714"/>
                </a:lnTo>
                <a:lnTo>
                  <a:pt x="5821166" y="3914678"/>
                </a:lnTo>
                <a:lnTo>
                  <a:pt x="5818130" y="3908607"/>
                </a:lnTo>
                <a:lnTo>
                  <a:pt x="5812059" y="3896463"/>
                </a:lnTo>
                <a:lnTo>
                  <a:pt x="5805987" y="3881284"/>
                </a:lnTo>
                <a:lnTo>
                  <a:pt x="5805987" y="3878249"/>
                </a:lnTo>
                <a:lnTo>
                  <a:pt x="5805987" y="3875213"/>
                </a:lnTo>
                <a:lnTo>
                  <a:pt x="5809022" y="3863070"/>
                </a:lnTo>
                <a:lnTo>
                  <a:pt x="5812059" y="3863070"/>
                </a:lnTo>
                <a:lnTo>
                  <a:pt x="5812059" y="3856998"/>
                </a:lnTo>
                <a:lnTo>
                  <a:pt x="5812059" y="3844854"/>
                </a:lnTo>
                <a:lnTo>
                  <a:pt x="5815094" y="3832712"/>
                </a:lnTo>
                <a:lnTo>
                  <a:pt x="5821166" y="3823604"/>
                </a:lnTo>
                <a:lnTo>
                  <a:pt x="5821166" y="3829675"/>
                </a:lnTo>
                <a:lnTo>
                  <a:pt x="5821166" y="3838784"/>
                </a:lnTo>
                <a:lnTo>
                  <a:pt x="5827238" y="3835747"/>
                </a:lnTo>
                <a:lnTo>
                  <a:pt x="5827238" y="3832712"/>
                </a:lnTo>
                <a:lnTo>
                  <a:pt x="5830273" y="3823604"/>
                </a:lnTo>
                <a:lnTo>
                  <a:pt x="5836345" y="3820568"/>
                </a:lnTo>
                <a:lnTo>
                  <a:pt x="5857595" y="3808425"/>
                </a:lnTo>
                <a:lnTo>
                  <a:pt x="5869739" y="3799318"/>
                </a:lnTo>
                <a:lnTo>
                  <a:pt x="5881882" y="3796282"/>
                </a:lnTo>
                <a:lnTo>
                  <a:pt x="5890990" y="3799318"/>
                </a:lnTo>
                <a:lnTo>
                  <a:pt x="5900097" y="3796282"/>
                </a:lnTo>
                <a:lnTo>
                  <a:pt x="5906169" y="3790210"/>
                </a:lnTo>
                <a:lnTo>
                  <a:pt x="5912241" y="3790210"/>
                </a:lnTo>
                <a:lnTo>
                  <a:pt x="5918312" y="3790210"/>
                </a:lnTo>
                <a:lnTo>
                  <a:pt x="5921347" y="3787174"/>
                </a:lnTo>
                <a:lnTo>
                  <a:pt x="5936526" y="3784139"/>
                </a:lnTo>
                <a:lnTo>
                  <a:pt x="5960813" y="3775031"/>
                </a:lnTo>
                <a:lnTo>
                  <a:pt x="5975991" y="3759852"/>
                </a:lnTo>
                <a:lnTo>
                  <a:pt x="5982063" y="3747709"/>
                </a:lnTo>
                <a:lnTo>
                  <a:pt x="5985099" y="3741637"/>
                </a:lnTo>
                <a:lnTo>
                  <a:pt x="5988135" y="3735565"/>
                </a:lnTo>
                <a:lnTo>
                  <a:pt x="5988135" y="3723423"/>
                </a:lnTo>
                <a:lnTo>
                  <a:pt x="5997242" y="3711279"/>
                </a:lnTo>
                <a:lnTo>
                  <a:pt x="6006349" y="3708244"/>
                </a:lnTo>
                <a:lnTo>
                  <a:pt x="6006349" y="3714315"/>
                </a:lnTo>
                <a:lnTo>
                  <a:pt x="6009386" y="3720386"/>
                </a:lnTo>
                <a:lnTo>
                  <a:pt x="6015457" y="3729494"/>
                </a:lnTo>
                <a:lnTo>
                  <a:pt x="6021529" y="3717351"/>
                </a:lnTo>
                <a:lnTo>
                  <a:pt x="6015457" y="3705207"/>
                </a:lnTo>
                <a:lnTo>
                  <a:pt x="6021529" y="3702172"/>
                </a:lnTo>
                <a:lnTo>
                  <a:pt x="6021529" y="3705207"/>
                </a:lnTo>
                <a:lnTo>
                  <a:pt x="6030637" y="3705207"/>
                </a:lnTo>
                <a:lnTo>
                  <a:pt x="6033672" y="3705207"/>
                </a:lnTo>
                <a:lnTo>
                  <a:pt x="6042779" y="3705207"/>
                </a:lnTo>
                <a:lnTo>
                  <a:pt x="6036707" y="3702172"/>
                </a:lnTo>
                <a:lnTo>
                  <a:pt x="6033672" y="3696100"/>
                </a:lnTo>
                <a:lnTo>
                  <a:pt x="6033672" y="3686993"/>
                </a:lnTo>
                <a:lnTo>
                  <a:pt x="6045815" y="3677885"/>
                </a:lnTo>
                <a:lnTo>
                  <a:pt x="6048851" y="3674850"/>
                </a:lnTo>
                <a:lnTo>
                  <a:pt x="6048851" y="3668778"/>
                </a:lnTo>
                <a:lnTo>
                  <a:pt x="6054923" y="3665742"/>
                </a:lnTo>
                <a:lnTo>
                  <a:pt x="6060994" y="3665742"/>
                </a:lnTo>
                <a:lnTo>
                  <a:pt x="6064031" y="3668778"/>
                </a:lnTo>
                <a:lnTo>
                  <a:pt x="6067066" y="3662706"/>
                </a:lnTo>
                <a:lnTo>
                  <a:pt x="6070102" y="3659671"/>
                </a:lnTo>
                <a:lnTo>
                  <a:pt x="6076173" y="3653599"/>
                </a:lnTo>
                <a:lnTo>
                  <a:pt x="6085281" y="3650563"/>
                </a:lnTo>
                <a:lnTo>
                  <a:pt x="6094389" y="3653599"/>
                </a:lnTo>
                <a:lnTo>
                  <a:pt x="6100461" y="3659671"/>
                </a:lnTo>
                <a:lnTo>
                  <a:pt x="6115639" y="3671813"/>
                </a:lnTo>
                <a:lnTo>
                  <a:pt x="6118675" y="3671813"/>
                </a:lnTo>
                <a:lnTo>
                  <a:pt x="6121711" y="3671813"/>
                </a:lnTo>
                <a:lnTo>
                  <a:pt x="6130817" y="3674850"/>
                </a:lnTo>
                <a:lnTo>
                  <a:pt x="6139926" y="3671813"/>
                </a:lnTo>
                <a:lnTo>
                  <a:pt x="6136889" y="3662706"/>
                </a:lnTo>
                <a:lnTo>
                  <a:pt x="6136889" y="3659671"/>
                </a:lnTo>
                <a:lnTo>
                  <a:pt x="6145997" y="3647527"/>
                </a:lnTo>
                <a:lnTo>
                  <a:pt x="6149033" y="3644492"/>
                </a:lnTo>
                <a:lnTo>
                  <a:pt x="6152069" y="3638420"/>
                </a:lnTo>
                <a:lnTo>
                  <a:pt x="6152069" y="3635383"/>
                </a:lnTo>
                <a:lnTo>
                  <a:pt x="6152069" y="3632348"/>
                </a:lnTo>
                <a:lnTo>
                  <a:pt x="6155105" y="3632348"/>
                </a:lnTo>
                <a:lnTo>
                  <a:pt x="6158141" y="3623241"/>
                </a:lnTo>
                <a:lnTo>
                  <a:pt x="6170284" y="3617169"/>
                </a:lnTo>
                <a:lnTo>
                  <a:pt x="6176355" y="3617169"/>
                </a:lnTo>
                <a:lnTo>
                  <a:pt x="6185462" y="3617169"/>
                </a:lnTo>
                <a:lnTo>
                  <a:pt x="6188499" y="3617169"/>
                </a:lnTo>
                <a:lnTo>
                  <a:pt x="6194571" y="3617169"/>
                </a:lnTo>
                <a:lnTo>
                  <a:pt x="6203677" y="3614134"/>
                </a:lnTo>
                <a:lnTo>
                  <a:pt x="6203677" y="3608062"/>
                </a:lnTo>
                <a:lnTo>
                  <a:pt x="6203677" y="3605026"/>
                </a:lnTo>
                <a:lnTo>
                  <a:pt x="6197606" y="3601990"/>
                </a:lnTo>
                <a:lnTo>
                  <a:pt x="6194571" y="3601990"/>
                </a:lnTo>
                <a:lnTo>
                  <a:pt x="6188499" y="3598954"/>
                </a:lnTo>
                <a:lnTo>
                  <a:pt x="6185462" y="3595918"/>
                </a:lnTo>
                <a:lnTo>
                  <a:pt x="6188499" y="3595918"/>
                </a:lnTo>
                <a:lnTo>
                  <a:pt x="6197606" y="3595918"/>
                </a:lnTo>
                <a:lnTo>
                  <a:pt x="6203677" y="3595918"/>
                </a:lnTo>
                <a:lnTo>
                  <a:pt x="6212785" y="3605026"/>
                </a:lnTo>
                <a:lnTo>
                  <a:pt x="6218857" y="3608062"/>
                </a:lnTo>
                <a:lnTo>
                  <a:pt x="6234036" y="3614134"/>
                </a:lnTo>
                <a:lnTo>
                  <a:pt x="6249215" y="3614134"/>
                </a:lnTo>
                <a:lnTo>
                  <a:pt x="6252251" y="3617169"/>
                </a:lnTo>
                <a:lnTo>
                  <a:pt x="6258322" y="3617169"/>
                </a:lnTo>
                <a:lnTo>
                  <a:pt x="6267429" y="3617169"/>
                </a:lnTo>
                <a:lnTo>
                  <a:pt x="6273501" y="3623241"/>
                </a:lnTo>
                <a:lnTo>
                  <a:pt x="6279573" y="3620205"/>
                </a:lnTo>
                <a:lnTo>
                  <a:pt x="6276537" y="3617169"/>
                </a:lnTo>
                <a:lnTo>
                  <a:pt x="6279573" y="3611097"/>
                </a:lnTo>
                <a:lnTo>
                  <a:pt x="6285644" y="3614134"/>
                </a:lnTo>
                <a:lnTo>
                  <a:pt x="6291716" y="3620205"/>
                </a:lnTo>
                <a:lnTo>
                  <a:pt x="6288681" y="3623241"/>
                </a:lnTo>
                <a:lnTo>
                  <a:pt x="6282609" y="3632348"/>
                </a:lnTo>
                <a:lnTo>
                  <a:pt x="6282609" y="3635383"/>
                </a:lnTo>
                <a:lnTo>
                  <a:pt x="6279573" y="3641455"/>
                </a:lnTo>
                <a:lnTo>
                  <a:pt x="6279573" y="3635383"/>
                </a:lnTo>
                <a:lnTo>
                  <a:pt x="6273501" y="3638420"/>
                </a:lnTo>
                <a:lnTo>
                  <a:pt x="6270465" y="3641455"/>
                </a:lnTo>
                <a:lnTo>
                  <a:pt x="6270465" y="3647527"/>
                </a:lnTo>
                <a:lnTo>
                  <a:pt x="6270465" y="3650563"/>
                </a:lnTo>
                <a:lnTo>
                  <a:pt x="6270465" y="3653599"/>
                </a:lnTo>
                <a:lnTo>
                  <a:pt x="6261357" y="3668778"/>
                </a:lnTo>
                <a:lnTo>
                  <a:pt x="6261357" y="3674850"/>
                </a:lnTo>
                <a:lnTo>
                  <a:pt x="6270465" y="3680921"/>
                </a:lnTo>
                <a:lnTo>
                  <a:pt x="6279573" y="3690029"/>
                </a:lnTo>
                <a:lnTo>
                  <a:pt x="6291716" y="3696100"/>
                </a:lnTo>
                <a:lnTo>
                  <a:pt x="6303859" y="3699136"/>
                </a:lnTo>
                <a:lnTo>
                  <a:pt x="6306895" y="3702172"/>
                </a:lnTo>
                <a:lnTo>
                  <a:pt x="6309931" y="3708244"/>
                </a:lnTo>
                <a:lnTo>
                  <a:pt x="6319039" y="3714315"/>
                </a:lnTo>
                <a:lnTo>
                  <a:pt x="6331181" y="3717351"/>
                </a:lnTo>
                <a:lnTo>
                  <a:pt x="6337253" y="3720386"/>
                </a:lnTo>
                <a:lnTo>
                  <a:pt x="6340289" y="3726458"/>
                </a:lnTo>
                <a:lnTo>
                  <a:pt x="6352432" y="3732530"/>
                </a:lnTo>
                <a:lnTo>
                  <a:pt x="6370647" y="3729494"/>
                </a:lnTo>
                <a:lnTo>
                  <a:pt x="6376719" y="3717351"/>
                </a:lnTo>
                <a:lnTo>
                  <a:pt x="6382791" y="3708244"/>
                </a:lnTo>
                <a:lnTo>
                  <a:pt x="6385825" y="3677885"/>
                </a:lnTo>
                <a:lnTo>
                  <a:pt x="6388862" y="3671813"/>
                </a:lnTo>
                <a:lnTo>
                  <a:pt x="6385825" y="3668778"/>
                </a:lnTo>
                <a:lnTo>
                  <a:pt x="6385825" y="3653599"/>
                </a:lnTo>
                <a:lnTo>
                  <a:pt x="6385825" y="3641455"/>
                </a:lnTo>
                <a:lnTo>
                  <a:pt x="6388862" y="3629313"/>
                </a:lnTo>
                <a:lnTo>
                  <a:pt x="6388862" y="3617169"/>
                </a:lnTo>
                <a:lnTo>
                  <a:pt x="6394934" y="3605026"/>
                </a:lnTo>
                <a:close/>
                <a:moveTo>
                  <a:pt x="6009385" y="3580737"/>
                </a:moveTo>
                <a:lnTo>
                  <a:pt x="6012420" y="3580737"/>
                </a:lnTo>
                <a:lnTo>
                  <a:pt x="6012420" y="3583773"/>
                </a:lnTo>
                <a:lnTo>
                  <a:pt x="6003313" y="3589845"/>
                </a:lnTo>
                <a:lnTo>
                  <a:pt x="6000277" y="3589845"/>
                </a:lnTo>
                <a:lnTo>
                  <a:pt x="6000277" y="3586809"/>
                </a:lnTo>
                <a:close/>
                <a:moveTo>
                  <a:pt x="6795661" y="3574667"/>
                </a:moveTo>
                <a:lnTo>
                  <a:pt x="6801732" y="3580739"/>
                </a:lnTo>
                <a:lnTo>
                  <a:pt x="6807803" y="3580739"/>
                </a:lnTo>
                <a:lnTo>
                  <a:pt x="6810839" y="3580739"/>
                </a:lnTo>
                <a:lnTo>
                  <a:pt x="6813875" y="3586811"/>
                </a:lnTo>
                <a:lnTo>
                  <a:pt x="6816911" y="3589846"/>
                </a:lnTo>
                <a:lnTo>
                  <a:pt x="6807803" y="3586811"/>
                </a:lnTo>
                <a:lnTo>
                  <a:pt x="6795661" y="3580739"/>
                </a:lnTo>
                <a:close/>
                <a:moveTo>
                  <a:pt x="6577082" y="3568596"/>
                </a:moveTo>
                <a:lnTo>
                  <a:pt x="6586189" y="3571632"/>
                </a:lnTo>
                <a:lnTo>
                  <a:pt x="6589225" y="3574667"/>
                </a:lnTo>
                <a:lnTo>
                  <a:pt x="6583154" y="3574667"/>
                </a:lnTo>
                <a:lnTo>
                  <a:pt x="6580117" y="3571632"/>
                </a:lnTo>
                <a:close/>
                <a:moveTo>
                  <a:pt x="6762267" y="3556453"/>
                </a:moveTo>
                <a:lnTo>
                  <a:pt x="6771374" y="3559489"/>
                </a:lnTo>
                <a:lnTo>
                  <a:pt x="6777445" y="3559489"/>
                </a:lnTo>
                <a:lnTo>
                  <a:pt x="6783517" y="3565560"/>
                </a:lnTo>
                <a:lnTo>
                  <a:pt x="6783517" y="3568596"/>
                </a:lnTo>
                <a:lnTo>
                  <a:pt x="6774409" y="3568596"/>
                </a:lnTo>
                <a:lnTo>
                  <a:pt x="6765302" y="3565560"/>
                </a:lnTo>
                <a:lnTo>
                  <a:pt x="6759230" y="3562524"/>
                </a:lnTo>
                <a:close/>
                <a:moveTo>
                  <a:pt x="6571011" y="3556453"/>
                </a:moveTo>
                <a:lnTo>
                  <a:pt x="6577082" y="3559489"/>
                </a:lnTo>
                <a:lnTo>
                  <a:pt x="6580117" y="3562524"/>
                </a:lnTo>
                <a:lnTo>
                  <a:pt x="6577082" y="3565560"/>
                </a:lnTo>
                <a:lnTo>
                  <a:pt x="6571011" y="3562524"/>
                </a:lnTo>
                <a:lnTo>
                  <a:pt x="6571011" y="3559489"/>
                </a:lnTo>
                <a:close/>
                <a:moveTo>
                  <a:pt x="5927417" y="3556451"/>
                </a:moveTo>
                <a:lnTo>
                  <a:pt x="5933489" y="3556451"/>
                </a:lnTo>
                <a:lnTo>
                  <a:pt x="5939561" y="3556451"/>
                </a:lnTo>
                <a:lnTo>
                  <a:pt x="5951705" y="3562522"/>
                </a:lnTo>
                <a:lnTo>
                  <a:pt x="5957775" y="3571630"/>
                </a:lnTo>
                <a:lnTo>
                  <a:pt x="5951705" y="3577702"/>
                </a:lnTo>
                <a:lnTo>
                  <a:pt x="5942597" y="3574666"/>
                </a:lnTo>
                <a:lnTo>
                  <a:pt x="5939561" y="3568594"/>
                </a:lnTo>
                <a:lnTo>
                  <a:pt x="5933489" y="3565558"/>
                </a:lnTo>
                <a:lnTo>
                  <a:pt x="5921347" y="3565558"/>
                </a:lnTo>
                <a:lnTo>
                  <a:pt x="5921347" y="3559487"/>
                </a:lnTo>
                <a:close/>
                <a:moveTo>
                  <a:pt x="6725837" y="3541273"/>
                </a:moveTo>
                <a:lnTo>
                  <a:pt x="6728872" y="3544310"/>
                </a:lnTo>
                <a:lnTo>
                  <a:pt x="6722801" y="3544310"/>
                </a:lnTo>
                <a:close/>
                <a:moveTo>
                  <a:pt x="6783517" y="3535202"/>
                </a:moveTo>
                <a:lnTo>
                  <a:pt x="6786553" y="3541273"/>
                </a:lnTo>
                <a:lnTo>
                  <a:pt x="6792625" y="3550381"/>
                </a:lnTo>
                <a:lnTo>
                  <a:pt x="6795661" y="3556453"/>
                </a:lnTo>
                <a:lnTo>
                  <a:pt x="6795661" y="3562524"/>
                </a:lnTo>
                <a:lnTo>
                  <a:pt x="6792625" y="3559489"/>
                </a:lnTo>
                <a:lnTo>
                  <a:pt x="6789589" y="3556453"/>
                </a:lnTo>
                <a:lnTo>
                  <a:pt x="6783517" y="3553417"/>
                </a:lnTo>
                <a:lnTo>
                  <a:pt x="6783517" y="3547345"/>
                </a:lnTo>
                <a:lnTo>
                  <a:pt x="6780481" y="3544310"/>
                </a:lnTo>
                <a:lnTo>
                  <a:pt x="6780481" y="3541273"/>
                </a:lnTo>
                <a:lnTo>
                  <a:pt x="6783517" y="3541273"/>
                </a:lnTo>
                <a:close/>
                <a:moveTo>
                  <a:pt x="6088315" y="3535202"/>
                </a:moveTo>
                <a:lnTo>
                  <a:pt x="6091352" y="3538238"/>
                </a:lnTo>
                <a:lnTo>
                  <a:pt x="6085281" y="3544310"/>
                </a:lnTo>
                <a:lnTo>
                  <a:pt x="6076172" y="3547345"/>
                </a:lnTo>
                <a:lnTo>
                  <a:pt x="6067065" y="3550381"/>
                </a:lnTo>
                <a:lnTo>
                  <a:pt x="6048851" y="3559489"/>
                </a:lnTo>
                <a:lnTo>
                  <a:pt x="6045816" y="3562523"/>
                </a:lnTo>
                <a:lnTo>
                  <a:pt x="6039744" y="3568595"/>
                </a:lnTo>
                <a:lnTo>
                  <a:pt x="6030637" y="3574667"/>
                </a:lnTo>
                <a:lnTo>
                  <a:pt x="6015457" y="3577703"/>
                </a:lnTo>
                <a:lnTo>
                  <a:pt x="6015457" y="3574667"/>
                </a:lnTo>
                <a:lnTo>
                  <a:pt x="6015457" y="3568595"/>
                </a:lnTo>
                <a:lnTo>
                  <a:pt x="6018493" y="3562523"/>
                </a:lnTo>
                <a:lnTo>
                  <a:pt x="6024564" y="3556453"/>
                </a:lnTo>
                <a:lnTo>
                  <a:pt x="6024565" y="3556452"/>
                </a:lnTo>
                <a:lnTo>
                  <a:pt x="6024566" y="3556452"/>
                </a:lnTo>
                <a:lnTo>
                  <a:pt x="6033671" y="3553417"/>
                </a:lnTo>
                <a:lnTo>
                  <a:pt x="6030637" y="3559488"/>
                </a:lnTo>
                <a:lnTo>
                  <a:pt x="6033672" y="3553416"/>
                </a:lnTo>
                <a:lnTo>
                  <a:pt x="6042779" y="3550380"/>
                </a:lnTo>
                <a:lnTo>
                  <a:pt x="6045815" y="3544310"/>
                </a:lnTo>
                <a:lnTo>
                  <a:pt x="6051885" y="3541273"/>
                </a:lnTo>
                <a:lnTo>
                  <a:pt x="6060994" y="3538238"/>
                </a:lnTo>
                <a:lnTo>
                  <a:pt x="6073137" y="3538238"/>
                </a:lnTo>
                <a:lnTo>
                  <a:pt x="6079209" y="3538238"/>
                </a:lnTo>
                <a:close/>
                <a:moveTo>
                  <a:pt x="6012421" y="3535201"/>
                </a:moveTo>
                <a:lnTo>
                  <a:pt x="6018493" y="3535201"/>
                </a:lnTo>
                <a:lnTo>
                  <a:pt x="6015457" y="3541272"/>
                </a:lnTo>
                <a:lnTo>
                  <a:pt x="6009386" y="3541272"/>
                </a:lnTo>
                <a:close/>
                <a:moveTo>
                  <a:pt x="5866702" y="3535200"/>
                </a:moveTo>
                <a:lnTo>
                  <a:pt x="5875810" y="3538236"/>
                </a:lnTo>
                <a:lnTo>
                  <a:pt x="5872774" y="3544308"/>
                </a:lnTo>
                <a:lnTo>
                  <a:pt x="5866702" y="3547343"/>
                </a:lnTo>
                <a:lnTo>
                  <a:pt x="5857595" y="3544308"/>
                </a:lnTo>
                <a:close/>
                <a:moveTo>
                  <a:pt x="6033672" y="3532165"/>
                </a:moveTo>
                <a:lnTo>
                  <a:pt x="6039744" y="3532165"/>
                </a:lnTo>
                <a:lnTo>
                  <a:pt x="6045816" y="3532165"/>
                </a:lnTo>
                <a:lnTo>
                  <a:pt x="6048851" y="3535201"/>
                </a:lnTo>
                <a:lnTo>
                  <a:pt x="6045816" y="3538237"/>
                </a:lnTo>
                <a:lnTo>
                  <a:pt x="6036707" y="3538237"/>
                </a:lnTo>
                <a:lnTo>
                  <a:pt x="6030637" y="3538237"/>
                </a:lnTo>
                <a:close/>
                <a:moveTo>
                  <a:pt x="6030637" y="3532165"/>
                </a:moveTo>
                <a:lnTo>
                  <a:pt x="6027601" y="3538237"/>
                </a:lnTo>
                <a:lnTo>
                  <a:pt x="6024565" y="3541272"/>
                </a:lnTo>
                <a:lnTo>
                  <a:pt x="6024565" y="3535201"/>
                </a:lnTo>
                <a:close/>
                <a:moveTo>
                  <a:pt x="6003313" y="3532164"/>
                </a:moveTo>
                <a:lnTo>
                  <a:pt x="6003313" y="3538236"/>
                </a:lnTo>
                <a:lnTo>
                  <a:pt x="6000277" y="3541271"/>
                </a:lnTo>
                <a:lnTo>
                  <a:pt x="5991171" y="3544308"/>
                </a:lnTo>
                <a:lnTo>
                  <a:pt x="5979027" y="3547343"/>
                </a:lnTo>
                <a:lnTo>
                  <a:pt x="5963847" y="3550379"/>
                </a:lnTo>
                <a:lnTo>
                  <a:pt x="5954741" y="3547343"/>
                </a:lnTo>
                <a:lnTo>
                  <a:pt x="5942597" y="3547343"/>
                </a:lnTo>
                <a:lnTo>
                  <a:pt x="5936526" y="3541271"/>
                </a:lnTo>
                <a:lnTo>
                  <a:pt x="5948669" y="3535200"/>
                </a:lnTo>
                <a:lnTo>
                  <a:pt x="5954741" y="3535200"/>
                </a:lnTo>
                <a:lnTo>
                  <a:pt x="5960812" y="3535200"/>
                </a:lnTo>
                <a:lnTo>
                  <a:pt x="5966883" y="3538236"/>
                </a:lnTo>
                <a:lnTo>
                  <a:pt x="5969919" y="3541271"/>
                </a:lnTo>
                <a:lnTo>
                  <a:pt x="5972955" y="3541271"/>
                </a:lnTo>
                <a:lnTo>
                  <a:pt x="5975991" y="3538236"/>
                </a:lnTo>
                <a:lnTo>
                  <a:pt x="5982062" y="3538236"/>
                </a:lnTo>
                <a:lnTo>
                  <a:pt x="5985099" y="3541271"/>
                </a:lnTo>
                <a:lnTo>
                  <a:pt x="5991171" y="3541271"/>
                </a:lnTo>
                <a:lnTo>
                  <a:pt x="5994205" y="3541271"/>
                </a:lnTo>
                <a:lnTo>
                  <a:pt x="6000277" y="3535200"/>
                </a:lnTo>
                <a:close/>
                <a:moveTo>
                  <a:pt x="5900096" y="3532164"/>
                </a:moveTo>
                <a:lnTo>
                  <a:pt x="5906168" y="3532164"/>
                </a:lnTo>
                <a:lnTo>
                  <a:pt x="5921347" y="3535200"/>
                </a:lnTo>
                <a:lnTo>
                  <a:pt x="5921347" y="3541271"/>
                </a:lnTo>
                <a:lnTo>
                  <a:pt x="5924382" y="3541271"/>
                </a:lnTo>
                <a:lnTo>
                  <a:pt x="5921347" y="3544308"/>
                </a:lnTo>
                <a:lnTo>
                  <a:pt x="5918311" y="3547343"/>
                </a:lnTo>
                <a:lnTo>
                  <a:pt x="5909203" y="3547343"/>
                </a:lnTo>
                <a:lnTo>
                  <a:pt x="5884917" y="3550379"/>
                </a:lnTo>
                <a:lnTo>
                  <a:pt x="5878845" y="3553415"/>
                </a:lnTo>
                <a:lnTo>
                  <a:pt x="5875810" y="3547343"/>
                </a:lnTo>
                <a:lnTo>
                  <a:pt x="5878845" y="3541271"/>
                </a:lnTo>
                <a:lnTo>
                  <a:pt x="5884917" y="3538236"/>
                </a:lnTo>
                <a:lnTo>
                  <a:pt x="5894024" y="3544308"/>
                </a:lnTo>
                <a:lnTo>
                  <a:pt x="5903131" y="3544308"/>
                </a:lnTo>
                <a:lnTo>
                  <a:pt x="5903131" y="3541271"/>
                </a:lnTo>
                <a:lnTo>
                  <a:pt x="5900096" y="3538236"/>
                </a:lnTo>
                <a:lnTo>
                  <a:pt x="5897061" y="3535200"/>
                </a:lnTo>
                <a:close/>
                <a:moveTo>
                  <a:pt x="6716729" y="3529131"/>
                </a:moveTo>
                <a:lnTo>
                  <a:pt x="6722801" y="3538238"/>
                </a:lnTo>
                <a:lnTo>
                  <a:pt x="6722801" y="3541273"/>
                </a:lnTo>
                <a:lnTo>
                  <a:pt x="6719765" y="3541273"/>
                </a:lnTo>
                <a:lnTo>
                  <a:pt x="6710657" y="3535202"/>
                </a:lnTo>
                <a:close/>
                <a:moveTo>
                  <a:pt x="5842416" y="3529129"/>
                </a:moveTo>
                <a:lnTo>
                  <a:pt x="5854559" y="3538236"/>
                </a:lnTo>
                <a:lnTo>
                  <a:pt x="5845451" y="3544308"/>
                </a:lnTo>
                <a:lnTo>
                  <a:pt x="5842416" y="3544308"/>
                </a:lnTo>
                <a:lnTo>
                  <a:pt x="5836344" y="3541271"/>
                </a:lnTo>
                <a:lnTo>
                  <a:pt x="5830272" y="3535200"/>
                </a:lnTo>
                <a:lnTo>
                  <a:pt x="5827237" y="3532164"/>
                </a:lnTo>
                <a:lnTo>
                  <a:pt x="5839380" y="3532164"/>
                </a:lnTo>
                <a:close/>
                <a:moveTo>
                  <a:pt x="6734944" y="3520023"/>
                </a:moveTo>
                <a:lnTo>
                  <a:pt x="6756195" y="3529131"/>
                </a:lnTo>
                <a:lnTo>
                  <a:pt x="6762267" y="3535202"/>
                </a:lnTo>
                <a:lnTo>
                  <a:pt x="6765302" y="3535202"/>
                </a:lnTo>
                <a:lnTo>
                  <a:pt x="6765302" y="3541273"/>
                </a:lnTo>
                <a:lnTo>
                  <a:pt x="6759230" y="3538238"/>
                </a:lnTo>
                <a:lnTo>
                  <a:pt x="6747087" y="3532166"/>
                </a:lnTo>
                <a:lnTo>
                  <a:pt x="6741015" y="3526094"/>
                </a:lnTo>
                <a:close/>
                <a:moveTo>
                  <a:pt x="6076174" y="3520022"/>
                </a:moveTo>
                <a:lnTo>
                  <a:pt x="6082245" y="3523058"/>
                </a:lnTo>
                <a:lnTo>
                  <a:pt x="6079209" y="3526093"/>
                </a:lnTo>
                <a:lnTo>
                  <a:pt x="6064031" y="3529130"/>
                </a:lnTo>
                <a:lnTo>
                  <a:pt x="6064031" y="3523058"/>
                </a:lnTo>
                <a:lnTo>
                  <a:pt x="6073137" y="3523058"/>
                </a:lnTo>
                <a:close/>
                <a:moveTo>
                  <a:pt x="6182427" y="3510914"/>
                </a:moveTo>
                <a:lnTo>
                  <a:pt x="6179391" y="3523058"/>
                </a:lnTo>
                <a:lnTo>
                  <a:pt x="6176355" y="3529130"/>
                </a:lnTo>
                <a:lnTo>
                  <a:pt x="6170284" y="3529130"/>
                </a:lnTo>
                <a:lnTo>
                  <a:pt x="6170284" y="3526093"/>
                </a:lnTo>
                <a:lnTo>
                  <a:pt x="6173319" y="3523058"/>
                </a:lnTo>
                <a:close/>
                <a:moveTo>
                  <a:pt x="5796879" y="3507878"/>
                </a:moveTo>
                <a:lnTo>
                  <a:pt x="5809021" y="3507878"/>
                </a:lnTo>
                <a:lnTo>
                  <a:pt x="5818130" y="3507878"/>
                </a:lnTo>
                <a:lnTo>
                  <a:pt x="5818130" y="3510913"/>
                </a:lnTo>
                <a:lnTo>
                  <a:pt x="5799914" y="3513950"/>
                </a:lnTo>
                <a:lnTo>
                  <a:pt x="5790807" y="3510913"/>
                </a:lnTo>
                <a:close/>
                <a:moveTo>
                  <a:pt x="6695479" y="3501808"/>
                </a:moveTo>
                <a:lnTo>
                  <a:pt x="6707622" y="3507880"/>
                </a:lnTo>
                <a:lnTo>
                  <a:pt x="6713694" y="3513952"/>
                </a:lnTo>
                <a:lnTo>
                  <a:pt x="6716729" y="3516987"/>
                </a:lnTo>
                <a:lnTo>
                  <a:pt x="6701551" y="3510915"/>
                </a:lnTo>
                <a:close/>
                <a:moveTo>
                  <a:pt x="6234036" y="3492700"/>
                </a:moveTo>
                <a:lnTo>
                  <a:pt x="6240107" y="3498772"/>
                </a:lnTo>
                <a:lnTo>
                  <a:pt x="6237071" y="3507879"/>
                </a:lnTo>
                <a:lnTo>
                  <a:pt x="6230999" y="3501807"/>
                </a:lnTo>
                <a:close/>
                <a:moveTo>
                  <a:pt x="5654195" y="3486627"/>
                </a:moveTo>
                <a:lnTo>
                  <a:pt x="5669374" y="3489663"/>
                </a:lnTo>
                <a:lnTo>
                  <a:pt x="5681518" y="3486627"/>
                </a:lnTo>
                <a:lnTo>
                  <a:pt x="5687590" y="3492699"/>
                </a:lnTo>
                <a:lnTo>
                  <a:pt x="5696697" y="3492699"/>
                </a:lnTo>
                <a:lnTo>
                  <a:pt x="5699732" y="3492699"/>
                </a:lnTo>
                <a:lnTo>
                  <a:pt x="5702769" y="3495734"/>
                </a:lnTo>
                <a:lnTo>
                  <a:pt x="5705804" y="3501806"/>
                </a:lnTo>
                <a:lnTo>
                  <a:pt x="5711876" y="3504842"/>
                </a:lnTo>
                <a:lnTo>
                  <a:pt x="5727055" y="3507878"/>
                </a:lnTo>
                <a:lnTo>
                  <a:pt x="5742234" y="3507878"/>
                </a:lnTo>
                <a:lnTo>
                  <a:pt x="5748306" y="3501806"/>
                </a:lnTo>
                <a:lnTo>
                  <a:pt x="5751341" y="3501806"/>
                </a:lnTo>
                <a:lnTo>
                  <a:pt x="5757413" y="3498771"/>
                </a:lnTo>
                <a:lnTo>
                  <a:pt x="5772592" y="3504842"/>
                </a:lnTo>
                <a:lnTo>
                  <a:pt x="5781700" y="3507878"/>
                </a:lnTo>
                <a:lnTo>
                  <a:pt x="5787772" y="3510913"/>
                </a:lnTo>
                <a:lnTo>
                  <a:pt x="5790807" y="3513950"/>
                </a:lnTo>
                <a:lnTo>
                  <a:pt x="5793842" y="3520022"/>
                </a:lnTo>
                <a:lnTo>
                  <a:pt x="5802951" y="3526092"/>
                </a:lnTo>
                <a:lnTo>
                  <a:pt x="5809021" y="3523057"/>
                </a:lnTo>
                <a:lnTo>
                  <a:pt x="5818130" y="3523057"/>
                </a:lnTo>
                <a:lnTo>
                  <a:pt x="5827237" y="3526092"/>
                </a:lnTo>
                <a:lnTo>
                  <a:pt x="5827237" y="3532164"/>
                </a:lnTo>
                <a:lnTo>
                  <a:pt x="5827237" y="3535200"/>
                </a:lnTo>
                <a:lnTo>
                  <a:pt x="5827237" y="3541271"/>
                </a:lnTo>
                <a:lnTo>
                  <a:pt x="5830272" y="3544308"/>
                </a:lnTo>
                <a:lnTo>
                  <a:pt x="5824201" y="3544308"/>
                </a:lnTo>
                <a:lnTo>
                  <a:pt x="5799914" y="3535200"/>
                </a:lnTo>
                <a:lnTo>
                  <a:pt x="5796879" y="3538236"/>
                </a:lnTo>
                <a:lnTo>
                  <a:pt x="5790807" y="3538236"/>
                </a:lnTo>
                <a:lnTo>
                  <a:pt x="5784735" y="3535200"/>
                </a:lnTo>
                <a:lnTo>
                  <a:pt x="5775628" y="3535200"/>
                </a:lnTo>
                <a:lnTo>
                  <a:pt x="5766521" y="3535200"/>
                </a:lnTo>
                <a:lnTo>
                  <a:pt x="5751341" y="3535200"/>
                </a:lnTo>
                <a:lnTo>
                  <a:pt x="5742234" y="3529129"/>
                </a:lnTo>
                <a:lnTo>
                  <a:pt x="5727055" y="3526092"/>
                </a:lnTo>
                <a:lnTo>
                  <a:pt x="5717948" y="3523057"/>
                </a:lnTo>
                <a:lnTo>
                  <a:pt x="5708840" y="3523057"/>
                </a:lnTo>
                <a:lnTo>
                  <a:pt x="5705804" y="3523057"/>
                </a:lnTo>
                <a:lnTo>
                  <a:pt x="5705804" y="3526092"/>
                </a:lnTo>
                <a:lnTo>
                  <a:pt x="5699732" y="3526092"/>
                </a:lnTo>
                <a:lnTo>
                  <a:pt x="5687590" y="3523057"/>
                </a:lnTo>
                <a:lnTo>
                  <a:pt x="5675446" y="3516985"/>
                </a:lnTo>
                <a:lnTo>
                  <a:pt x="5660267" y="3516985"/>
                </a:lnTo>
                <a:lnTo>
                  <a:pt x="5660267" y="3513950"/>
                </a:lnTo>
                <a:lnTo>
                  <a:pt x="5660267" y="3510913"/>
                </a:lnTo>
                <a:lnTo>
                  <a:pt x="5654195" y="3504842"/>
                </a:lnTo>
                <a:lnTo>
                  <a:pt x="5648124" y="3504842"/>
                </a:lnTo>
                <a:lnTo>
                  <a:pt x="5642052" y="3504842"/>
                </a:lnTo>
                <a:lnTo>
                  <a:pt x="5648124" y="3492699"/>
                </a:lnTo>
                <a:close/>
                <a:moveTo>
                  <a:pt x="4275940" y="3483596"/>
                </a:moveTo>
                <a:lnTo>
                  <a:pt x="4278975" y="3486631"/>
                </a:lnTo>
                <a:lnTo>
                  <a:pt x="4282012" y="3495738"/>
                </a:lnTo>
                <a:lnTo>
                  <a:pt x="4275940" y="3495738"/>
                </a:lnTo>
                <a:lnTo>
                  <a:pt x="4272905" y="3486631"/>
                </a:lnTo>
                <a:close/>
                <a:moveTo>
                  <a:pt x="6659049" y="3477522"/>
                </a:moveTo>
                <a:lnTo>
                  <a:pt x="6668155" y="3483594"/>
                </a:lnTo>
                <a:lnTo>
                  <a:pt x="6677264" y="3489665"/>
                </a:lnTo>
                <a:lnTo>
                  <a:pt x="6683336" y="3498773"/>
                </a:lnTo>
                <a:lnTo>
                  <a:pt x="6680299" y="3504843"/>
                </a:lnTo>
                <a:lnTo>
                  <a:pt x="6674227" y="3504843"/>
                </a:lnTo>
                <a:lnTo>
                  <a:pt x="6668155" y="3498773"/>
                </a:lnTo>
                <a:lnTo>
                  <a:pt x="6659049" y="3486629"/>
                </a:lnTo>
                <a:close/>
                <a:moveTo>
                  <a:pt x="6240107" y="3477521"/>
                </a:moveTo>
                <a:lnTo>
                  <a:pt x="6246179" y="3486628"/>
                </a:lnTo>
                <a:lnTo>
                  <a:pt x="6243143" y="3495735"/>
                </a:lnTo>
                <a:lnTo>
                  <a:pt x="6237071" y="3492700"/>
                </a:lnTo>
                <a:lnTo>
                  <a:pt x="6237071" y="3489664"/>
                </a:lnTo>
                <a:lnTo>
                  <a:pt x="6237071" y="3483593"/>
                </a:lnTo>
                <a:close/>
                <a:moveTo>
                  <a:pt x="4285047" y="3465380"/>
                </a:moveTo>
                <a:lnTo>
                  <a:pt x="4288084" y="3465380"/>
                </a:lnTo>
                <a:lnTo>
                  <a:pt x="4288084" y="3474488"/>
                </a:lnTo>
                <a:lnTo>
                  <a:pt x="4285047" y="3477524"/>
                </a:lnTo>
                <a:lnTo>
                  <a:pt x="4285047" y="3468416"/>
                </a:lnTo>
                <a:close/>
                <a:moveTo>
                  <a:pt x="5997242" y="3459306"/>
                </a:moveTo>
                <a:lnTo>
                  <a:pt x="5997242" y="3471449"/>
                </a:lnTo>
                <a:lnTo>
                  <a:pt x="5994207" y="3474485"/>
                </a:lnTo>
                <a:lnTo>
                  <a:pt x="5991171" y="3474485"/>
                </a:lnTo>
                <a:lnTo>
                  <a:pt x="5991171" y="3465377"/>
                </a:lnTo>
                <a:close/>
                <a:moveTo>
                  <a:pt x="6003314" y="3456270"/>
                </a:moveTo>
                <a:lnTo>
                  <a:pt x="6006351" y="3456270"/>
                </a:lnTo>
                <a:lnTo>
                  <a:pt x="6009386" y="3462342"/>
                </a:lnTo>
                <a:lnTo>
                  <a:pt x="6009386" y="3474485"/>
                </a:lnTo>
                <a:lnTo>
                  <a:pt x="6006351" y="3477521"/>
                </a:lnTo>
                <a:lnTo>
                  <a:pt x="6000279" y="3483593"/>
                </a:lnTo>
                <a:lnTo>
                  <a:pt x="5997242" y="3477521"/>
                </a:lnTo>
                <a:lnTo>
                  <a:pt x="6000279" y="3465377"/>
                </a:lnTo>
                <a:close/>
                <a:moveTo>
                  <a:pt x="6607441" y="3450199"/>
                </a:moveTo>
                <a:lnTo>
                  <a:pt x="6610475" y="3465378"/>
                </a:lnTo>
                <a:lnTo>
                  <a:pt x="6604404" y="3474486"/>
                </a:lnTo>
                <a:lnTo>
                  <a:pt x="6598332" y="3480557"/>
                </a:lnTo>
                <a:lnTo>
                  <a:pt x="6580117" y="3489665"/>
                </a:lnTo>
                <a:lnTo>
                  <a:pt x="6571011" y="3492701"/>
                </a:lnTo>
                <a:lnTo>
                  <a:pt x="6561903" y="3495736"/>
                </a:lnTo>
                <a:lnTo>
                  <a:pt x="6552796" y="3492701"/>
                </a:lnTo>
                <a:lnTo>
                  <a:pt x="6543689" y="3489665"/>
                </a:lnTo>
                <a:lnTo>
                  <a:pt x="6534581" y="3486629"/>
                </a:lnTo>
                <a:lnTo>
                  <a:pt x="6525473" y="3480557"/>
                </a:lnTo>
                <a:lnTo>
                  <a:pt x="6540652" y="3477522"/>
                </a:lnTo>
                <a:lnTo>
                  <a:pt x="6558867" y="3477522"/>
                </a:lnTo>
                <a:lnTo>
                  <a:pt x="6564939" y="3477522"/>
                </a:lnTo>
                <a:lnTo>
                  <a:pt x="6574047" y="3477522"/>
                </a:lnTo>
                <a:lnTo>
                  <a:pt x="6580117" y="3477522"/>
                </a:lnTo>
                <a:lnTo>
                  <a:pt x="6583154" y="3471450"/>
                </a:lnTo>
                <a:lnTo>
                  <a:pt x="6586189" y="3468414"/>
                </a:lnTo>
                <a:lnTo>
                  <a:pt x="6592261" y="3459307"/>
                </a:lnTo>
                <a:close/>
                <a:moveTo>
                  <a:pt x="5863667" y="3431983"/>
                </a:moveTo>
                <a:lnTo>
                  <a:pt x="5866703" y="3431983"/>
                </a:lnTo>
                <a:lnTo>
                  <a:pt x="5866703" y="3444127"/>
                </a:lnTo>
                <a:lnTo>
                  <a:pt x="5863667" y="3447163"/>
                </a:lnTo>
                <a:lnTo>
                  <a:pt x="5860632" y="3447163"/>
                </a:lnTo>
                <a:lnTo>
                  <a:pt x="5860632" y="3438055"/>
                </a:lnTo>
                <a:close/>
                <a:moveTo>
                  <a:pt x="6067066" y="3428948"/>
                </a:moveTo>
                <a:lnTo>
                  <a:pt x="6085281" y="3428948"/>
                </a:lnTo>
                <a:lnTo>
                  <a:pt x="6091352" y="3435020"/>
                </a:lnTo>
                <a:lnTo>
                  <a:pt x="6088317" y="3441091"/>
                </a:lnTo>
                <a:lnTo>
                  <a:pt x="6079209" y="3444127"/>
                </a:lnTo>
                <a:lnTo>
                  <a:pt x="6070102" y="3438055"/>
                </a:lnTo>
                <a:lnTo>
                  <a:pt x="6067066" y="3431983"/>
                </a:lnTo>
                <a:close/>
                <a:moveTo>
                  <a:pt x="6121711" y="3422876"/>
                </a:moveTo>
                <a:lnTo>
                  <a:pt x="6130817" y="3425912"/>
                </a:lnTo>
                <a:lnTo>
                  <a:pt x="6139926" y="3422876"/>
                </a:lnTo>
                <a:lnTo>
                  <a:pt x="6152069" y="3425912"/>
                </a:lnTo>
                <a:lnTo>
                  <a:pt x="6161176" y="3428948"/>
                </a:lnTo>
                <a:lnTo>
                  <a:pt x="6167247" y="3438055"/>
                </a:lnTo>
                <a:lnTo>
                  <a:pt x="6164212" y="3444127"/>
                </a:lnTo>
                <a:lnTo>
                  <a:pt x="6161176" y="3441091"/>
                </a:lnTo>
                <a:lnTo>
                  <a:pt x="6152069" y="3438055"/>
                </a:lnTo>
                <a:lnTo>
                  <a:pt x="6149033" y="3435020"/>
                </a:lnTo>
                <a:lnTo>
                  <a:pt x="6130817" y="3435020"/>
                </a:lnTo>
                <a:lnTo>
                  <a:pt x="6127782" y="3435020"/>
                </a:lnTo>
                <a:lnTo>
                  <a:pt x="6121711" y="3435020"/>
                </a:lnTo>
                <a:lnTo>
                  <a:pt x="6106531" y="3431983"/>
                </a:lnTo>
                <a:lnTo>
                  <a:pt x="6106531" y="3438055"/>
                </a:lnTo>
                <a:lnTo>
                  <a:pt x="6103496" y="3428948"/>
                </a:lnTo>
                <a:lnTo>
                  <a:pt x="6109567" y="3428948"/>
                </a:lnTo>
                <a:close/>
                <a:moveTo>
                  <a:pt x="5532763" y="3422875"/>
                </a:moveTo>
                <a:lnTo>
                  <a:pt x="5538835" y="3428947"/>
                </a:lnTo>
                <a:lnTo>
                  <a:pt x="5538835" y="3431982"/>
                </a:lnTo>
                <a:lnTo>
                  <a:pt x="5535799" y="3431982"/>
                </a:lnTo>
                <a:lnTo>
                  <a:pt x="5535799" y="3428947"/>
                </a:lnTo>
                <a:lnTo>
                  <a:pt x="5532763" y="3425911"/>
                </a:lnTo>
                <a:close/>
                <a:moveTo>
                  <a:pt x="1812376" y="3419842"/>
                </a:moveTo>
                <a:lnTo>
                  <a:pt x="1818448" y="3422877"/>
                </a:lnTo>
                <a:lnTo>
                  <a:pt x="1812376" y="3428949"/>
                </a:lnTo>
                <a:lnTo>
                  <a:pt x="1809341" y="3422877"/>
                </a:lnTo>
                <a:close/>
                <a:moveTo>
                  <a:pt x="6577082" y="3416805"/>
                </a:moveTo>
                <a:lnTo>
                  <a:pt x="6583154" y="3419842"/>
                </a:lnTo>
                <a:lnTo>
                  <a:pt x="6589225" y="3422877"/>
                </a:lnTo>
                <a:lnTo>
                  <a:pt x="6598332" y="3428949"/>
                </a:lnTo>
                <a:lnTo>
                  <a:pt x="6616547" y="3444128"/>
                </a:lnTo>
                <a:lnTo>
                  <a:pt x="6622619" y="3447164"/>
                </a:lnTo>
                <a:lnTo>
                  <a:pt x="6625655" y="3453235"/>
                </a:lnTo>
                <a:lnTo>
                  <a:pt x="6622619" y="3459307"/>
                </a:lnTo>
                <a:lnTo>
                  <a:pt x="6622619" y="3465378"/>
                </a:lnTo>
                <a:lnTo>
                  <a:pt x="6616547" y="3462343"/>
                </a:lnTo>
                <a:lnTo>
                  <a:pt x="6616547" y="3453235"/>
                </a:lnTo>
                <a:lnTo>
                  <a:pt x="6610475" y="3441092"/>
                </a:lnTo>
                <a:lnTo>
                  <a:pt x="6589225" y="3425913"/>
                </a:lnTo>
                <a:lnTo>
                  <a:pt x="6580117" y="3422877"/>
                </a:lnTo>
                <a:close/>
                <a:moveTo>
                  <a:pt x="5687590" y="3416803"/>
                </a:moveTo>
                <a:lnTo>
                  <a:pt x="5699732" y="3422875"/>
                </a:lnTo>
                <a:lnTo>
                  <a:pt x="5696697" y="3431982"/>
                </a:lnTo>
                <a:lnTo>
                  <a:pt x="5687590" y="3431982"/>
                </a:lnTo>
                <a:lnTo>
                  <a:pt x="5684553" y="3425911"/>
                </a:lnTo>
                <a:close/>
                <a:moveTo>
                  <a:pt x="6567975" y="3413770"/>
                </a:moveTo>
                <a:lnTo>
                  <a:pt x="6571011" y="3419842"/>
                </a:lnTo>
                <a:lnTo>
                  <a:pt x="6564939" y="3419842"/>
                </a:lnTo>
                <a:lnTo>
                  <a:pt x="6558867" y="3416805"/>
                </a:lnTo>
                <a:close/>
                <a:moveTo>
                  <a:pt x="6489043" y="3404663"/>
                </a:moveTo>
                <a:lnTo>
                  <a:pt x="6495115" y="3404663"/>
                </a:lnTo>
                <a:lnTo>
                  <a:pt x="6507259" y="3404663"/>
                </a:lnTo>
                <a:lnTo>
                  <a:pt x="6501187" y="3410733"/>
                </a:lnTo>
                <a:lnTo>
                  <a:pt x="6495115" y="3410733"/>
                </a:lnTo>
                <a:lnTo>
                  <a:pt x="6489043" y="3410733"/>
                </a:lnTo>
                <a:close/>
                <a:moveTo>
                  <a:pt x="6054923" y="3401625"/>
                </a:moveTo>
                <a:lnTo>
                  <a:pt x="6060994" y="3401625"/>
                </a:lnTo>
                <a:lnTo>
                  <a:pt x="6073137" y="3401625"/>
                </a:lnTo>
                <a:lnTo>
                  <a:pt x="6057959" y="3404662"/>
                </a:lnTo>
                <a:lnTo>
                  <a:pt x="6051887" y="3404662"/>
                </a:lnTo>
                <a:close/>
                <a:moveTo>
                  <a:pt x="6261357" y="3398590"/>
                </a:moveTo>
                <a:lnTo>
                  <a:pt x="6276537" y="3398590"/>
                </a:lnTo>
                <a:lnTo>
                  <a:pt x="6288681" y="3401625"/>
                </a:lnTo>
                <a:lnTo>
                  <a:pt x="6282609" y="3404662"/>
                </a:lnTo>
                <a:lnTo>
                  <a:pt x="6273501" y="3401625"/>
                </a:lnTo>
                <a:lnTo>
                  <a:pt x="6264394" y="3401625"/>
                </a:lnTo>
                <a:close/>
                <a:moveTo>
                  <a:pt x="6155105" y="3398590"/>
                </a:moveTo>
                <a:lnTo>
                  <a:pt x="6155105" y="3407697"/>
                </a:lnTo>
                <a:lnTo>
                  <a:pt x="6145997" y="3404662"/>
                </a:lnTo>
                <a:lnTo>
                  <a:pt x="6145997" y="3401625"/>
                </a:lnTo>
                <a:close/>
                <a:moveTo>
                  <a:pt x="6033672" y="3398590"/>
                </a:moveTo>
                <a:lnTo>
                  <a:pt x="6045816" y="3398590"/>
                </a:lnTo>
                <a:lnTo>
                  <a:pt x="6051887" y="3404662"/>
                </a:lnTo>
                <a:lnTo>
                  <a:pt x="6039744" y="3404662"/>
                </a:lnTo>
                <a:lnTo>
                  <a:pt x="6033672" y="3407697"/>
                </a:lnTo>
                <a:lnTo>
                  <a:pt x="6030637" y="3401625"/>
                </a:lnTo>
                <a:close/>
                <a:moveTo>
                  <a:pt x="5651160" y="3395552"/>
                </a:moveTo>
                <a:lnTo>
                  <a:pt x="5654195" y="3401624"/>
                </a:lnTo>
                <a:lnTo>
                  <a:pt x="5657231" y="3413768"/>
                </a:lnTo>
                <a:lnTo>
                  <a:pt x="5666339" y="3416803"/>
                </a:lnTo>
                <a:lnTo>
                  <a:pt x="5666339" y="3422875"/>
                </a:lnTo>
                <a:lnTo>
                  <a:pt x="5663303" y="3425911"/>
                </a:lnTo>
                <a:lnTo>
                  <a:pt x="5654195" y="3422875"/>
                </a:lnTo>
                <a:lnTo>
                  <a:pt x="5651160" y="3419840"/>
                </a:lnTo>
                <a:lnTo>
                  <a:pt x="5651160" y="3413768"/>
                </a:lnTo>
                <a:lnTo>
                  <a:pt x="5648124" y="3410731"/>
                </a:lnTo>
                <a:lnTo>
                  <a:pt x="5639017" y="3407696"/>
                </a:lnTo>
                <a:lnTo>
                  <a:pt x="5635981" y="3407696"/>
                </a:lnTo>
                <a:lnTo>
                  <a:pt x="5635981" y="3401624"/>
                </a:lnTo>
                <a:lnTo>
                  <a:pt x="5645088" y="3398589"/>
                </a:lnTo>
                <a:close/>
                <a:moveTo>
                  <a:pt x="6100461" y="3392518"/>
                </a:moveTo>
                <a:lnTo>
                  <a:pt x="6106531" y="3395553"/>
                </a:lnTo>
                <a:lnTo>
                  <a:pt x="6109567" y="3401625"/>
                </a:lnTo>
                <a:lnTo>
                  <a:pt x="6103496" y="3401625"/>
                </a:lnTo>
                <a:lnTo>
                  <a:pt x="6097424" y="3401625"/>
                </a:lnTo>
                <a:lnTo>
                  <a:pt x="6094389" y="3398590"/>
                </a:lnTo>
                <a:lnTo>
                  <a:pt x="6094389" y="3395553"/>
                </a:lnTo>
                <a:close/>
                <a:moveTo>
                  <a:pt x="6003314" y="3389483"/>
                </a:moveTo>
                <a:lnTo>
                  <a:pt x="6009386" y="3389483"/>
                </a:lnTo>
                <a:lnTo>
                  <a:pt x="6015457" y="3392518"/>
                </a:lnTo>
                <a:lnTo>
                  <a:pt x="6006351" y="3395553"/>
                </a:lnTo>
                <a:lnTo>
                  <a:pt x="6003314" y="3398590"/>
                </a:lnTo>
                <a:lnTo>
                  <a:pt x="6000279" y="3395553"/>
                </a:lnTo>
                <a:close/>
                <a:moveTo>
                  <a:pt x="5724019" y="3386445"/>
                </a:moveTo>
                <a:lnTo>
                  <a:pt x="5730091" y="3386445"/>
                </a:lnTo>
                <a:lnTo>
                  <a:pt x="5727055" y="3389482"/>
                </a:lnTo>
                <a:lnTo>
                  <a:pt x="5720983" y="3389482"/>
                </a:lnTo>
                <a:close/>
                <a:moveTo>
                  <a:pt x="6167247" y="3383411"/>
                </a:moveTo>
                <a:lnTo>
                  <a:pt x="6170284" y="3389483"/>
                </a:lnTo>
                <a:lnTo>
                  <a:pt x="6167247" y="3392518"/>
                </a:lnTo>
                <a:lnTo>
                  <a:pt x="6161176" y="3386446"/>
                </a:lnTo>
                <a:close/>
                <a:moveTo>
                  <a:pt x="5502405" y="3383410"/>
                </a:moveTo>
                <a:lnTo>
                  <a:pt x="5511512" y="3389482"/>
                </a:lnTo>
                <a:lnTo>
                  <a:pt x="5514549" y="3398589"/>
                </a:lnTo>
                <a:lnTo>
                  <a:pt x="5511512" y="3401624"/>
                </a:lnTo>
                <a:lnTo>
                  <a:pt x="5502405" y="3395552"/>
                </a:lnTo>
                <a:lnTo>
                  <a:pt x="5499370" y="3389482"/>
                </a:lnTo>
                <a:close/>
                <a:moveTo>
                  <a:pt x="6158141" y="3380374"/>
                </a:moveTo>
                <a:lnTo>
                  <a:pt x="6167247" y="3380374"/>
                </a:lnTo>
                <a:lnTo>
                  <a:pt x="6164212" y="3383411"/>
                </a:lnTo>
                <a:lnTo>
                  <a:pt x="6158141" y="3383411"/>
                </a:lnTo>
                <a:close/>
                <a:moveTo>
                  <a:pt x="6261357" y="3377339"/>
                </a:moveTo>
                <a:lnTo>
                  <a:pt x="6267429" y="3380374"/>
                </a:lnTo>
                <a:lnTo>
                  <a:pt x="6273501" y="3383411"/>
                </a:lnTo>
                <a:lnTo>
                  <a:pt x="6279572" y="3386446"/>
                </a:lnTo>
                <a:lnTo>
                  <a:pt x="6276537" y="3389483"/>
                </a:lnTo>
                <a:lnTo>
                  <a:pt x="6264394" y="3383411"/>
                </a:lnTo>
                <a:lnTo>
                  <a:pt x="6261357" y="3380374"/>
                </a:lnTo>
                <a:close/>
                <a:moveTo>
                  <a:pt x="2407394" y="3374303"/>
                </a:moveTo>
                <a:lnTo>
                  <a:pt x="2410431" y="3377339"/>
                </a:lnTo>
                <a:lnTo>
                  <a:pt x="2407394" y="3386447"/>
                </a:lnTo>
                <a:lnTo>
                  <a:pt x="2395251" y="3395554"/>
                </a:lnTo>
                <a:lnTo>
                  <a:pt x="2395251" y="3392518"/>
                </a:lnTo>
                <a:lnTo>
                  <a:pt x="2401323" y="3386447"/>
                </a:lnTo>
                <a:close/>
                <a:moveTo>
                  <a:pt x="6197606" y="3371267"/>
                </a:moveTo>
                <a:lnTo>
                  <a:pt x="6212785" y="3374303"/>
                </a:lnTo>
                <a:lnTo>
                  <a:pt x="6215821" y="3377339"/>
                </a:lnTo>
                <a:lnTo>
                  <a:pt x="6221892" y="3380374"/>
                </a:lnTo>
                <a:lnTo>
                  <a:pt x="6227964" y="3380374"/>
                </a:lnTo>
                <a:lnTo>
                  <a:pt x="6234036" y="3380374"/>
                </a:lnTo>
                <a:lnTo>
                  <a:pt x="6234036" y="3386446"/>
                </a:lnTo>
                <a:lnTo>
                  <a:pt x="6237071" y="3395553"/>
                </a:lnTo>
                <a:lnTo>
                  <a:pt x="6234036" y="3395553"/>
                </a:lnTo>
                <a:lnTo>
                  <a:pt x="6234036" y="3398590"/>
                </a:lnTo>
                <a:lnTo>
                  <a:pt x="6234036" y="3404662"/>
                </a:lnTo>
                <a:lnTo>
                  <a:pt x="6237071" y="3416804"/>
                </a:lnTo>
                <a:lnTo>
                  <a:pt x="6246179" y="3425912"/>
                </a:lnTo>
                <a:lnTo>
                  <a:pt x="6252251" y="3435020"/>
                </a:lnTo>
                <a:lnTo>
                  <a:pt x="6261357" y="3431983"/>
                </a:lnTo>
                <a:lnTo>
                  <a:pt x="6267429" y="3428948"/>
                </a:lnTo>
                <a:lnTo>
                  <a:pt x="6270465" y="3425912"/>
                </a:lnTo>
                <a:lnTo>
                  <a:pt x="6279572" y="3413769"/>
                </a:lnTo>
                <a:lnTo>
                  <a:pt x="6282609" y="3410732"/>
                </a:lnTo>
                <a:lnTo>
                  <a:pt x="6288681" y="3410732"/>
                </a:lnTo>
                <a:lnTo>
                  <a:pt x="6297787" y="3404662"/>
                </a:lnTo>
                <a:lnTo>
                  <a:pt x="6297787" y="3401625"/>
                </a:lnTo>
                <a:lnTo>
                  <a:pt x="6303859" y="3398590"/>
                </a:lnTo>
                <a:lnTo>
                  <a:pt x="6312967" y="3395553"/>
                </a:lnTo>
                <a:lnTo>
                  <a:pt x="6325111" y="3401625"/>
                </a:lnTo>
                <a:lnTo>
                  <a:pt x="6349395" y="3413769"/>
                </a:lnTo>
                <a:lnTo>
                  <a:pt x="6352432" y="3413769"/>
                </a:lnTo>
                <a:lnTo>
                  <a:pt x="6358504" y="3413769"/>
                </a:lnTo>
                <a:lnTo>
                  <a:pt x="6370647" y="3416804"/>
                </a:lnTo>
                <a:lnTo>
                  <a:pt x="6376719" y="3416804"/>
                </a:lnTo>
                <a:lnTo>
                  <a:pt x="6376719" y="3416805"/>
                </a:lnTo>
                <a:lnTo>
                  <a:pt x="6382791" y="3419842"/>
                </a:lnTo>
                <a:lnTo>
                  <a:pt x="6397969" y="3425913"/>
                </a:lnTo>
                <a:lnTo>
                  <a:pt x="6422256" y="3435020"/>
                </a:lnTo>
                <a:lnTo>
                  <a:pt x="6446542" y="3444128"/>
                </a:lnTo>
                <a:lnTo>
                  <a:pt x="6455649" y="3450199"/>
                </a:lnTo>
                <a:lnTo>
                  <a:pt x="6461721" y="3453235"/>
                </a:lnTo>
                <a:lnTo>
                  <a:pt x="6464757" y="3456271"/>
                </a:lnTo>
                <a:lnTo>
                  <a:pt x="6473865" y="3462343"/>
                </a:lnTo>
                <a:lnTo>
                  <a:pt x="6473865" y="3468414"/>
                </a:lnTo>
                <a:lnTo>
                  <a:pt x="6473865" y="3477522"/>
                </a:lnTo>
                <a:lnTo>
                  <a:pt x="6479935" y="3477522"/>
                </a:lnTo>
                <a:lnTo>
                  <a:pt x="6492079" y="3483594"/>
                </a:lnTo>
                <a:lnTo>
                  <a:pt x="6504223" y="3486629"/>
                </a:lnTo>
                <a:lnTo>
                  <a:pt x="6507259" y="3486629"/>
                </a:lnTo>
                <a:lnTo>
                  <a:pt x="6510294" y="3489665"/>
                </a:lnTo>
                <a:lnTo>
                  <a:pt x="6516365" y="3498773"/>
                </a:lnTo>
                <a:lnTo>
                  <a:pt x="6513331" y="3501808"/>
                </a:lnTo>
                <a:lnTo>
                  <a:pt x="6510294" y="3504843"/>
                </a:lnTo>
                <a:lnTo>
                  <a:pt x="6504223" y="3504843"/>
                </a:lnTo>
                <a:lnTo>
                  <a:pt x="6501187" y="3501808"/>
                </a:lnTo>
                <a:lnTo>
                  <a:pt x="6498151" y="3504843"/>
                </a:lnTo>
                <a:lnTo>
                  <a:pt x="6504223" y="3516987"/>
                </a:lnTo>
                <a:lnTo>
                  <a:pt x="6513331" y="3526094"/>
                </a:lnTo>
                <a:lnTo>
                  <a:pt x="6516365" y="3529131"/>
                </a:lnTo>
                <a:lnTo>
                  <a:pt x="6522437" y="3532166"/>
                </a:lnTo>
                <a:lnTo>
                  <a:pt x="6522437" y="3538238"/>
                </a:lnTo>
                <a:lnTo>
                  <a:pt x="6525473" y="3541273"/>
                </a:lnTo>
                <a:lnTo>
                  <a:pt x="6531545" y="3550381"/>
                </a:lnTo>
                <a:lnTo>
                  <a:pt x="6546724" y="3559489"/>
                </a:lnTo>
                <a:lnTo>
                  <a:pt x="6555831" y="3562524"/>
                </a:lnTo>
                <a:lnTo>
                  <a:pt x="6558867" y="3562524"/>
                </a:lnTo>
                <a:lnTo>
                  <a:pt x="6558867" y="3565560"/>
                </a:lnTo>
                <a:lnTo>
                  <a:pt x="6558867" y="3571632"/>
                </a:lnTo>
                <a:lnTo>
                  <a:pt x="6564939" y="3574667"/>
                </a:lnTo>
                <a:lnTo>
                  <a:pt x="6574047" y="3577704"/>
                </a:lnTo>
                <a:lnTo>
                  <a:pt x="6574047" y="3580739"/>
                </a:lnTo>
                <a:lnTo>
                  <a:pt x="6574047" y="3583775"/>
                </a:lnTo>
                <a:lnTo>
                  <a:pt x="6564939" y="3583775"/>
                </a:lnTo>
                <a:lnTo>
                  <a:pt x="6558867" y="3583775"/>
                </a:lnTo>
                <a:lnTo>
                  <a:pt x="6561903" y="3580739"/>
                </a:lnTo>
                <a:lnTo>
                  <a:pt x="6540652" y="3574667"/>
                </a:lnTo>
                <a:lnTo>
                  <a:pt x="6525473" y="3574667"/>
                </a:lnTo>
                <a:lnTo>
                  <a:pt x="6513331" y="3571632"/>
                </a:lnTo>
                <a:lnTo>
                  <a:pt x="6501187" y="3562524"/>
                </a:lnTo>
                <a:lnTo>
                  <a:pt x="6495115" y="3553417"/>
                </a:lnTo>
                <a:lnTo>
                  <a:pt x="6489043" y="3541273"/>
                </a:lnTo>
                <a:lnTo>
                  <a:pt x="6479935" y="3532166"/>
                </a:lnTo>
                <a:lnTo>
                  <a:pt x="6467793" y="3526094"/>
                </a:lnTo>
                <a:lnTo>
                  <a:pt x="6455649" y="3526094"/>
                </a:lnTo>
                <a:lnTo>
                  <a:pt x="6449577" y="3523059"/>
                </a:lnTo>
                <a:lnTo>
                  <a:pt x="6449577" y="3520023"/>
                </a:lnTo>
                <a:lnTo>
                  <a:pt x="6446542" y="3520023"/>
                </a:lnTo>
                <a:lnTo>
                  <a:pt x="6443507" y="3523059"/>
                </a:lnTo>
                <a:lnTo>
                  <a:pt x="6434399" y="3523059"/>
                </a:lnTo>
                <a:lnTo>
                  <a:pt x="6437435" y="3529131"/>
                </a:lnTo>
                <a:lnTo>
                  <a:pt x="6428327" y="3532166"/>
                </a:lnTo>
                <a:lnTo>
                  <a:pt x="6413149" y="3535202"/>
                </a:lnTo>
                <a:lnTo>
                  <a:pt x="6422256" y="3541273"/>
                </a:lnTo>
                <a:lnTo>
                  <a:pt x="6425291" y="3550381"/>
                </a:lnTo>
                <a:lnTo>
                  <a:pt x="6419219" y="3553417"/>
                </a:lnTo>
                <a:lnTo>
                  <a:pt x="6407077" y="3556453"/>
                </a:lnTo>
                <a:lnTo>
                  <a:pt x="6401005" y="3553417"/>
                </a:lnTo>
                <a:lnTo>
                  <a:pt x="6394934" y="3553417"/>
                </a:lnTo>
                <a:lnTo>
                  <a:pt x="6382791" y="3556453"/>
                </a:lnTo>
                <a:lnTo>
                  <a:pt x="6376719" y="3553417"/>
                </a:lnTo>
                <a:lnTo>
                  <a:pt x="6376719" y="3553416"/>
                </a:lnTo>
                <a:lnTo>
                  <a:pt x="6367611" y="3547344"/>
                </a:lnTo>
                <a:lnTo>
                  <a:pt x="6355469" y="3535201"/>
                </a:lnTo>
                <a:lnTo>
                  <a:pt x="6355469" y="3532165"/>
                </a:lnTo>
                <a:lnTo>
                  <a:pt x="6352432" y="3532165"/>
                </a:lnTo>
                <a:lnTo>
                  <a:pt x="6349395" y="3532165"/>
                </a:lnTo>
                <a:lnTo>
                  <a:pt x="6337253" y="3535201"/>
                </a:lnTo>
                <a:lnTo>
                  <a:pt x="6331181" y="3532165"/>
                </a:lnTo>
                <a:lnTo>
                  <a:pt x="6331181" y="3529130"/>
                </a:lnTo>
                <a:lnTo>
                  <a:pt x="6322074" y="3538237"/>
                </a:lnTo>
                <a:lnTo>
                  <a:pt x="6309931" y="3538237"/>
                </a:lnTo>
                <a:lnTo>
                  <a:pt x="6306895" y="3535201"/>
                </a:lnTo>
                <a:lnTo>
                  <a:pt x="6309931" y="3526093"/>
                </a:lnTo>
                <a:lnTo>
                  <a:pt x="6322074" y="3516986"/>
                </a:lnTo>
                <a:lnTo>
                  <a:pt x="6331181" y="3520022"/>
                </a:lnTo>
                <a:lnTo>
                  <a:pt x="6333459" y="3522298"/>
                </a:lnTo>
                <a:lnTo>
                  <a:pt x="6334217" y="3520022"/>
                </a:lnTo>
                <a:lnTo>
                  <a:pt x="6334217" y="3516986"/>
                </a:lnTo>
                <a:lnTo>
                  <a:pt x="6328146" y="3510914"/>
                </a:lnTo>
                <a:lnTo>
                  <a:pt x="6325111" y="3504843"/>
                </a:lnTo>
                <a:lnTo>
                  <a:pt x="6328146" y="3501807"/>
                </a:lnTo>
                <a:lnTo>
                  <a:pt x="6319039" y="3486628"/>
                </a:lnTo>
                <a:lnTo>
                  <a:pt x="6312967" y="3477521"/>
                </a:lnTo>
                <a:lnTo>
                  <a:pt x="6300823" y="3468413"/>
                </a:lnTo>
                <a:lnTo>
                  <a:pt x="6288681" y="3465377"/>
                </a:lnTo>
                <a:lnTo>
                  <a:pt x="6276537" y="3462342"/>
                </a:lnTo>
                <a:lnTo>
                  <a:pt x="6273501" y="3459306"/>
                </a:lnTo>
                <a:lnTo>
                  <a:pt x="6270465" y="3456270"/>
                </a:lnTo>
                <a:lnTo>
                  <a:pt x="6261357" y="3456270"/>
                </a:lnTo>
                <a:lnTo>
                  <a:pt x="6255287" y="3456270"/>
                </a:lnTo>
                <a:lnTo>
                  <a:pt x="6252251" y="3456270"/>
                </a:lnTo>
                <a:lnTo>
                  <a:pt x="6246179" y="3453234"/>
                </a:lnTo>
                <a:lnTo>
                  <a:pt x="6243143" y="3450198"/>
                </a:lnTo>
                <a:lnTo>
                  <a:pt x="6230999" y="3441091"/>
                </a:lnTo>
                <a:lnTo>
                  <a:pt x="6224929" y="3441091"/>
                </a:lnTo>
                <a:lnTo>
                  <a:pt x="6218857" y="3444127"/>
                </a:lnTo>
                <a:lnTo>
                  <a:pt x="6215821" y="3447163"/>
                </a:lnTo>
                <a:lnTo>
                  <a:pt x="6209749" y="3450198"/>
                </a:lnTo>
                <a:lnTo>
                  <a:pt x="6206713" y="3441091"/>
                </a:lnTo>
                <a:lnTo>
                  <a:pt x="6206713" y="3438055"/>
                </a:lnTo>
                <a:lnTo>
                  <a:pt x="6206713" y="3435020"/>
                </a:lnTo>
                <a:lnTo>
                  <a:pt x="6197606" y="3425912"/>
                </a:lnTo>
                <a:lnTo>
                  <a:pt x="6191534" y="3425912"/>
                </a:lnTo>
                <a:lnTo>
                  <a:pt x="6188499" y="3422876"/>
                </a:lnTo>
                <a:lnTo>
                  <a:pt x="6197606" y="3419841"/>
                </a:lnTo>
                <a:lnTo>
                  <a:pt x="6209749" y="3416804"/>
                </a:lnTo>
                <a:lnTo>
                  <a:pt x="6215821" y="3413769"/>
                </a:lnTo>
                <a:lnTo>
                  <a:pt x="6227964" y="3419841"/>
                </a:lnTo>
                <a:lnTo>
                  <a:pt x="6227964" y="3407697"/>
                </a:lnTo>
                <a:lnTo>
                  <a:pt x="6224929" y="3410732"/>
                </a:lnTo>
                <a:lnTo>
                  <a:pt x="6218857" y="3410732"/>
                </a:lnTo>
                <a:lnTo>
                  <a:pt x="6209749" y="3410732"/>
                </a:lnTo>
                <a:lnTo>
                  <a:pt x="6206713" y="3410732"/>
                </a:lnTo>
                <a:lnTo>
                  <a:pt x="6203677" y="3410732"/>
                </a:lnTo>
                <a:lnTo>
                  <a:pt x="6197606" y="3410732"/>
                </a:lnTo>
                <a:lnTo>
                  <a:pt x="6191534" y="3407697"/>
                </a:lnTo>
                <a:lnTo>
                  <a:pt x="6188499" y="3401625"/>
                </a:lnTo>
                <a:lnTo>
                  <a:pt x="6185463" y="3398590"/>
                </a:lnTo>
                <a:lnTo>
                  <a:pt x="6176355" y="3395553"/>
                </a:lnTo>
                <a:lnTo>
                  <a:pt x="6167247" y="3392518"/>
                </a:lnTo>
                <a:lnTo>
                  <a:pt x="6179391" y="3383411"/>
                </a:lnTo>
                <a:lnTo>
                  <a:pt x="6188499" y="3374303"/>
                </a:lnTo>
                <a:close/>
                <a:moveTo>
                  <a:pt x="6097424" y="3371267"/>
                </a:moveTo>
                <a:lnTo>
                  <a:pt x="6103496" y="3380374"/>
                </a:lnTo>
                <a:lnTo>
                  <a:pt x="6100461" y="3383411"/>
                </a:lnTo>
                <a:lnTo>
                  <a:pt x="6094389" y="3380374"/>
                </a:lnTo>
                <a:lnTo>
                  <a:pt x="6091352" y="3374303"/>
                </a:lnTo>
                <a:close/>
                <a:moveTo>
                  <a:pt x="6164212" y="3365195"/>
                </a:moveTo>
                <a:lnTo>
                  <a:pt x="6176355" y="3368232"/>
                </a:lnTo>
                <a:lnTo>
                  <a:pt x="6173319" y="3374303"/>
                </a:lnTo>
                <a:lnTo>
                  <a:pt x="6164212" y="3368232"/>
                </a:lnTo>
                <a:lnTo>
                  <a:pt x="6167247" y="3371267"/>
                </a:lnTo>
                <a:lnTo>
                  <a:pt x="6161176" y="3374303"/>
                </a:lnTo>
                <a:lnTo>
                  <a:pt x="6152069" y="3368232"/>
                </a:lnTo>
                <a:lnTo>
                  <a:pt x="6155105" y="3368232"/>
                </a:lnTo>
                <a:lnTo>
                  <a:pt x="6158141" y="3368232"/>
                </a:lnTo>
                <a:close/>
                <a:moveTo>
                  <a:pt x="5623838" y="3365195"/>
                </a:moveTo>
                <a:lnTo>
                  <a:pt x="5632945" y="3371266"/>
                </a:lnTo>
                <a:lnTo>
                  <a:pt x="5623838" y="3371266"/>
                </a:lnTo>
                <a:lnTo>
                  <a:pt x="5620801" y="3368231"/>
                </a:lnTo>
                <a:close/>
                <a:moveTo>
                  <a:pt x="1578619" y="3362161"/>
                </a:moveTo>
                <a:lnTo>
                  <a:pt x="1587727" y="3374304"/>
                </a:lnTo>
                <a:lnTo>
                  <a:pt x="1590763" y="3383412"/>
                </a:lnTo>
                <a:lnTo>
                  <a:pt x="1578619" y="3386448"/>
                </a:lnTo>
                <a:lnTo>
                  <a:pt x="1581655" y="3377340"/>
                </a:lnTo>
                <a:close/>
                <a:moveTo>
                  <a:pt x="2428645" y="3359124"/>
                </a:moveTo>
                <a:lnTo>
                  <a:pt x="2437752" y="3359124"/>
                </a:lnTo>
                <a:lnTo>
                  <a:pt x="2440789" y="3359124"/>
                </a:lnTo>
                <a:lnTo>
                  <a:pt x="2437752" y="3365196"/>
                </a:lnTo>
                <a:lnTo>
                  <a:pt x="2428645" y="3365196"/>
                </a:lnTo>
                <a:lnTo>
                  <a:pt x="2425610" y="3362160"/>
                </a:lnTo>
                <a:close/>
                <a:moveTo>
                  <a:pt x="5614730" y="3343944"/>
                </a:moveTo>
                <a:lnTo>
                  <a:pt x="5626873" y="3343944"/>
                </a:lnTo>
                <a:lnTo>
                  <a:pt x="5620801" y="3346980"/>
                </a:lnTo>
                <a:close/>
                <a:moveTo>
                  <a:pt x="5578301" y="3340908"/>
                </a:moveTo>
                <a:lnTo>
                  <a:pt x="5590443" y="3346980"/>
                </a:lnTo>
                <a:lnTo>
                  <a:pt x="5581336" y="3346980"/>
                </a:lnTo>
                <a:close/>
                <a:moveTo>
                  <a:pt x="5587408" y="3337872"/>
                </a:moveTo>
                <a:lnTo>
                  <a:pt x="5596515" y="3343944"/>
                </a:lnTo>
                <a:lnTo>
                  <a:pt x="5590443" y="3343944"/>
                </a:lnTo>
                <a:close/>
                <a:moveTo>
                  <a:pt x="5472047" y="3334837"/>
                </a:moveTo>
                <a:lnTo>
                  <a:pt x="5478119" y="3334837"/>
                </a:lnTo>
                <a:lnTo>
                  <a:pt x="5487226" y="3346980"/>
                </a:lnTo>
                <a:lnTo>
                  <a:pt x="5481154" y="3353052"/>
                </a:lnTo>
                <a:lnTo>
                  <a:pt x="5478119" y="3346980"/>
                </a:lnTo>
                <a:lnTo>
                  <a:pt x="5472047" y="3337872"/>
                </a:lnTo>
                <a:close/>
                <a:moveTo>
                  <a:pt x="6045816" y="3328766"/>
                </a:moveTo>
                <a:lnTo>
                  <a:pt x="6048851" y="3334838"/>
                </a:lnTo>
                <a:lnTo>
                  <a:pt x="6048851" y="3337873"/>
                </a:lnTo>
                <a:lnTo>
                  <a:pt x="6039744" y="3346981"/>
                </a:lnTo>
                <a:lnTo>
                  <a:pt x="6030637" y="3356088"/>
                </a:lnTo>
                <a:lnTo>
                  <a:pt x="6027601" y="3356088"/>
                </a:lnTo>
                <a:lnTo>
                  <a:pt x="6021529" y="3359124"/>
                </a:lnTo>
                <a:lnTo>
                  <a:pt x="6009386" y="3359124"/>
                </a:lnTo>
                <a:lnTo>
                  <a:pt x="6006351" y="3356088"/>
                </a:lnTo>
                <a:lnTo>
                  <a:pt x="6000279" y="3356088"/>
                </a:lnTo>
                <a:lnTo>
                  <a:pt x="5988135" y="3356088"/>
                </a:lnTo>
                <a:lnTo>
                  <a:pt x="5979027" y="3356088"/>
                </a:lnTo>
                <a:lnTo>
                  <a:pt x="5975992" y="3353053"/>
                </a:lnTo>
                <a:lnTo>
                  <a:pt x="5969921" y="3356088"/>
                </a:lnTo>
                <a:lnTo>
                  <a:pt x="5963849" y="3356088"/>
                </a:lnTo>
                <a:lnTo>
                  <a:pt x="5957777" y="3353053"/>
                </a:lnTo>
                <a:lnTo>
                  <a:pt x="5948669" y="3356088"/>
                </a:lnTo>
                <a:lnTo>
                  <a:pt x="5942597" y="3365195"/>
                </a:lnTo>
                <a:lnTo>
                  <a:pt x="5942597" y="3377339"/>
                </a:lnTo>
                <a:lnTo>
                  <a:pt x="5948669" y="3383411"/>
                </a:lnTo>
                <a:lnTo>
                  <a:pt x="5954741" y="3389483"/>
                </a:lnTo>
                <a:lnTo>
                  <a:pt x="5957777" y="3392518"/>
                </a:lnTo>
                <a:lnTo>
                  <a:pt x="5966884" y="3389483"/>
                </a:lnTo>
                <a:lnTo>
                  <a:pt x="5972956" y="3383411"/>
                </a:lnTo>
                <a:lnTo>
                  <a:pt x="5975992" y="3380374"/>
                </a:lnTo>
                <a:lnTo>
                  <a:pt x="5994207" y="3380374"/>
                </a:lnTo>
                <a:lnTo>
                  <a:pt x="6000279" y="3377339"/>
                </a:lnTo>
                <a:lnTo>
                  <a:pt x="6003314" y="3377339"/>
                </a:lnTo>
                <a:lnTo>
                  <a:pt x="6006351" y="3377339"/>
                </a:lnTo>
                <a:lnTo>
                  <a:pt x="6012421" y="3383411"/>
                </a:lnTo>
                <a:lnTo>
                  <a:pt x="6009386" y="3386446"/>
                </a:lnTo>
                <a:lnTo>
                  <a:pt x="6006351" y="3383411"/>
                </a:lnTo>
                <a:lnTo>
                  <a:pt x="6003314" y="3383411"/>
                </a:lnTo>
                <a:lnTo>
                  <a:pt x="6000279" y="3383411"/>
                </a:lnTo>
                <a:lnTo>
                  <a:pt x="5979027" y="3398590"/>
                </a:lnTo>
                <a:lnTo>
                  <a:pt x="5972956" y="3404662"/>
                </a:lnTo>
                <a:lnTo>
                  <a:pt x="5982063" y="3416804"/>
                </a:lnTo>
                <a:lnTo>
                  <a:pt x="5988135" y="3422876"/>
                </a:lnTo>
                <a:lnTo>
                  <a:pt x="5991171" y="3431983"/>
                </a:lnTo>
                <a:lnTo>
                  <a:pt x="5988135" y="3435020"/>
                </a:lnTo>
                <a:lnTo>
                  <a:pt x="5988135" y="3438055"/>
                </a:lnTo>
                <a:lnTo>
                  <a:pt x="5991171" y="3441091"/>
                </a:lnTo>
                <a:lnTo>
                  <a:pt x="5997242" y="3450198"/>
                </a:lnTo>
                <a:lnTo>
                  <a:pt x="6000279" y="3447163"/>
                </a:lnTo>
                <a:lnTo>
                  <a:pt x="6000279" y="3456270"/>
                </a:lnTo>
                <a:lnTo>
                  <a:pt x="5997242" y="3456270"/>
                </a:lnTo>
                <a:lnTo>
                  <a:pt x="5994207" y="3456270"/>
                </a:lnTo>
                <a:lnTo>
                  <a:pt x="5985099" y="3459306"/>
                </a:lnTo>
                <a:lnTo>
                  <a:pt x="5985099" y="3462342"/>
                </a:lnTo>
                <a:lnTo>
                  <a:pt x="5975992" y="3462342"/>
                </a:lnTo>
                <a:lnTo>
                  <a:pt x="5972956" y="3456270"/>
                </a:lnTo>
                <a:lnTo>
                  <a:pt x="5972956" y="3453234"/>
                </a:lnTo>
                <a:lnTo>
                  <a:pt x="5972956" y="3447163"/>
                </a:lnTo>
                <a:lnTo>
                  <a:pt x="5963849" y="3441091"/>
                </a:lnTo>
                <a:lnTo>
                  <a:pt x="5960813" y="3435020"/>
                </a:lnTo>
                <a:lnTo>
                  <a:pt x="5963849" y="3431983"/>
                </a:lnTo>
                <a:lnTo>
                  <a:pt x="5963849" y="3425912"/>
                </a:lnTo>
                <a:lnTo>
                  <a:pt x="5963849" y="3419841"/>
                </a:lnTo>
                <a:lnTo>
                  <a:pt x="5954741" y="3419841"/>
                </a:lnTo>
                <a:lnTo>
                  <a:pt x="5945634" y="3425912"/>
                </a:lnTo>
                <a:lnTo>
                  <a:pt x="5948669" y="3431983"/>
                </a:lnTo>
                <a:lnTo>
                  <a:pt x="5948669" y="3438055"/>
                </a:lnTo>
                <a:lnTo>
                  <a:pt x="5948669" y="3450198"/>
                </a:lnTo>
                <a:lnTo>
                  <a:pt x="5948669" y="3477521"/>
                </a:lnTo>
                <a:lnTo>
                  <a:pt x="5936527" y="3480556"/>
                </a:lnTo>
                <a:lnTo>
                  <a:pt x="5927419" y="3477521"/>
                </a:lnTo>
                <a:lnTo>
                  <a:pt x="5930455" y="3468413"/>
                </a:lnTo>
                <a:lnTo>
                  <a:pt x="5933491" y="3456270"/>
                </a:lnTo>
                <a:lnTo>
                  <a:pt x="5933491" y="3450198"/>
                </a:lnTo>
                <a:lnTo>
                  <a:pt x="5930455" y="3438055"/>
                </a:lnTo>
                <a:lnTo>
                  <a:pt x="5927419" y="3435020"/>
                </a:lnTo>
                <a:lnTo>
                  <a:pt x="5921348" y="3438055"/>
                </a:lnTo>
                <a:lnTo>
                  <a:pt x="5918312" y="3435020"/>
                </a:lnTo>
                <a:lnTo>
                  <a:pt x="5918312" y="3428948"/>
                </a:lnTo>
                <a:lnTo>
                  <a:pt x="5921348" y="3416804"/>
                </a:lnTo>
                <a:lnTo>
                  <a:pt x="5924383" y="3413769"/>
                </a:lnTo>
                <a:lnTo>
                  <a:pt x="5927419" y="3407697"/>
                </a:lnTo>
                <a:lnTo>
                  <a:pt x="5927419" y="3401625"/>
                </a:lnTo>
                <a:lnTo>
                  <a:pt x="5927419" y="3392518"/>
                </a:lnTo>
                <a:lnTo>
                  <a:pt x="5933491" y="3383411"/>
                </a:lnTo>
                <a:lnTo>
                  <a:pt x="5936527" y="3377339"/>
                </a:lnTo>
                <a:lnTo>
                  <a:pt x="5939562" y="3359124"/>
                </a:lnTo>
                <a:lnTo>
                  <a:pt x="5945634" y="3346981"/>
                </a:lnTo>
                <a:lnTo>
                  <a:pt x="5948669" y="3346981"/>
                </a:lnTo>
                <a:lnTo>
                  <a:pt x="5954741" y="3350017"/>
                </a:lnTo>
                <a:lnTo>
                  <a:pt x="5957777" y="3343945"/>
                </a:lnTo>
                <a:lnTo>
                  <a:pt x="5957777" y="3340909"/>
                </a:lnTo>
                <a:lnTo>
                  <a:pt x="5963849" y="3337873"/>
                </a:lnTo>
                <a:lnTo>
                  <a:pt x="5988135" y="3343945"/>
                </a:lnTo>
                <a:lnTo>
                  <a:pt x="5994207" y="3343945"/>
                </a:lnTo>
                <a:lnTo>
                  <a:pt x="6009386" y="3346981"/>
                </a:lnTo>
                <a:lnTo>
                  <a:pt x="6018493" y="3346981"/>
                </a:lnTo>
                <a:lnTo>
                  <a:pt x="6030637" y="3343945"/>
                </a:lnTo>
                <a:lnTo>
                  <a:pt x="6030637" y="3340909"/>
                </a:lnTo>
                <a:lnTo>
                  <a:pt x="6036707" y="3337873"/>
                </a:lnTo>
                <a:lnTo>
                  <a:pt x="6042779" y="3331802"/>
                </a:lnTo>
                <a:close/>
                <a:moveTo>
                  <a:pt x="5569193" y="3328765"/>
                </a:moveTo>
                <a:lnTo>
                  <a:pt x="5575264" y="3328765"/>
                </a:lnTo>
                <a:lnTo>
                  <a:pt x="5581336" y="3331801"/>
                </a:lnTo>
                <a:lnTo>
                  <a:pt x="5581336" y="3334837"/>
                </a:lnTo>
                <a:lnTo>
                  <a:pt x="5575264" y="3334837"/>
                </a:lnTo>
                <a:close/>
                <a:moveTo>
                  <a:pt x="5560085" y="3322693"/>
                </a:moveTo>
                <a:lnTo>
                  <a:pt x="5569193" y="3322693"/>
                </a:lnTo>
                <a:lnTo>
                  <a:pt x="5563122" y="3325729"/>
                </a:lnTo>
                <a:close/>
                <a:moveTo>
                  <a:pt x="6106531" y="3319659"/>
                </a:moveTo>
                <a:lnTo>
                  <a:pt x="6106531" y="3328766"/>
                </a:lnTo>
                <a:lnTo>
                  <a:pt x="6106531" y="3340909"/>
                </a:lnTo>
                <a:lnTo>
                  <a:pt x="6100461" y="3346981"/>
                </a:lnTo>
                <a:lnTo>
                  <a:pt x="6106531" y="3346981"/>
                </a:lnTo>
                <a:lnTo>
                  <a:pt x="6109567" y="3337873"/>
                </a:lnTo>
                <a:lnTo>
                  <a:pt x="6115639" y="3334838"/>
                </a:lnTo>
                <a:lnTo>
                  <a:pt x="6121711" y="3331802"/>
                </a:lnTo>
                <a:lnTo>
                  <a:pt x="6121711" y="3334838"/>
                </a:lnTo>
                <a:lnTo>
                  <a:pt x="6121711" y="3337873"/>
                </a:lnTo>
                <a:lnTo>
                  <a:pt x="6121711" y="3343945"/>
                </a:lnTo>
                <a:lnTo>
                  <a:pt x="6115639" y="3346981"/>
                </a:lnTo>
                <a:lnTo>
                  <a:pt x="6112603" y="3350017"/>
                </a:lnTo>
                <a:lnTo>
                  <a:pt x="6115639" y="3353053"/>
                </a:lnTo>
                <a:lnTo>
                  <a:pt x="6124747" y="3359124"/>
                </a:lnTo>
                <a:lnTo>
                  <a:pt x="6118675" y="3359124"/>
                </a:lnTo>
                <a:lnTo>
                  <a:pt x="6115639" y="3356088"/>
                </a:lnTo>
                <a:lnTo>
                  <a:pt x="6106531" y="3356088"/>
                </a:lnTo>
                <a:lnTo>
                  <a:pt x="6112603" y="3380374"/>
                </a:lnTo>
                <a:lnTo>
                  <a:pt x="6100461" y="3368232"/>
                </a:lnTo>
                <a:lnTo>
                  <a:pt x="6100461" y="3365195"/>
                </a:lnTo>
                <a:lnTo>
                  <a:pt x="6097424" y="3353053"/>
                </a:lnTo>
                <a:lnTo>
                  <a:pt x="6097424" y="3340909"/>
                </a:lnTo>
                <a:lnTo>
                  <a:pt x="6100461" y="3328766"/>
                </a:lnTo>
                <a:close/>
                <a:moveTo>
                  <a:pt x="5833310" y="3319659"/>
                </a:moveTo>
                <a:lnTo>
                  <a:pt x="5833309" y="3319660"/>
                </a:lnTo>
                <a:lnTo>
                  <a:pt x="5836344" y="3322693"/>
                </a:lnTo>
                <a:close/>
                <a:moveTo>
                  <a:pt x="6118675" y="3310551"/>
                </a:moveTo>
                <a:lnTo>
                  <a:pt x="6121711" y="3313587"/>
                </a:lnTo>
                <a:lnTo>
                  <a:pt x="6118675" y="3319659"/>
                </a:lnTo>
                <a:lnTo>
                  <a:pt x="6112603" y="3322694"/>
                </a:lnTo>
                <a:lnTo>
                  <a:pt x="6112603" y="3313587"/>
                </a:lnTo>
                <a:close/>
                <a:moveTo>
                  <a:pt x="5441689" y="3304479"/>
                </a:moveTo>
                <a:lnTo>
                  <a:pt x="5444725" y="3307514"/>
                </a:lnTo>
                <a:lnTo>
                  <a:pt x="5447761" y="3307514"/>
                </a:lnTo>
                <a:lnTo>
                  <a:pt x="5453832" y="3313586"/>
                </a:lnTo>
                <a:lnTo>
                  <a:pt x="5456868" y="3316622"/>
                </a:lnTo>
                <a:lnTo>
                  <a:pt x="5450796" y="3313586"/>
                </a:lnTo>
                <a:lnTo>
                  <a:pt x="5441689" y="3310550"/>
                </a:lnTo>
                <a:lnTo>
                  <a:pt x="5441689" y="3307514"/>
                </a:lnTo>
                <a:close/>
                <a:moveTo>
                  <a:pt x="3649045" y="3289303"/>
                </a:moveTo>
                <a:lnTo>
                  <a:pt x="3649045" y="3295374"/>
                </a:lnTo>
                <a:lnTo>
                  <a:pt x="3646009" y="3298410"/>
                </a:lnTo>
                <a:lnTo>
                  <a:pt x="3639938" y="3298410"/>
                </a:lnTo>
                <a:lnTo>
                  <a:pt x="3642974" y="3292338"/>
                </a:lnTo>
                <a:close/>
                <a:moveTo>
                  <a:pt x="5696698" y="3280193"/>
                </a:moveTo>
                <a:lnTo>
                  <a:pt x="5699733" y="3280193"/>
                </a:lnTo>
                <a:lnTo>
                  <a:pt x="5702770" y="3283229"/>
                </a:lnTo>
                <a:lnTo>
                  <a:pt x="5699733" y="3289301"/>
                </a:lnTo>
                <a:lnTo>
                  <a:pt x="5696698" y="3286264"/>
                </a:lnTo>
                <a:close/>
                <a:moveTo>
                  <a:pt x="6082245" y="3271085"/>
                </a:moveTo>
                <a:lnTo>
                  <a:pt x="6082245" y="3274122"/>
                </a:lnTo>
                <a:lnTo>
                  <a:pt x="6082245" y="3280193"/>
                </a:lnTo>
                <a:lnTo>
                  <a:pt x="6079209" y="3283229"/>
                </a:lnTo>
                <a:close/>
                <a:moveTo>
                  <a:pt x="5432582" y="3249834"/>
                </a:moveTo>
                <a:lnTo>
                  <a:pt x="5441689" y="3249834"/>
                </a:lnTo>
                <a:lnTo>
                  <a:pt x="5444725" y="3252870"/>
                </a:lnTo>
                <a:lnTo>
                  <a:pt x="5447761" y="3255905"/>
                </a:lnTo>
                <a:lnTo>
                  <a:pt x="5459903" y="3258942"/>
                </a:lnTo>
                <a:lnTo>
                  <a:pt x="5462940" y="3255905"/>
                </a:lnTo>
                <a:lnTo>
                  <a:pt x="5469012" y="3255905"/>
                </a:lnTo>
                <a:lnTo>
                  <a:pt x="5478119" y="3255905"/>
                </a:lnTo>
                <a:lnTo>
                  <a:pt x="5481154" y="3261977"/>
                </a:lnTo>
                <a:lnTo>
                  <a:pt x="5490261" y="3271084"/>
                </a:lnTo>
                <a:lnTo>
                  <a:pt x="5496333" y="3280192"/>
                </a:lnTo>
                <a:lnTo>
                  <a:pt x="5508477" y="3289300"/>
                </a:lnTo>
                <a:lnTo>
                  <a:pt x="5517584" y="3295372"/>
                </a:lnTo>
                <a:lnTo>
                  <a:pt x="5526691" y="3304479"/>
                </a:lnTo>
                <a:lnTo>
                  <a:pt x="5535799" y="3313586"/>
                </a:lnTo>
                <a:lnTo>
                  <a:pt x="5544906" y="3322693"/>
                </a:lnTo>
                <a:lnTo>
                  <a:pt x="5547942" y="3316622"/>
                </a:lnTo>
                <a:lnTo>
                  <a:pt x="5550978" y="3319658"/>
                </a:lnTo>
                <a:lnTo>
                  <a:pt x="5569193" y="3334837"/>
                </a:lnTo>
                <a:lnTo>
                  <a:pt x="5575264" y="3337872"/>
                </a:lnTo>
                <a:lnTo>
                  <a:pt x="5575264" y="3343944"/>
                </a:lnTo>
                <a:lnTo>
                  <a:pt x="5584371" y="3350016"/>
                </a:lnTo>
                <a:lnTo>
                  <a:pt x="5602587" y="3356087"/>
                </a:lnTo>
                <a:lnTo>
                  <a:pt x="5608659" y="3365195"/>
                </a:lnTo>
                <a:lnTo>
                  <a:pt x="5605622" y="3365195"/>
                </a:lnTo>
                <a:lnTo>
                  <a:pt x="5602587" y="3368231"/>
                </a:lnTo>
                <a:lnTo>
                  <a:pt x="5599551" y="3377338"/>
                </a:lnTo>
                <a:lnTo>
                  <a:pt x="5605622" y="3383410"/>
                </a:lnTo>
                <a:lnTo>
                  <a:pt x="5614730" y="3386445"/>
                </a:lnTo>
                <a:lnTo>
                  <a:pt x="5620801" y="3389482"/>
                </a:lnTo>
                <a:lnTo>
                  <a:pt x="5620801" y="3392517"/>
                </a:lnTo>
                <a:lnTo>
                  <a:pt x="5623838" y="3404661"/>
                </a:lnTo>
                <a:lnTo>
                  <a:pt x="5629909" y="3410731"/>
                </a:lnTo>
                <a:lnTo>
                  <a:pt x="5639017" y="3413768"/>
                </a:lnTo>
                <a:lnTo>
                  <a:pt x="5645088" y="3416803"/>
                </a:lnTo>
                <a:lnTo>
                  <a:pt x="5648124" y="3422875"/>
                </a:lnTo>
                <a:lnTo>
                  <a:pt x="5648124" y="3425911"/>
                </a:lnTo>
                <a:lnTo>
                  <a:pt x="5651160" y="3435019"/>
                </a:lnTo>
                <a:lnTo>
                  <a:pt x="5648124" y="3441090"/>
                </a:lnTo>
                <a:lnTo>
                  <a:pt x="5648124" y="3450198"/>
                </a:lnTo>
                <a:lnTo>
                  <a:pt x="5651160" y="3456269"/>
                </a:lnTo>
                <a:lnTo>
                  <a:pt x="5651160" y="3462341"/>
                </a:lnTo>
                <a:lnTo>
                  <a:pt x="5648124" y="3474484"/>
                </a:lnTo>
                <a:lnTo>
                  <a:pt x="5648124" y="3483592"/>
                </a:lnTo>
                <a:lnTo>
                  <a:pt x="5642052" y="3480555"/>
                </a:lnTo>
                <a:lnTo>
                  <a:pt x="5639017" y="3477520"/>
                </a:lnTo>
                <a:lnTo>
                  <a:pt x="5632945" y="3477520"/>
                </a:lnTo>
                <a:lnTo>
                  <a:pt x="5626873" y="3480555"/>
                </a:lnTo>
                <a:lnTo>
                  <a:pt x="5623838" y="3483592"/>
                </a:lnTo>
                <a:lnTo>
                  <a:pt x="5602587" y="3465376"/>
                </a:lnTo>
                <a:lnTo>
                  <a:pt x="5578301" y="3447162"/>
                </a:lnTo>
                <a:lnTo>
                  <a:pt x="5575264" y="3441090"/>
                </a:lnTo>
                <a:lnTo>
                  <a:pt x="5569193" y="3435019"/>
                </a:lnTo>
                <a:lnTo>
                  <a:pt x="5554014" y="3422875"/>
                </a:lnTo>
                <a:lnTo>
                  <a:pt x="5547942" y="3413768"/>
                </a:lnTo>
                <a:lnTo>
                  <a:pt x="5544906" y="3407696"/>
                </a:lnTo>
                <a:lnTo>
                  <a:pt x="5547942" y="3407696"/>
                </a:lnTo>
                <a:lnTo>
                  <a:pt x="5544906" y="3398589"/>
                </a:lnTo>
                <a:lnTo>
                  <a:pt x="5535799" y="3383410"/>
                </a:lnTo>
                <a:lnTo>
                  <a:pt x="5532763" y="3377338"/>
                </a:lnTo>
                <a:lnTo>
                  <a:pt x="5523656" y="3365195"/>
                </a:lnTo>
                <a:lnTo>
                  <a:pt x="5514549" y="3359123"/>
                </a:lnTo>
                <a:lnTo>
                  <a:pt x="5508477" y="3346980"/>
                </a:lnTo>
                <a:lnTo>
                  <a:pt x="5502405" y="3331801"/>
                </a:lnTo>
                <a:lnTo>
                  <a:pt x="5502405" y="3328765"/>
                </a:lnTo>
                <a:lnTo>
                  <a:pt x="5496333" y="3322693"/>
                </a:lnTo>
                <a:lnTo>
                  <a:pt x="5490261" y="3319658"/>
                </a:lnTo>
                <a:lnTo>
                  <a:pt x="5487226" y="3316622"/>
                </a:lnTo>
                <a:lnTo>
                  <a:pt x="5478119" y="3307514"/>
                </a:lnTo>
                <a:lnTo>
                  <a:pt x="5469012" y="3298407"/>
                </a:lnTo>
                <a:lnTo>
                  <a:pt x="5462940" y="3289300"/>
                </a:lnTo>
                <a:lnTo>
                  <a:pt x="5453832" y="3286263"/>
                </a:lnTo>
                <a:lnTo>
                  <a:pt x="5444725" y="3277156"/>
                </a:lnTo>
                <a:lnTo>
                  <a:pt x="5435617" y="3268049"/>
                </a:lnTo>
                <a:lnTo>
                  <a:pt x="5429546" y="3255905"/>
                </a:lnTo>
                <a:close/>
                <a:moveTo>
                  <a:pt x="5963847" y="3240728"/>
                </a:moveTo>
                <a:lnTo>
                  <a:pt x="5966883" y="3240728"/>
                </a:lnTo>
                <a:lnTo>
                  <a:pt x="5969919" y="3240728"/>
                </a:lnTo>
                <a:lnTo>
                  <a:pt x="5969919" y="3243764"/>
                </a:lnTo>
                <a:lnTo>
                  <a:pt x="5960812" y="3243764"/>
                </a:lnTo>
                <a:close/>
                <a:moveTo>
                  <a:pt x="5985099" y="3225549"/>
                </a:moveTo>
                <a:lnTo>
                  <a:pt x="5988134" y="3228585"/>
                </a:lnTo>
                <a:lnTo>
                  <a:pt x="5982062" y="3234657"/>
                </a:lnTo>
                <a:lnTo>
                  <a:pt x="5979027" y="3228585"/>
                </a:lnTo>
                <a:close/>
                <a:moveTo>
                  <a:pt x="5875811" y="3225549"/>
                </a:moveTo>
                <a:lnTo>
                  <a:pt x="5890990" y="3231621"/>
                </a:lnTo>
                <a:lnTo>
                  <a:pt x="5894025" y="3231621"/>
                </a:lnTo>
                <a:lnTo>
                  <a:pt x="5894025" y="3237693"/>
                </a:lnTo>
                <a:lnTo>
                  <a:pt x="5897062" y="3243764"/>
                </a:lnTo>
                <a:lnTo>
                  <a:pt x="5906169" y="3243764"/>
                </a:lnTo>
                <a:lnTo>
                  <a:pt x="5918312" y="3249836"/>
                </a:lnTo>
                <a:lnTo>
                  <a:pt x="5927419" y="3255907"/>
                </a:lnTo>
                <a:lnTo>
                  <a:pt x="5921348" y="3261979"/>
                </a:lnTo>
                <a:lnTo>
                  <a:pt x="5909204" y="3261979"/>
                </a:lnTo>
                <a:lnTo>
                  <a:pt x="5903132" y="3265015"/>
                </a:lnTo>
                <a:lnTo>
                  <a:pt x="5912241" y="3271086"/>
                </a:lnTo>
                <a:lnTo>
                  <a:pt x="5909204" y="3277158"/>
                </a:lnTo>
                <a:lnTo>
                  <a:pt x="5903132" y="3277158"/>
                </a:lnTo>
                <a:lnTo>
                  <a:pt x="5894025" y="3274123"/>
                </a:lnTo>
                <a:lnTo>
                  <a:pt x="5890991" y="3280193"/>
                </a:lnTo>
                <a:lnTo>
                  <a:pt x="5894024" y="3283228"/>
                </a:lnTo>
                <a:lnTo>
                  <a:pt x="5897061" y="3289300"/>
                </a:lnTo>
                <a:lnTo>
                  <a:pt x="5887953" y="3289300"/>
                </a:lnTo>
                <a:lnTo>
                  <a:pt x="5881881" y="3289300"/>
                </a:lnTo>
                <a:lnTo>
                  <a:pt x="5881881" y="3292335"/>
                </a:lnTo>
                <a:lnTo>
                  <a:pt x="5894024" y="3304479"/>
                </a:lnTo>
                <a:lnTo>
                  <a:pt x="5900096" y="3316622"/>
                </a:lnTo>
                <a:lnTo>
                  <a:pt x="5900096" y="3322693"/>
                </a:lnTo>
                <a:lnTo>
                  <a:pt x="5900096" y="3325729"/>
                </a:lnTo>
                <a:lnTo>
                  <a:pt x="5909203" y="3334837"/>
                </a:lnTo>
                <a:lnTo>
                  <a:pt x="5921347" y="3340908"/>
                </a:lnTo>
                <a:lnTo>
                  <a:pt x="5921347" y="3346980"/>
                </a:lnTo>
                <a:lnTo>
                  <a:pt x="5912240" y="3346980"/>
                </a:lnTo>
                <a:lnTo>
                  <a:pt x="5906168" y="3346980"/>
                </a:lnTo>
                <a:lnTo>
                  <a:pt x="5897061" y="3346980"/>
                </a:lnTo>
                <a:lnTo>
                  <a:pt x="5894024" y="3353052"/>
                </a:lnTo>
                <a:lnTo>
                  <a:pt x="5890989" y="3359123"/>
                </a:lnTo>
                <a:lnTo>
                  <a:pt x="5887953" y="3371266"/>
                </a:lnTo>
                <a:lnTo>
                  <a:pt x="5887953" y="3374302"/>
                </a:lnTo>
                <a:lnTo>
                  <a:pt x="5894024" y="3374302"/>
                </a:lnTo>
                <a:lnTo>
                  <a:pt x="5894024" y="3380373"/>
                </a:lnTo>
                <a:lnTo>
                  <a:pt x="5884917" y="3383410"/>
                </a:lnTo>
                <a:lnTo>
                  <a:pt x="5872774" y="3395552"/>
                </a:lnTo>
                <a:lnTo>
                  <a:pt x="5866702" y="3401624"/>
                </a:lnTo>
                <a:lnTo>
                  <a:pt x="5869738" y="3407696"/>
                </a:lnTo>
                <a:lnTo>
                  <a:pt x="5872774" y="3410731"/>
                </a:lnTo>
                <a:lnTo>
                  <a:pt x="5869738" y="3419840"/>
                </a:lnTo>
                <a:lnTo>
                  <a:pt x="5863666" y="3431982"/>
                </a:lnTo>
                <a:lnTo>
                  <a:pt x="5860631" y="3438054"/>
                </a:lnTo>
                <a:lnTo>
                  <a:pt x="5854559" y="3441090"/>
                </a:lnTo>
                <a:lnTo>
                  <a:pt x="5842416" y="3447162"/>
                </a:lnTo>
                <a:lnTo>
                  <a:pt x="5833308" y="3450198"/>
                </a:lnTo>
                <a:lnTo>
                  <a:pt x="5830272" y="3447162"/>
                </a:lnTo>
                <a:lnTo>
                  <a:pt x="5827237" y="3438054"/>
                </a:lnTo>
                <a:lnTo>
                  <a:pt x="5821165" y="3435019"/>
                </a:lnTo>
                <a:lnTo>
                  <a:pt x="5809021" y="3435019"/>
                </a:lnTo>
                <a:lnTo>
                  <a:pt x="5802951" y="3431982"/>
                </a:lnTo>
                <a:lnTo>
                  <a:pt x="5799914" y="3428947"/>
                </a:lnTo>
                <a:lnTo>
                  <a:pt x="5787772" y="3435019"/>
                </a:lnTo>
                <a:lnTo>
                  <a:pt x="5772592" y="3435019"/>
                </a:lnTo>
                <a:lnTo>
                  <a:pt x="5772592" y="3422875"/>
                </a:lnTo>
                <a:lnTo>
                  <a:pt x="5769556" y="3422875"/>
                </a:lnTo>
                <a:lnTo>
                  <a:pt x="5763485" y="3425911"/>
                </a:lnTo>
                <a:lnTo>
                  <a:pt x="5751341" y="3428947"/>
                </a:lnTo>
                <a:lnTo>
                  <a:pt x="5739198" y="3422875"/>
                </a:lnTo>
                <a:lnTo>
                  <a:pt x="5739198" y="3410731"/>
                </a:lnTo>
                <a:lnTo>
                  <a:pt x="5736162" y="3395552"/>
                </a:lnTo>
                <a:lnTo>
                  <a:pt x="5733127" y="3386445"/>
                </a:lnTo>
                <a:lnTo>
                  <a:pt x="5724019" y="3377338"/>
                </a:lnTo>
                <a:lnTo>
                  <a:pt x="5720983" y="3377338"/>
                </a:lnTo>
                <a:lnTo>
                  <a:pt x="5717948" y="3368231"/>
                </a:lnTo>
                <a:lnTo>
                  <a:pt x="5714911" y="3356087"/>
                </a:lnTo>
                <a:lnTo>
                  <a:pt x="5714911" y="3343944"/>
                </a:lnTo>
                <a:lnTo>
                  <a:pt x="5717948" y="3331801"/>
                </a:lnTo>
                <a:lnTo>
                  <a:pt x="5727055" y="3322693"/>
                </a:lnTo>
                <a:lnTo>
                  <a:pt x="5727055" y="3325729"/>
                </a:lnTo>
                <a:lnTo>
                  <a:pt x="5727056" y="3325731"/>
                </a:lnTo>
                <a:lnTo>
                  <a:pt x="5727056" y="3322695"/>
                </a:lnTo>
                <a:lnTo>
                  <a:pt x="5730092" y="3328767"/>
                </a:lnTo>
                <a:lnTo>
                  <a:pt x="5736163" y="3328767"/>
                </a:lnTo>
                <a:lnTo>
                  <a:pt x="5739199" y="3328767"/>
                </a:lnTo>
                <a:lnTo>
                  <a:pt x="5760450" y="3334839"/>
                </a:lnTo>
                <a:lnTo>
                  <a:pt x="5757414" y="3331803"/>
                </a:lnTo>
                <a:lnTo>
                  <a:pt x="5760450" y="3322695"/>
                </a:lnTo>
                <a:lnTo>
                  <a:pt x="5760450" y="3313588"/>
                </a:lnTo>
                <a:lnTo>
                  <a:pt x="5763485" y="3316624"/>
                </a:lnTo>
                <a:lnTo>
                  <a:pt x="5766522" y="3316624"/>
                </a:lnTo>
                <a:lnTo>
                  <a:pt x="5766522" y="3310552"/>
                </a:lnTo>
                <a:lnTo>
                  <a:pt x="5769557" y="3307516"/>
                </a:lnTo>
                <a:lnTo>
                  <a:pt x="5778664" y="3304481"/>
                </a:lnTo>
                <a:lnTo>
                  <a:pt x="5790808" y="3301444"/>
                </a:lnTo>
                <a:lnTo>
                  <a:pt x="5799915" y="3298409"/>
                </a:lnTo>
                <a:lnTo>
                  <a:pt x="5809022" y="3286265"/>
                </a:lnTo>
                <a:lnTo>
                  <a:pt x="5821166" y="3271086"/>
                </a:lnTo>
                <a:lnTo>
                  <a:pt x="5830273" y="3268051"/>
                </a:lnTo>
                <a:lnTo>
                  <a:pt x="5842417" y="3265015"/>
                </a:lnTo>
                <a:lnTo>
                  <a:pt x="5851524" y="3258944"/>
                </a:lnTo>
                <a:lnTo>
                  <a:pt x="5845452" y="3255907"/>
                </a:lnTo>
                <a:lnTo>
                  <a:pt x="5848488" y="3252872"/>
                </a:lnTo>
                <a:lnTo>
                  <a:pt x="5851524" y="3249836"/>
                </a:lnTo>
                <a:lnTo>
                  <a:pt x="5854560" y="3249836"/>
                </a:lnTo>
                <a:lnTo>
                  <a:pt x="5860632" y="3243764"/>
                </a:lnTo>
                <a:lnTo>
                  <a:pt x="5866703" y="3231621"/>
                </a:lnTo>
                <a:close/>
                <a:moveTo>
                  <a:pt x="5399188" y="3216440"/>
                </a:moveTo>
                <a:lnTo>
                  <a:pt x="5402223" y="3216440"/>
                </a:lnTo>
                <a:lnTo>
                  <a:pt x="5402223" y="3225548"/>
                </a:lnTo>
                <a:lnTo>
                  <a:pt x="5399188" y="3222512"/>
                </a:lnTo>
                <a:close/>
                <a:moveTo>
                  <a:pt x="1778984" y="3207334"/>
                </a:moveTo>
                <a:lnTo>
                  <a:pt x="1782019" y="3213406"/>
                </a:lnTo>
                <a:lnTo>
                  <a:pt x="1778984" y="3213406"/>
                </a:lnTo>
                <a:close/>
                <a:moveTo>
                  <a:pt x="6054922" y="3164834"/>
                </a:moveTo>
                <a:lnTo>
                  <a:pt x="6057957" y="3164834"/>
                </a:lnTo>
                <a:lnTo>
                  <a:pt x="6060994" y="3167869"/>
                </a:lnTo>
                <a:lnTo>
                  <a:pt x="6067065" y="3173941"/>
                </a:lnTo>
                <a:lnTo>
                  <a:pt x="6070101" y="3173941"/>
                </a:lnTo>
                <a:lnTo>
                  <a:pt x="6079209" y="3207334"/>
                </a:lnTo>
                <a:lnTo>
                  <a:pt x="6079209" y="3216442"/>
                </a:lnTo>
                <a:lnTo>
                  <a:pt x="6073137" y="3222514"/>
                </a:lnTo>
                <a:lnTo>
                  <a:pt x="6070101" y="3228585"/>
                </a:lnTo>
                <a:lnTo>
                  <a:pt x="6067065" y="3225549"/>
                </a:lnTo>
                <a:lnTo>
                  <a:pt x="6060994" y="3216442"/>
                </a:lnTo>
                <a:lnTo>
                  <a:pt x="6057957" y="3216442"/>
                </a:lnTo>
                <a:lnTo>
                  <a:pt x="6054922" y="3222514"/>
                </a:lnTo>
                <a:lnTo>
                  <a:pt x="6054922" y="3228585"/>
                </a:lnTo>
                <a:lnTo>
                  <a:pt x="6054922" y="3231621"/>
                </a:lnTo>
                <a:lnTo>
                  <a:pt x="6057957" y="3234657"/>
                </a:lnTo>
                <a:lnTo>
                  <a:pt x="6057957" y="3243764"/>
                </a:lnTo>
                <a:lnTo>
                  <a:pt x="6051885" y="3249836"/>
                </a:lnTo>
                <a:lnTo>
                  <a:pt x="6048851" y="3246800"/>
                </a:lnTo>
                <a:lnTo>
                  <a:pt x="6045815" y="3243764"/>
                </a:lnTo>
                <a:lnTo>
                  <a:pt x="6036707" y="3240728"/>
                </a:lnTo>
                <a:lnTo>
                  <a:pt x="6027599" y="3234657"/>
                </a:lnTo>
                <a:lnTo>
                  <a:pt x="6024564" y="3225549"/>
                </a:lnTo>
                <a:lnTo>
                  <a:pt x="6027599" y="3216442"/>
                </a:lnTo>
                <a:lnTo>
                  <a:pt x="6018492" y="3204299"/>
                </a:lnTo>
                <a:lnTo>
                  <a:pt x="6012420" y="3204299"/>
                </a:lnTo>
                <a:lnTo>
                  <a:pt x="6012420" y="3213406"/>
                </a:lnTo>
                <a:lnTo>
                  <a:pt x="6000277" y="3210370"/>
                </a:lnTo>
                <a:lnTo>
                  <a:pt x="5997241" y="3204299"/>
                </a:lnTo>
                <a:lnTo>
                  <a:pt x="5994205" y="3207334"/>
                </a:lnTo>
                <a:lnTo>
                  <a:pt x="5991171" y="3210370"/>
                </a:lnTo>
                <a:lnTo>
                  <a:pt x="5985099" y="3222514"/>
                </a:lnTo>
                <a:lnTo>
                  <a:pt x="5982062" y="3219478"/>
                </a:lnTo>
                <a:lnTo>
                  <a:pt x="5985099" y="3207334"/>
                </a:lnTo>
                <a:lnTo>
                  <a:pt x="5988134" y="3201263"/>
                </a:lnTo>
                <a:lnTo>
                  <a:pt x="6012420" y="3186084"/>
                </a:lnTo>
                <a:lnTo>
                  <a:pt x="6021529" y="3192155"/>
                </a:lnTo>
                <a:lnTo>
                  <a:pt x="6021529" y="3195192"/>
                </a:lnTo>
                <a:lnTo>
                  <a:pt x="6021529" y="3198227"/>
                </a:lnTo>
                <a:lnTo>
                  <a:pt x="6027599" y="3195192"/>
                </a:lnTo>
                <a:lnTo>
                  <a:pt x="6030635" y="3195192"/>
                </a:lnTo>
                <a:lnTo>
                  <a:pt x="6030635" y="3192155"/>
                </a:lnTo>
                <a:lnTo>
                  <a:pt x="6033671" y="3189120"/>
                </a:lnTo>
                <a:lnTo>
                  <a:pt x="6039743" y="3189120"/>
                </a:lnTo>
                <a:lnTo>
                  <a:pt x="6039743" y="3186084"/>
                </a:lnTo>
                <a:lnTo>
                  <a:pt x="6045815" y="3183048"/>
                </a:lnTo>
                <a:lnTo>
                  <a:pt x="6051885" y="3180013"/>
                </a:lnTo>
                <a:lnTo>
                  <a:pt x="6054922" y="3173941"/>
                </a:lnTo>
                <a:close/>
                <a:moveTo>
                  <a:pt x="5119894" y="3161797"/>
                </a:moveTo>
                <a:lnTo>
                  <a:pt x="5135073" y="3176976"/>
                </a:lnTo>
                <a:lnTo>
                  <a:pt x="5144181" y="3195192"/>
                </a:lnTo>
                <a:lnTo>
                  <a:pt x="5156323" y="3213406"/>
                </a:lnTo>
                <a:lnTo>
                  <a:pt x="5153288" y="3225549"/>
                </a:lnTo>
                <a:lnTo>
                  <a:pt x="5138109" y="3240728"/>
                </a:lnTo>
                <a:lnTo>
                  <a:pt x="5119894" y="3237693"/>
                </a:lnTo>
                <a:lnTo>
                  <a:pt x="5113823" y="3219478"/>
                </a:lnTo>
                <a:lnTo>
                  <a:pt x="5110787" y="3201263"/>
                </a:lnTo>
                <a:lnTo>
                  <a:pt x="5110787" y="3195192"/>
                </a:lnTo>
                <a:lnTo>
                  <a:pt x="5113823" y="3186084"/>
                </a:lnTo>
                <a:lnTo>
                  <a:pt x="5119894" y="3173941"/>
                </a:lnTo>
                <a:lnTo>
                  <a:pt x="5119894" y="3167869"/>
                </a:lnTo>
                <a:lnTo>
                  <a:pt x="5113823" y="3164834"/>
                </a:lnTo>
                <a:close/>
                <a:moveTo>
                  <a:pt x="6067065" y="3158762"/>
                </a:moveTo>
                <a:lnTo>
                  <a:pt x="6070101" y="3161797"/>
                </a:lnTo>
                <a:lnTo>
                  <a:pt x="6067065" y="3161797"/>
                </a:lnTo>
                <a:close/>
                <a:moveTo>
                  <a:pt x="6033671" y="3155725"/>
                </a:moveTo>
                <a:lnTo>
                  <a:pt x="6036707" y="3161797"/>
                </a:lnTo>
                <a:lnTo>
                  <a:pt x="6033671" y="3164834"/>
                </a:lnTo>
                <a:lnTo>
                  <a:pt x="6024564" y="3167869"/>
                </a:lnTo>
                <a:lnTo>
                  <a:pt x="6021529" y="3158762"/>
                </a:lnTo>
                <a:close/>
                <a:moveTo>
                  <a:pt x="6057957" y="3149654"/>
                </a:moveTo>
                <a:lnTo>
                  <a:pt x="6057957" y="3152690"/>
                </a:lnTo>
                <a:lnTo>
                  <a:pt x="6057957" y="3155725"/>
                </a:lnTo>
                <a:lnTo>
                  <a:pt x="6060994" y="3161797"/>
                </a:lnTo>
                <a:lnTo>
                  <a:pt x="6054922" y="3155725"/>
                </a:lnTo>
                <a:close/>
                <a:moveTo>
                  <a:pt x="2207033" y="3140547"/>
                </a:moveTo>
                <a:lnTo>
                  <a:pt x="2210068" y="3143583"/>
                </a:lnTo>
                <a:lnTo>
                  <a:pt x="2207033" y="3146619"/>
                </a:lnTo>
                <a:lnTo>
                  <a:pt x="2207033" y="3155726"/>
                </a:lnTo>
                <a:lnTo>
                  <a:pt x="2197924" y="3158762"/>
                </a:lnTo>
                <a:lnTo>
                  <a:pt x="2191853" y="3155726"/>
                </a:lnTo>
                <a:lnTo>
                  <a:pt x="2197924" y="3152690"/>
                </a:lnTo>
                <a:lnTo>
                  <a:pt x="2197924" y="3149654"/>
                </a:lnTo>
                <a:lnTo>
                  <a:pt x="2197924" y="3143583"/>
                </a:lnTo>
                <a:lnTo>
                  <a:pt x="2200961" y="3143583"/>
                </a:lnTo>
                <a:close/>
                <a:moveTo>
                  <a:pt x="6009385" y="3137511"/>
                </a:moveTo>
                <a:lnTo>
                  <a:pt x="6015457" y="3140546"/>
                </a:lnTo>
                <a:lnTo>
                  <a:pt x="6012420" y="3149654"/>
                </a:lnTo>
                <a:lnTo>
                  <a:pt x="6006349" y="3161797"/>
                </a:lnTo>
                <a:lnTo>
                  <a:pt x="6006349" y="3167869"/>
                </a:lnTo>
                <a:lnTo>
                  <a:pt x="6009385" y="3173941"/>
                </a:lnTo>
                <a:lnTo>
                  <a:pt x="6003313" y="3176976"/>
                </a:lnTo>
                <a:lnTo>
                  <a:pt x="5997241" y="3170904"/>
                </a:lnTo>
                <a:lnTo>
                  <a:pt x="5991171" y="3164834"/>
                </a:lnTo>
                <a:lnTo>
                  <a:pt x="5994205" y="3158762"/>
                </a:lnTo>
                <a:lnTo>
                  <a:pt x="5997241" y="3158762"/>
                </a:lnTo>
                <a:lnTo>
                  <a:pt x="6000277" y="3158762"/>
                </a:lnTo>
                <a:lnTo>
                  <a:pt x="6000277" y="3152690"/>
                </a:lnTo>
                <a:lnTo>
                  <a:pt x="6003313" y="3143583"/>
                </a:lnTo>
                <a:close/>
                <a:moveTo>
                  <a:pt x="6024564" y="3134475"/>
                </a:moveTo>
                <a:lnTo>
                  <a:pt x="6024564" y="3152690"/>
                </a:lnTo>
                <a:lnTo>
                  <a:pt x="6009385" y="3170904"/>
                </a:lnTo>
                <a:lnTo>
                  <a:pt x="6012420" y="3161797"/>
                </a:lnTo>
                <a:lnTo>
                  <a:pt x="6015457" y="3152690"/>
                </a:lnTo>
                <a:close/>
                <a:moveTo>
                  <a:pt x="2146316" y="3134475"/>
                </a:moveTo>
                <a:lnTo>
                  <a:pt x="2149352" y="3137512"/>
                </a:lnTo>
                <a:lnTo>
                  <a:pt x="2146316" y="3140547"/>
                </a:lnTo>
                <a:lnTo>
                  <a:pt x="2143280" y="3140547"/>
                </a:lnTo>
                <a:lnTo>
                  <a:pt x="2137209" y="3137512"/>
                </a:lnTo>
                <a:lnTo>
                  <a:pt x="2140244" y="3137512"/>
                </a:lnTo>
                <a:close/>
                <a:moveTo>
                  <a:pt x="5930454" y="3128404"/>
                </a:moveTo>
                <a:lnTo>
                  <a:pt x="5933489" y="3134475"/>
                </a:lnTo>
                <a:lnTo>
                  <a:pt x="5933489" y="3149654"/>
                </a:lnTo>
                <a:lnTo>
                  <a:pt x="5927417" y="3152690"/>
                </a:lnTo>
                <a:lnTo>
                  <a:pt x="5915275" y="3167869"/>
                </a:lnTo>
                <a:lnTo>
                  <a:pt x="5900096" y="3183048"/>
                </a:lnTo>
                <a:lnTo>
                  <a:pt x="5887953" y="3189120"/>
                </a:lnTo>
                <a:lnTo>
                  <a:pt x="5884917" y="3192155"/>
                </a:lnTo>
                <a:lnTo>
                  <a:pt x="5897061" y="3173941"/>
                </a:lnTo>
                <a:lnTo>
                  <a:pt x="5900096" y="3173941"/>
                </a:lnTo>
                <a:lnTo>
                  <a:pt x="5906168" y="3170904"/>
                </a:lnTo>
                <a:lnTo>
                  <a:pt x="5912240" y="3161797"/>
                </a:lnTo>
                <a:lnTo>
                  <a:pt x="5921347" y="3152690"/>
                </a:lnTo>
                <a:lnTo>
                  <a:pt x="5930454" y="3143583"/>
                </a:lnTo>
                <a:lnTo>
                  <a:pt x="5927417" y="3137511"/>
                </a:lnTo>
                <a:lnTo>
                  <a:pt x="5930454" y="3131439"/>
                </a:lnTo>
                <a:close/>
                <a:moveTo>
                  <a:pt x="6030635" y="3125368"/>
                </a:moveTo>
                <a:lnTo>
                  <a:pt x="6039743" y="3128404"/>
                </a:lnTo>
                <a:lnTo>
                  <a:pt x="6045815" y="3137511"/>
                </a:lnTo>
                <a:lnTo>
                  <a:pt x="6048851" y="3149654"/>
                </a:lnTo>
                <a:lnTo>
                  <a:pt x="6048851" y="3152690"/>
                </a:lnTo>
                <a:lnTo>
                  <a:pt x="6045815" y="3158762"/>
                </a:lnTo>
                <a:lnTo>
                  <a:pt x="6042779" y="3155725"/>
                </a:lnTo>
                <a:lnTo>
                  <a:pt x="6039743" y="3152690"/>
                </a:lnTo>
                <a:lnTo>
                  <a:pt x="6033671" y="3140546"/>
                </a:lnTo>
                <a:lnTo>
                  <a:pt x="6030635" y="3131439"/>
                </a:lnTo>
                <a:close/>
                <a:moveTo>
                  <a:pt x="5982062" y="3119296"/>
                </a:moveTo>
                <a:lnTo>
                  <a:pt x="5988134" y="3122332"/>
                </a:lnTo>
                <a:lnTo>
                  <a:pt x="5991171" y="3122332"/>
                </a:lnTo>
                <a:lnTo>
                  <a:pt x="6003313" y="3125368"/>
                </a:lnTo>
                <a:lnTo>
                  <a:pt x="6006349" y="3128404"/>
                </a:lnTo>
                <a:lnTo>
                  <a:pt x="6006349" y="3134475"/>
                </a:lnTo>
                <a:lnTo>
                  <a:pt x="5997241" y="3143583"/>
                </a:lnTo>
                <a:lnTo>
                  <a:pt x="5982062" y="3149654"/>
                </a:lnTo>
                <a:lnTo>
                  <a:pt x="5982062" y="3143583"/>
                </a:lnTo>
                <a:lnTo>
                  <a:pt x="5985099" y="3128404"/>
                </a:lnTo>
                <a:lnTo>
                  <a:pt x="5982062" y="3122332"/>
                </a:lnTo>
                <a:lnTo>
                  <a:pt x="5979027" y="3122332"/>
                </a:lnTo>
                <a:close/>
                <a:moveTo>
                  <a:pt x="5939561" y="3110189"/>
                </a:moveTo>
                <a:lnTo>
                  <a:pt x="5948669" y="3113224"/>
                </a:lnTo>
                <a:lnTo>
                  <a:pt x="5948669" y="3116260"/>
                </a:lnTo>
                <a:lnTo>
                  <a:pt x="5939561" y="3116260"/>
                </a:lnTo>
                <a:close/>
                <a:moveTo>
                  <a:pt x="6030635" y="3104117"/>
                </a:moveTo>
                <a:lnTo>
                  <a:pt x="6042779" y="3107153"/>
                </a:lnTo>
                <a:lnTo>
                  <a:pt x="6051885" y="3110189"/>
                </a:lnTo>
                <a:lnTo>
                  <a:pt x="6054922" y="3110189"/>
                </a:lnTo>
                <a:lnTo>
                  <a:pt x="6054922" y="3113224"/>
                </a:lnTo>
                <a:lnTo>
                  <a:pt x="6054922" y="3122332"/>
                </a:lnTo>
                <a:lnTo>
                  <a:pt x="6060994" y="3137511"/>
                </a:lnTo>
                <a:lnTo>
                  <a:pt x="6051885" y="3134475"/>
                </a:lnTo>
                <a:lnTo>
                  <a:pt x="6048851" y="3134475"/>
                </a:lnTo>
                <a:lnTo>
                  <a:pt x="6042779" y="3128404"/>
                </a:lnTo>
                <a:lnTo>
                  <a:pt x="6042779" y="3122332"/>
                </a:lnTo>
                <a:lnTo>
                  <a:pt x="6033671" y="3113224"/>
                </a:lnTo>
                <a:close/>
                <a:moveTo>
                  <a:pt x="6009385" y="3104117"/>
                </a:moveTo>
                <a:lnTo>
                  <a:pt x="6021529" y="3110189"/>
                </a:lnTo>
                <a:lnTo>
                  <a:pt x="6024564" y="3116260"/>
                </a:lnTo>
                <a:lnTo>
                  <a:pt x="6024564" y="3122332"/>
                </a:lnTo>
                <a:lnTo>
                  <a:pt x="6012420" y="3113224"/>
                </a:lnTo>
                <a:lnTo>
                  <a:pt x="6009385" y="3107153"/>
                </a:lnTo>
                <a:close/>
                <a:moveTo>
                  <a:pt x="4570414" y="3101083"/>
                </a:moveTo>
                <a:lnTo>
                  <a:pt x="4579521" y="3101083"/>
                </a:lnTo>
                <a:lnTo>
                  <a:pt x="4591665" y="3107155"/>
                </a:lnTo>
                <a:lnTo>
                  <a:pt x="4576485" y="3110190"/>
                </a:lnTo>
                <a:lnTo>
                  <a:pt x="4564342" y="3107155"/>
                </a:lnTo>
                <a:close/>
                <a:moveTo>
                  <a:pt x="5948669" y="3085902"/>
                </a:moveTo>
                <a:lnTo>
                  <a:pt x="5954741" y="3085902"/>
                </a:lnTo>
                <a:lnTo>
                  <a:pt x="5966883" y="3088938"/>
                </a:lnTo>
                <a:lnTo>
                  <a:pt x="5972955" y="3091974"/>
                </a:lnTo>
                <a:lnTo>
                  <a:pt x="5972955" y="3098045"/>
                </a:lnTo>
                <a:lnTo>
                  <a:pt x="5969919" y="3110189"/>
                </a:lnTo>
                <a:lnTo>
                  <a:pt x="5966883" y="3113224"/>
                </a:lnTo>
                <a:lnTo>
                  <a:pt x="5960812" y="3107153"/>
                </a:lnTo>
                <a:lnTo>
                  <a:pt x="5957775" y="3098045"/>
                </a:lnTo>
                <a:lnTo>
                  <a:pt x="5954741" y="3091974"/>
                </a:lnTo>
                <a:lnTo>
                  <a:pt x="5951705" y="3091974"/>
                </a:lnTo>
                <a:close/>
                <a:moveTo>
                  <a:pt x="5380972" y="3085901"/>
                </a:moveTo>
                <a:lnTo>
                  <a:pt x="5387044" y="3085901"/>
                </a:lnTo>
                <a:lnTo>
                  <a:pt x="5384009" y="3095008"/>
                </a:lnTo>
                <a:lnTo>
                  <a:pt x="5380972" y="3110187"/>
                </a:lnTo>
                <a:lnTo>
                  <a:pt x="5380972" y="3119294"/>
                </a:lnTo>
                <a:lnTo>
                  <a:pt x="5377937" y="3128402"/>
                </a:lnTo>
                <a:lnTo>
                  <a:pt x="5374902" y="3122330"/>
                </a:lnTo>
                <a:lnTo>
                  <a:pt x="5377937" y="3113222"/>
                </a:lnTo>
                <a:lnTo>
                  <a:pt x="5380972" y="3095008"/>
                </a:lnTo>
                <a:close/>
                <a:moveTo>
                  <a:pt x="6027599" y="3073759"/>
                </a:moveTo>
                <a:lnTo>
                  <a:pt x="6030635" y="3073759"/>
                </a:lnTo>
                <a:lnTo>
                  <a:pt x="6033671" y="3076794"/>
                </a:lnTo>
                <a:lnTo>
                  <a:pt x="6030635" y="3082866"/>
                </a:lnTo>
                <a:lnTo>
                  <a:pt x="6024564" y="3082866"/>
                </a:lnTo>
                <a:lnTo>
                  <a:pt x="6027599" y="3079831"/>
                </a:lnTo>
                <a:lnTo>
                  <a:pt x="6027599" y="3076794"/>
                </a:lnTo>
                <a:close/>
                <a:moveTo>
                  <a:pt x="2203996" y="3055544"/>
                </a:moveTo>
                <a:lnTo>
                  <a:pt x="2210068" y="3061615"/>
                </a:lnTo>
                <a:lnTo>
                  <a:pt x="2210068" y="3064651"/>
                </a:lnTo>
                <a:lnTo>
                  <a:pt x="2207033" y="3064651"/>
                </a:lnTo>
                <a:close/>
                <a:moveTo>
                  <a:pt x="2975095" y="3046438"/>
                </a:moveTo>
                <a:lnTo>
                  <a:pt x="2981167" y="3052510"/>
                </a:lnTo>
                <a:lnTo>
                  <a:pt x="2978132" y="3052510"/>
                </a:lnTo>
                <a:close/>
                <a:moveTo>
                  <a:pt x="4291119" y="3034295"/>
                </a:moveTo>
                <a:lnTo>
                  <a:pt x="4300226" y="3040366"/>
                </a:lnTo>
                <a:lnTo>
                  <a:pt x="4294155" y="3040366"/>
                </a:lnTo>
                <a:lnTo>
                  <a:pt x="4291119" y="3040366"/>
                </a:lnTo>
                <a:close/>
                <a:moveTo>
                  <a:pt x="2993311" y="3028224"/>
                </a:moveTo>
                <a:lnTo>
                  <a:pt x="2996346" y="3028224"/>
                </a:lnTo>
                <a:lnTo>
                  <a:pt x="2999382" y="3031259"/>
                </a:lnTo>
                <a:lnTo>
                  <a:pt x="2993311" y="3031259"/>
                </a:lnTo>
                <a:close/>
                <a:moveTo>
                  <a:pt x="2197924" y="3022150"/>
                </a:moveTo>
                <a:lnTo>
                  <a:pt x="2200961" y="3025185"/>
                </a:lnTo>
                <a:lnTo>
                  <a:pt x="2200961" y="3028221"/>
                </a:lnTo>
                <a:lnTo>
                  <a:pt x="2194889" y="3028221"/>
                </a:lnTo>
                <a:lnTo>
                  <a:pt x="2191853" y="3031257"/>
                </a:lnTo>
                <a:lnTo>
                  <a:pt x="2191853" y="3028221"/>
                </a:lnTo>
                <a:lnTo>
                  <a:pt x="2194889" y="3025185"/>
                </a:lnTo>
                <a:close/>
                <a:moveTo>
                  <a:pt x="4327547" y="3013043"/>
                </a:moveTo>
                <a:lnTo>
                  <a:pt x="4330583" y="3016078"/>
                </a:lnTo>
                <a:lnTo>
                  <a:pt x="4333619" y="3016078"/>
                </a:lnTo>
                <a:lnTo>
                  <a:pt x="4336654" y="3019114"/>
                </a:lnTo>
                <a:lnTo>
                  <a:pt x="4330583" y="3019114"/>
                </a:lnTo>
                <a:close/>
                <a:moveTo>
                  <a:pt x="5954741" y="2979649"/>
                </a:moveTo>
                <a:lnTo>
                  <a:pt x="5975991" y="2982684"/>
                </a:lnTo>
                <a:lnTo>
                  <a:pt x="5982062" y="2982684"/>
                </a:lnTo>
                <a:lnTo>
                  <a:pt x="5985099" y="2994828"/>
                </a:lnTo>
                <a:lnTo>
                  <a:pt x="5988134" y="3000899"/>
                </a:lnTo>
                <a:lnTo>
                  <a:pt x="5988134" y="3003935"/>
                </a:lnTo>
                <a:lnTo>
                  <a:pt x="5994205" y="3010007"/>
                </a:lnTo>
                <a:lnTo>
                  <a:pt x="5991171" y="3016078"/>
                </a:lnTo>
                <a:lnTo>
                  <a:pt x="5985099" y="3028222"/>
                </a:lnTo>
                <a:lnTo>
                  <a:pt x="5975991" y="3034294"/>
                </a:lnTo>
                <a:lnTo>
                  <a:pt x="5972955" y="3043401"/>
                </a:lnTo>
                <a:lnTo>
                  <a:pt x="5972955" y="3055545"/>
                </a:lnTo>
                <a:lnTo>
                  <a:pt x="5975991" y="3067687"/>
                </a:lnTo>
                <a:lnTo>
                  <a:pt x="5982062" y="3073759"/>
                </a:lnTo>
                <a:lnTo>
                  <a:pt x="5988134" y="3073759"/>
                </a:lnTo>
                <a:lnTo>
                  <a:pt x="5988134" y="3070723"/>
                </a:lnTo>
                <a:lnTo>
                  <a:pt x="5994205" y="3067687"/>
                </a:lnTo>
                <a:lnTo>
                  <a:pt x="6003313" y="3073759"/>
                </a:lnTo>
                <a:lnTo>
                  <a:pt x="6012420" y="3076794"/>
                </a:lnTo>
                <a:lnTo>
                  <a:pt x="6018492" y="3076794"/>
                </a:lnTo>
                <a:lnTo>
                  <a:pt x="6021529" y="3079831"/>
                </a:lnTo>
                <a:lnTo>
                  <a:pt x="6021529" y="3088938"/>
                </a:lnTo>
                <a:lnTo>
                  <a:pt x="6018492" y="3091974"/>
                </a:lnTo>
                <a:lnTo>
                  <a:pt x="6027599" y="3095010"/>
                </a:lnTo>
                <a:lnTo>
                  <a:pt x="6027599" y="3104117"/>
                </a:lnTo>
                <a:lnTo>
                  <a:pt x="6018492" y="3098045"/>
                </a:lnTo>
                <a:lnTo>
                  <a:pt x="6012420" y="3091974"/>
                </a:lnTo>
                <a:lnTo>
                  <a:pt x="6006349" y="3085902"/>
                </a:lnTo>
                <a:lnTo>
                  <a:pt x="5994205" y="3076794"/>
                </a:lnTo>
                <a:lnTo>
                  <a:pt x="5991171" y="3076794"/>
                </a:lnTo>
                <a:lnTo>
                  <a:pt x="5994205" y="3082866"/>
                </a:lnTo>
                <a:lnTo>
                  <a:pt x="5988134" y="3082866"/>
                </a:lnTo>
                <a:lnTo>
                  <a:pt x="5985099" y="3079831"/>
                </a:lnTo>
                <a:lnTo>
                  <a:pt x="5975991" y="3076794"/>
                </a:lnTo>
                <a:lnTo>
                  <a:pt x="5972955" y="3076794"/>
                </a:lnTo>
                <a:lnTo>
                  <a:pt x="5972955" y="3079831"/>
                </a:lnTo>
                <a:lnTo>
                  <a:pt x="5966883" y="3079831"/>
                </a:lnTo>
                <a:lnTo>
                  <a:pt x="5960812" y="3079831"/>
                </a:lnTo>
                <a:lnTo>
                  <a:pt x="5960812" y="3076794"/>
                </a:lnTo>
                <a:lnTo>
                  <a:pt x="5954741" y="3076794"/>
                </a:lnTo>
                <a:lnTo>
                  <a:pt x="5954741" y="3070723"/>
                </a:lnTo>
                <a:lnTo>
                  <a:pt x="5960812" y="3064652"/>
                </a:lnTo>
                <a:lnTo>
                  <a:pt x="5960812" y="3061615"/>
                </a:lnTo>
                <a:lnTo>
                  <a:pt x="5954741" y="3058580"/>
                </a:lnTo>
                <a:lnTo>
                  <a:pt x="5954741" y="3064652"/>
                </a:lnTo>
                <a:lnTo>
                  <a:pt x="5951705" y="3064652"/>
                </a:lnTo>
                <a:lnTo>
                  <a:pt x="5945633" y="3058580"/>
                </a:lnTo>
                <a:lnTo>
                  <a:pt x="5942597" y="3043401"/>
                </a:lnTo>
                <a:lnTo>
                  <a:pt x="5936526" y="3028222"/>
                </a:lnTo>
                <a:lnTo>
                  <a:pt x="5939561" y="3025186"/>
                </a:lnTo>
                <a:lnTo>
                  <a:pt x="5939561" y="3028222"/>
                </a:lnTo>
                <a:lnTo>
                  <a:pt x="5948669" y="3031257"/>
                </a:lnTo>
                <a:lnTo>
                  <a:pt x="5951705" y="3019114"/>
                </a:lnTo>
                <a:lnTo>
                  <a:pt x="5951705" y="3006971"/>
                </a:lnTo>
                <a:lnTo>
                  <a:pt x="5948669" y="2994828"/>
                </a:lnTo>
                <a:lnTo>
                  <a:pt x="5951705" y="2985721"/>
                </a:lnTo>
                <a:close/>
                <a:moveTo>
                  <a:pt x="1857915" y="2979649"/>
                </a:moveTo>
                <a:lnTo>
                  <a:pt x="1863987" y="2979649"/>
                </a:lnTo>
                <a:lnTo>
                  <a:pt x="1891309" y="2985721"/>
                </a:lnTo>
                <a:lnTo>
                  <a:pt x="1891309" y="2988756"/>
                </a:lnTo>
                <a:lnTo>
                  <a:pt x="1891309" y="2991793"/>
                </a:lnTo>
                <a:lnTo>
                  <a:pt x="1885237" y="2991793"/>
                </a:lnTo>
                <a:lnTo>
                  <a:pt x="1882202" y="2988756"/>
                </a:lnTo>
                <a:lnTo>
                  <a:pt x="1876130" y="2991793"/>
                </a:lnTo>
                <a:lnTo>
                  <a:pt x="1873095" y="2994828"/>
                </a:lnTo>
                <a:lnTo>
                  <a:pt x="1870058" y="2991793"/>
                </a:lnTo>
                <a:lnTo>
                  <a:pt x="1867023" y="2991793"/>
                </a:lnTo>
                <a:lnTo>
                  <a:pt x="1860951" y="2991793"/>
                </a:lnTo>
                <a:lnTo>
                  <a:pt x="1848808" y="2982685"/>
                </a:lnTo>
                <a:close/>
                <a:moveTo>
                  <a:pt x="2082565" y="2976614"/>
                </a:moveTo>
                <a:lnTo>
                  <a:pt x="2085601" y="2979649"/>
                </a:lnTo>
                <a:lnTo>
                  <a:pt x="2088636" y="2979649"/>
                </a:lnTo>
                <a:lnTo>
                  <a:pt x="2097744" y="2979649"/>
                </a:lnTo>
                <a:lnTo>
                  <a:pt x="2109887" y="2979649"/>
                </a:lnTo>
                <a:lnTo>
                  <a:pt x="2112924" y="2982685"/>
                </a:lnTo>
                <a:lnTo>
                  <a:pt x="2106852" y="2988756"/>
                </a:lnTo>
                <a:lnTo>
                  <a:pt x="2097744" y="2991793"/>
                </a:lnTo>
                <a:lnTo>
                  <a:pt x="2082565" y="2991793"/>
                </a:lnTo>
                <a:lnTo>
                  <a:pt x="2079529" y="2988756"/>
                </a:lnTo>
                <a:lnTo>
                  <a:pt x="2079529" y="2982685"/>
                </a:lnTo>
                <a:close/>
                <a:moveTo>
                  <a:pt x="1964168" y="2946255"/>
                </a:moveTo>
                <a:lnTo>
                  <a:pt x="1973276" y="2949291"/>
                </a:lnTo>
                <a:lnTo>
                  <a:pt x="1979347" y="2952327"/>
                </a:lnTo>
                <a:lnTo>
                  <a:pt x="1985419" y="2949291"/>
                </a:lnTo>
                <a:lnTo>
                  <a:pt x="1994526" y="2949291"/>
                </a:lnTo>
                <a:lnTo>
                  <a:pt x="2003635" y="2949291"/>
                </a:lnTo>
                <a:lnTo>
                  <a:pt x="2012742" y="2952327"/>
                </a:lnTo>
                <a:lnTo>
                  <a:pt x="2021849" y="2955363"/>
                </a:lnTo>
                <a:lnTo>
                  <a:pt x="2027921" y="2961435"/>
                </a:lnTo>
                <a:lnTo>
                  <a:pt x="2027921" y="2964470"/>
                </a:lnTo>
                <a:lnTo>
                  <a:pt x="2037028" y="2967506"/>
                </a:lnTo>
                <a:lnTo>
                  <a:pt x="2046135" y="2967506"/>
                </a:lnTo>
                <a:lnTo>
                  <a:pt x="2052207" y="2973577"/>
                </a:lnTo>
                <a:lnTo>
                  <a:pt x="2052207" y="2982685"/>
                </a:lnTo>
                <a:lnTo>
                  <a:pt x="2046135" y="2982685"/>
                </a:lnTo>
                <a:lnTo>
                  <a:pt x="2043100" y="2979649"/>
                </a:lnTo>
                <a:lnTo>
                  <a:pt x="2033992" y="2979649"/>
                </a:lnTo>
                <a:lnTo>
                  <a:pt x="2027921" y="2979649"/>
                </a:lnTo>
                <a:lnTo>
                  <a:pt x="2021849" y="2979649"/>
                </a:lnTo>
                <a:lnTo>
                  <a:pt x="2015777" y="2982685"/>
                </a:lnTo>
                <a:lnTo>
                  <a:pt x="2009705" y="2982685"/>
                </a:lnTo>
                <a:lnTo>
                  <a:pt x="2003635" y="2982685"/>
                </a:lnTo>
                <a:lnTo>
                  <a:pt x="2000598" y="2982685"/>
                </a:lnTo>
                <a:lnTo>
                  <a:pt x="1994526" y="2991793"/>
                </a:lnTo>
                <a:lnTo>
                  <a:pt x="1991491" y="2997865"/>
                </a:lnTo>
                <a:lnTo>
                  <a:pt x="1988455" y="2991793"/>
                </a:lnTo>
                <a:lnTo>
                  <a:pt x="1985419" y="2988756"/>
                </a:lnTo>
                <a:lnTo>
                  <a:pt x="1961133" y="2985721"/>
                </a:lnTo>
                <a:lnTo>
                  <a:pt x="1948990" y="2982685"/>
                </a:lnTo>
                <a:lnTo>
                  <a:pt x="1942918" y="2985721"/>
                </a:lnTo>
                <a:lnTo>
                  <a:pt x="1936846" y="2985721"/>
                </a:lnTo>
                <a:lnTo>
                  <a:pt x="1933811" y="2982685"/>
                </a:lnTo>
                <a:lnTo>
                  <a:pt x="1930774" y="2979649"/>
                </a:lnTo>
                <a:lnTo>
                  <a:pt x="1936846" y="2976614"/>
                </a:lnTo>
                <a:lnTo>
                  <a:pt x="1945954" y="2979649"/>
                </a:lnTo>
                <a:lnTo>
                  <a:pt x="1958097" y="2979649"/>
                </a:lnTo>
                <a:lnTo>
                  <a:pt x="1973276" y="2976614"/>
                </a:lnTo>
                <a:lnTo>
                  <a:pt x="1970240" y="2973577"/>
                </a:lnTo>
                <a:lnTo>
                  <a:pt x="1967205" y="2967506"/>
                </a:lnTo>
                <a:lnTo>
                  <a:pt x="1964168" y="2961435"/>
                </a:lnTo>
                <a:lnTo>
                  <a:pt x="1964168" y="2955363"/>
                </a:lnTo>
                <a:lnTo>
                  <a:pt x="1958097" y="2955363"/>
                </a:lnTo>
                <a:lnTo>
                  <a:pt x="1952025" y="2952327"/>
                </a:lnTo>
                <a:lnTo>
                  <a:pt x="1958097" y="2949291"/>
                </a:lnTo>
                <a:close/>
                <a:moveTo>
                  <a:pt x="5739199" y="2943218"/>
                </a:moveTo>
                <a:lnTo>
                  <a:pt x="5742235" y="2943218"/>
                </a:lnTo>
                <a:lnTo>
                  <a:pt x="5751342" y="2943218"/>
                </a:lnTo>
                <a:lnTo>
                  <a:pt x="5754378" y="2949290"/>
                </a:lnTo>
                <a:lnTo>
                  <a:pt x="5757414" y="2955362"/>
                </a:lnTo>
                <a:lnTo>
                  <a:pt x="5751342" y="2958397"/>
                </a:lnTo>
                <a:lnTo>
                  <a:pt x="5748307" y="2964469"/>
                </a:lnTo>
                <a:lnTo>
                  <a:pt x="5745271" y="2970541"/>
                </a:lnTo>
                <a:lnTo>
                  <a:pt x="5742235" y="2976612"/>
                </a:lnTo>
                <a:lnTo>
                  <a:pt x="5733128" y="2979648"/>
                </a:lnTo>
                <a:lnTo>
                  <a:pt x="5724020" y="2982683"/>
                </a:lnTo>
                <a:lnTo>
                  <a:pt x="5714912" y="2979648"/>
                </a:lnTo>
                <a:lnTo>
                  <a:pt x="5708841" y="2973576"/>
                </a:lnTo>
                <a:lnTo>
                  <a:pt x="5705805" y="2967504"/>
                </a:lnTo>
                <a:lnTo>
                  <a:pt x="5717949" y="2955362"/>
                </a:lnTo>
                <a:lnTo>
                  <a:pt x="5727056" y="2946253"/>
                </a:lnTo>
                <a:lnTo>
                  <a:pt x="5730092" y="2946253"/>
                </a:lnTo>
                <a:lnTo>
                  <a:pt x="5733128" y="2946253"/>
                </a:lnTo>
                <a:lnTo>
                  <a:pt x="5736163" y="2946253"/>
                </a:lnTo>
                <a:lnTo>
                  <a:pt x="5739199" y="2946253"/>
                </a:lnTo>
                <a:close/>
                <a:moveTo>
                  <a:pt x="251972" y="2940184"/>
                </a:moveTo>
                <a:lnTo>
                  <a:pt x="258043" y="2943219"/>
                </a:lnTo>
                <a:lnTo>
                  <a:pt x="264115" y="2949291"/>
                </a:lnTo>
                <a:lnTo>
                  <a:pt x="270187" y="2958398"/>
                </a:lnTo>
                <a:lnTo>
                  <a:pt x="264115" y="2964470"/>
                </a:lnTo>
                <a:lnTo>
                  <a:pt x="251972" y="2967506"/>
                </a:lnTo>
                <a:lnTo>
                  <a:pt x="248936" y="2958398"/>
                </a:lnTo>
                <a:close/>
                <a:moveTo>
                  <a:pt x="4679702" y="2931075"/>
                </a:moveTo>
                <a:lnTo>
                  <a:pt x="4679702" y="2934111"/>
                </a:lnTo>
                <a:lnTo>
                  <a:pt x="4679702" y="2940183"/>
                </a:lnTo>
                <a:lnTo>
                  <a:pt x="4676666" y="2943218"/>
                </a:lnTo>
                <a:close/>
                <a:moveTo>
                  <a:pt x="233757" y="2925005"/>
                </a:moveTo>
                <a:lnTo>
                  <a:pt x="239828" y="2925005"/>
                </a:lnTo>
                <a:lnTo>
                  <a:pt x="245900" y="2931076"/>
                </a:lnTo>
                <a:lnTo>
                  <a:pt x="239828" y="2934112"/>
                </a:lnTo>
                <a:close/>
                <a:moveTo>
                  <a:pt x="221614" y="2918933"/>
                </a:moveTo>
                <a:lnTo>
                  <a:pt x="230721" y="2921969"/>
                </a:lnTo>
                <a:lnTo>
                  <a:pt x="224649" y="2921969"/>
                </a:lnTo>
                <a:lnTo>
                  <a:pt x="218577" y="2921969"/>
                </a:lnTo>
                <a:close/>
                <a:moveTo>
                  <a:pt x="1961133" y="2915896"/>
                </a:moveTo>
                <a:lnTo>
                  <a:pt x="1958097" y="2921968"/>
                </a:lnTo>
                <a:lnTo>
                  <a:pt x="1952025" y="2925004"/>
                </a:lnTo>
                <a:lnTo>
                  <a:pt x="1945954" y="2925004"/>
                </a:lnTo>
                <a:lnTo>
                  <a:pt x="1945954" y="2921968"/>
                </a:lnTo>
                <a:lnTo>
                  <a:pt x="1955061" y="2918932"/>
                </a:lnTo>
                <a:close/>
                <a:moveTo>
                  <a:pt x="200363" y="2909825"/>
                </a:moveTo>
                <a:lnTo>
                  <a:pt x="206435" y="2909825"/>
                </a:lnTo>
                <a:lnTo>
                  <a:pt x="212507" y="2915897"/>
                </a:lnTo>
                <a:lnTo>
                  <a:pt x="209471" y="2918933"/>
                </a:lnTo>
                <a:lnTo>
                  <a:pt x="203398" y="2915897"/>
                </a:lnTo>
                <a:lnTo>
                  <a:pt x="200363" y="2912862"/>
                </a:lnTo>
                <a:close/>
                <a:moveTo>
                  <a:pt x="1754697" y="2903753"/>
                </a:moveTo>
                <a:lnTo>
                  <a:pt x="1760768" y="2903753"/>
                </a:lnTo>
                <a:lnTo>
                  <a:pt x="1760768" y="2912861"/>
                </a:lnTo>
                <a:lnTo>
                  <a:pt x="1751661" y="2912861"/>
                </a:lnTo>
                <a:lnTo>
                  <a:pt x="1751661" y="2906789"/>
                </a:lnTo>
                <a:close/>
                <a:moveTo>
                  <a:pt x="179112" y="2897683"/>
                </a:moveTo>
                <a:lnTo>
                  <a:pt x="179112" y="2900718"/>
                </a:lnTo>
                <a:lnTo>
                  <a:pt x="179112" y="2903754"/>
                </a:lnTo>
                <a:lnTo>
                  <a:pt x="170005" y="2903754"/>
                </a:lnTo>
                <a:close/>
                <a:moveTo>
                  <a:pt x="1942918" y="2885539"/>
                </a:moveTo>
                <a:lnTo>
                  <a:pt x="1939882" y="2894646"/>
                </a:lnTo>
                <a:lnTo>
                  <a:pt x="1933811" y="2897683"/>
                </a:lnTo>
                <a:lnTo>
                  <a:pt x="1936846" y="2891611"/>
                </a:lnTo>
                <a:close/>
                <a:moveTo>
                  <a:pt x="5341508" y="2885538"/>
                </a:moveTo>
                <a:lnTo>
                  <a:pt x="5344544" y="2894645"/>
                </a:lnTo>
                <a:lnTo>
                  <a:pt x="5341508" y="2900717"/>
                </a:lnTo>
                <a:lnTo>
                  <a:pt x="5338473" y="2900717"/>
                </a:lnTo>
                <a:lnTo>
                  <a:pt x="5335436" y="2888573"/>
                </a:lnTo>
                <a:close/>
                <a:moveTo>
                  <a:pt x="1930774" y="2882503"/>
                </a:moveTo>
                <a:lnTo>
                  <a:pt x="1939882" y="2885538"/>
                </a:lnTo>
                <a:lnTo>
                  <a:pt x="1936846" y="2885538"/>
                </a:lnTo>
                <a:close/>
                <a:moveTo>
                  <a:pt x="1766840" y="2876431"/>
                </a:moveTo>
                <a:lnTo>
                  <a:pt x="1782019" y="2876431"/>
                </a:lnTo>
                <a:lnTo>
                  <a:pt x="1794163" y="2876431"/>
                </a:lnTo>
                <a:lnTo>
                  <a:pt x="1800233" y="2876431"/>
                </a:lnTo>
                <a:lnTo>
                  <a:pt x="1806305" y="2879466"/>
                </a:lnTo>
                <a:lnTo>
                  <a:pt x="1815413" y="2882503"/>
                </a:lnTo>
                <a:lnTo>
                  <a:pt x="1824521" y="2888573"/>
                </a:lnTo>
                <a:lnTo>
                  <a:pt x="1830592" y="2894645"/>
                </a:lnTo>
                <a:lnTo>
                  <a:pt x="1839700" y="2894645"/>
                </a:lnTo>
                <a:lnTo>
                  <a:pt x="1848807" y="2897682"/>
                </a:lnTo>
                <a:lnTo>
                  <a:pt x="1854878" y="2900717"/>
                </a:lnTo>
                <a:lnTo>
                  <a:pt x="1863986" y="2906789"/>
                </a:lnTo>
                <a:lnTo>
                  <a:pt x="1870057" y="2906789"/>
                </a:lnTo>
                <a:lnTo>
                  <a:pt x="1873094" y="2912861"/>
                </a:lnTo>
                <a:lnTo>
                  <a:pt x="1876129" y="2912861"/>
                </a:lnTo>
                <a:lnTo>
                  <a:pt x="1882201" y="2915896"/>
                </a:lnTo>
                <a:lnTo>
                  <a:pt x="1903452" y="2925004"/>
                </a:lnTo>
                <a:lnTo>
                  <a:pt x="1906487" y="2925004"/>
                </a:lnTo>
                <a:lnTo>
                  <a:pt x="1906487" y="2928040"/>
                </a:lnTo>
                <a:lnTo>
                  <a:pt x="1918631" y="2931075"/>
                </a:lnTo>
                <a:lnTo>
                  <a:pt x="1924702" y="2934111"/>
                </a:lnTo>
                <a:lnTo>
                  <a:pt x="1927738" y="2937147"/>
                </a:lnTo>
                <a:lnTo>
                  <a:pt x="1930773" y="2940183"/>
                </a:lnTo>
                <a:lnTo>
                  <a:pt x="1933810" y="2943219"/>
                </a:lnTo>
                <a:lnTo>
                  <a:pt x="1921666" y="2946254"/>
                </a:lnTo>
                <a:lnTo>
                  <a:pt x="1915594" y="2949290"/>
                </a:lnTo>
                <a:lnTo>
                  <a:pt x="1912559" y="2949290"/>
                </a:lnTo>
                <a:lnTo>
                  <a:pt x="1900415" y="2946254"/>
                </a:lnTo>
                <a:lnTo>
                  <a:pt x="1888273" y="2946254"/>
                </a:lnTo>
                <a:lnTo>
                  <a:pt x="1860950" y="2949290"/>
                </a:lnTo>
                <a:lnTo>
                  <a:pt x="1873094" y="2940183"/>
                </a:lnTo>
                <a:lnTo>
                  <a:pt x="1873094" y="2934111"/>
                </a:lnTo>
                <a:lnTo>
                  <a:pt x="1867022" y="2931075"/>
                </a:lnTo>
                <a:lnTo>
                  <a:pt x="1860950" y="2931075"/>
                </a:lnTo>
                <a:lnTo>
                  <a:pt x="1854878" y="2931075"/>
                </a:lnTo>
                <a:lnTo>
                  <a:pt x="1848807" y="2925004"/>
                </a:lnTo>
                <a:lnTo>
                  <a:pt x="1845771" y="2921968"/>
                </a:lnTo>
                <a:lnTo>
                  <a:pt x="1842735" y="2915896"/>
                </a:lnTo>
                <a:lnTo>
                  <a:pt x="1839700" y="2912861"/>
                </a:lnTo>
                <a:lnTo>
                  <a:pt x="1833628" y="2912861"/>
                </a:lnTo>
                <a:lnTo>
                  <a:pt x="1818449" y="2909824"/>
                </a:lnTo>
                <a:lnTo>
                  <a:pt x="1806305" y="2900717"/>
                </a:lnTo>
                <a:lnTo>
                  <a:pt x="1800233" y="2900717"/>
                </a:lnTo>
                <a:lnTo>
                  <a:pt x="1794163" y="2900717"/>
                </a:lnTo>
                <a:lnTo>
                  <a:pt x="1791126" y="2897682"/>
                </a:lnTo>
                <a:lnTo>
                  <a:pt x="1782019" y="2897682"/>
                </a:lnTo>
                <a:lnTo>
                  <a:pt x="1775947" y="2897682"/>
                </a:lnTo>
                <a:lnTo>
                  <a:pt x="1772912" y="2891610"/>
                </a:lnTo>
                <a:lnTo>
                  <a:pt x="1778984" y="2891610"/>
                </a:lnTo>
                <a:lnTo>
                  <a:pt x="1775947" y="2888573"/>
                </a:lnTo>
                <a:lnTo>
                  <a:pt x="1772912" y="2888573"/>
                </a:lnTo>
                <a:lnTo>
                  <a:pt x="1766840" y="2885538"/>
                </a:lnTo>
                <a:lnTo>
                  <a:pt x="1754697" y="2888573"/>
                </a:lnTo>
                <a:lnTo>
                  <a:pt x="1751661" y="2894645"/>
                </a:lnTo>
                <a:lnTo>
                  <a:pt x="1745589" y="2897682"/>
                </a:lnTo>
                <a:lnTo>
                  <a:pt x="1736482" y="2900717"/>
                </a:lnTo>
                <a:lnTo>
                  <a:pt x="1730410" y="2903753"/>
                </a:lnTo>
                <a:lnTo>
                  <a:pt x="1727374" y="2903753"/>
                </a:lnTo>
                <a:lnTo>
                  <a:pt x="1721303" y="2903753"/>
                </a:lnTo>
                <a:lnTo>
                  <a:pt x="1715232" y="2903753"/>
                </a:lnTo>
                <a:lnTo>
                  <a:pt x="1724339" y="2900717"/>
                </a:lnTo>
                <a:lnTo>
                  <a:pt x="1724339" y="2894645"/>
                </a:lnTo>
                <a:lnTo>
                  <a:pt x="1730410" y="2888573"/>
                </a:lnTo>
                <a:lnTo>
                  <a:pt x="1742554" y="2882503"/>
                </a:lnTo>
                <a:lnTo>
                  <a:pt x="1748625" y="2879466"/>
                </a:lnTo>
                <a:lnTo>
                  <a:pt x="1754697" y="2879466"/>
                </a:lnTo>
                <a:lnTo>
                  <a:pt x="1760768" y="2879466"/>
                </a:lnTo>
                <a:close/>
                <a:moveTo>
                  <a:pt x="1912560" y="2864287"/>
                </a:moveTo>
                <a:lnTo>
                  <a:pt x="1921667" y="2882503"/>
                </a:lnTo>
                <a:lnTo>
                  <a:pt x="1915595" y="2876431"/>
                </a:lnTo>
                <a:close/>
                <a:moveTo>
                  <a:pt x="1863987" y="2852144"/>
                </a:moveTo>
                <a:lnTo>
                  <a:pt x="1863987" y="2864287"/>
                </a:lnTo>
                <a:lnTo>
                  <a:pt x="1860951" y="2858216"/>
                </a:lnTo>
                <a:close/>
                <a:moveTo>
                  <a:pt x="1894345" y="2833929"/>
                </a:moveTo>
                <a:lnTo>
                  <a:pt x="1894345" y="2843037"/>
                </a:lnTo>
                <a:lnTo>
                  <a:pt x="1891309" y="2840001"/>
                </a:lnTo>
                <a:close/>
                <a:moveTo>
                  <a:pt x="5969921" y="2830894"/>
                </a:moveTo>
                <a:lnTo>
                  <a:pt x="5975992" y="2830894"/>
                </a:lnTo>
                <a:lnTo>
                  <a:pt x="5982063" y="2833929"/>
                </a:lnTo>
                <a:lnTo>
                  <a:pt x="5982063" y="2840001"/>
                </a:lnTo>
                <a:lnTo>
                  <a:pt x="5972956" y="2867323"/>
                </a:lnTo>
                <a:lnTo>
                  <a:pt x="5963849" y="2885538"/>
                </a:lnTo>
                <a:lnTo>
                  <a:pt x="5960813" y="2894645"/>
                </a:lnTo>
                <a:lnTo>
                  <a:pt x="5954741" y="2894645"/>
                </a:lnTo>
                <a:lnTo>
                  <a:pt x="5951705" y="2894645"/>
                </a:lnTo>
                <a:lnTo>
                  <a:pt x="5948669" y="2891609"/>
                </a:lnTo>
                <a:lnTo>
                  <a:pt x="5945634" y="2882502"/>
                </a:lnTo>
                <a:lnTo>
                  <a:pt x="5942597" y="2873394"/>
                </a:lnTo>
                <a:lnTo>
                  <a:pt x="5945634" y="2864287"/>
                </a:lnTo>
                <a:lnTo>
                  <a:pt x="5948669" y="2858215"/>
                </a:lnTo>
                <a:lnTo>
                  <a:pt x="5957777" y="2843036"/>
                </a:lnTo>
                <a:lnTo>
                  <a:pt x="5966884" y="2833929"/>
                </a:lnTo>
                <a:close/>
                <a:moveTo>
                  <a:pt x="1851844" y="2830894"/>
                </a:moveTo>
                <a:lnTo>
                  <a:pt x="1860951" y="2840001"/>
                </a:lnTo>
                <a:lnTo>
                  <a:pt x="1857915" y="2849108"/>
                </a:lnTo>
                <a:lnTo>
                  <a:pt x="1851844" y="2846073"/>
                </a:lnTo>
                <a:lnTo>
                  <a:pt x="1848808" y="2843037"/>
                </a:lnTo>
                <a:close/>
                <a:moveTo>
                  <a:pt x="1882202" y="2821786"/>
                </a:moveTo>
                <a:lnTo>
                  <a:pt x="1894345" y="2830894"/>
                </a:lnTo>
                <a:lnTo>
                  <a:pt x="1894345" y="2833929"/>
                </a:lnTo>
                <a:lnTo>
                  <a:pt x="1891309" y="2830894"/>
                </a:lnTo>
                <a:lnTo>
                  <a:pt x="1888274" y="2827858"/>
                </a:lnTo>
                <a:close/>
                <a:moveTo>
                  <a:pt x="4524875" y="2809643"/>
                </a:moveTo>
                <a:lnTo>
                  <a:pt x="4530947" y="2815714"/>
                </a:lnTo>
                <a:lnTo>
                  <a:pt x="4530947" y="2830894"/>
                </a:lnTo>
                <a:lnTo>
                  <a:pt x="4527912" y="2840001"/>
                </a:lnTo>
                <a:lnTo>
                  <a:pt x="4527912" y="2843036"/>
                </a:lnTo>
                <a:lnTo>
                  <a:pt x="4518804" y="2846073"/>
                </a:lnTo>
                <a:lnTo>
                  <a:pt x="4512733" y="2840001"/>
                </a:lnTo>
                <a:lnTo>
                  <a:pt x="4512733" y="2833929"/>
                </a:lnTo>
                <a:lnTo>
                  <a:pt x="4512733" y="2824822"/>
                </a:lnTo>
                <a:lnTo>
                  <a:pt x="4518804" y="2815714"/>
                </a:lnTo>
                <a:close/>
                <a:moveTo>
                  <a:pt x="1845772" y="2797500"/>
                </a:moveTo>
                <a:lnTo>
                  <a:pt x="1851844" y="2797500"/>
                </a:lnTo>
                <a:lnTo>
                  <a:pt x="1854879" y="2797500"/>
                </a:lnTo>
                <a:lnTo>
                  <a:pt x="1842736" y="2800535"/>
                </a:lnTo>
                <a:close/>
                <a:moveTo>
                  <a:pt x="6112602" y="2791428"/>
                </a:moveTo>
                <a:lnTo>
                  <a:pt x="6109567" y="2800536"/>
                </a:lnTo>
                <a:lnTo>
                  <a:pt x="6103495" y="2806607"/>
                </a:lnTo>
                <a:lnTo>
                  <a:pt x="6100459" y="2809644"/>
                </a:lnTo>
                <a:lnTo>
                  <a:pt x="6103495" y="2800536"/>
                </a:lnTo>
                <a:close/>
                <a:moveTo>
                  <a:pt x="4615950" y="2791428"/>
                </a:moveTo>
                <a:lnTo>
                  <a:pt x="4628094" y="2791428"/>
                </a:lnTo>
                <a:lnTo>
                  <a:pt x="4615950" y="2797499"/>
                </a:lnTo>
                <a:lnTo>
                  <a:pt x="4606843" y="2800535"/>
                </a:lnTo>
                <a:lnTo>
                  <a:pt x="4606843" y="2797499"/>
                </a:lnTo>
                <a:close/>
                <a:moveTo>
                  <a:pt x="1867023" y="2791428"/>
                </a:moveTo>
                <a:lnTo>
                  <a:pt x="1876130" y="2800535"/>
                </a:lnTo>
                <a:lnTo>
                  <a:pt x="1876130" y="2806607"/>
                </a:lnTo>
                <a:lnTo>
                  <a:pt x="1873095" y="2815714"/>
                </a:lnTo>
                <a:lnTo>
                  <a:pt x="1870058" y="2812679"/>
                </a:lnTo>
                <a:lnTo>
                  <a:pt x="1873095" y="2809643"/>
                </a:lnTo>
                <a:lnTo>
                  <a:pt x="1873095" y="2800535"/>
                </a:lnTo>
                <a:close/>
                <a:moveTo>
                  <a:pt x="3142065" y="2764106"/>
                </a:moveTo>
                <a:lnTo>
                  <a:pt x="3145101" y="2764106"/>
                </a:lnTo>
                <a:lnTo>
                  <a:pt x="3148136" y="2764106"/>
                </a:lnTo>
                <a:lnTo>
                  <a:pt x="3148136" y="2767143"/>
                </a:lnTo>
                <a:lnTo>
                  <a:pt x="3145101" y="2773215"/>
                </a:lnTo>
                <a:lnTo>
                  <a:pt x="3139029" y="2767143"/>
                </a:lnTo>
                <a:close/>
                <a:moveTo>
                  <a:pt x="6142960" y="2754999"/>
                </a:moveTo>
                <a:lnTo>
                  <a:pt x="6136889" y="2761071"/>
                </a:lnTo>
                <a:lnTo>
                  <a:pt x="6133853" y="2761071"/>
                </a:lnTo>
                <a:close/>
                <a:moveTo>
                  <a:pt x="3132958" y="2751964"/>
                </a:moveTo>
                <a:lnTo>
                  <a:pt x="3129922" y="2758035"/>
                </a:lnTo>
                <a:lnTo>
                  <a:pt x="3126886" y="2764106"/>
                </a:lnTo>
                <a:lnTo>
                  <a:pt x="3123850" y="2767143"/>
                </a:lnTo>
                <a:lnTo>
                  <a:pt x="3120815" y="2764106"/>
                </a:lnTo>
                <a:lnTo>
                  <a:pt x="3117779" y="2758035"/>
                </a:lnTo>
                <a:lnTo>
                  <a:pt x="3120815" y="2758035"/>
                </a:lnTo>
                <a:close/>
                <a:moveTo>
                  <a:pt x="3178495" y="2748927"/>
                </a:moveTo>
                <a:lnTo>
                  <a:pt x="3181531" y="2754999"/>
                </a:lnTo>
                <a:lnTo>
                  <a:pt x="3178495" y="2761071"/>
                </a:lnTo>
                <a:lnTo>
                  <a:pt x="3169387" y="2764106"/>
                </a:lnTo>
                <a:lnTo>
                  <a:pt x="3175459" y="2754999"/>
                </a:lnTo>
                <a:close/>
                <a:moveTo>
                  <a:pt x="1144498" y="2739820"/>
                </a:moveTo>
                <a:lnTo>
                  <a:pt x="1150570" y="2739820"/>
                </a:lnTo>
                <a:lnTo>
                  <a:pt x="1150570" y="2742856"/>
                </a:lnTo>
                <a:lnTo>
                  <a:pt x="1144498" y="2745892"/>
                </a:lnTo>
                <a:lnTo>
                  <a:pt x="1144498" y="2742856"/>
                </a:lnTo>
                <a:close/>
                <a:moveTo>
                  <a:pt x="3187603" y="2736785"/>
                </a:moveTo>
                <a:lnTo>
                  <a:pt x="3187603" y="2739820"/>
                </a:lnTo>
                <a:lnTo>
                  <a:pt x="3184566" y="2745892"/>
                </a:lnTo>
                <a:lnTo>
                  <a:pt x="3181531" y="2745892"/>
                </a:lnTo>
                <a:lnTo>
                  <a:pt x="3181531" y="2742856"/>
                </a:lnTo>
                <a:lnTo>
                  <a:pt x="3184566" y="2739820"/>
                </a:lnTo>
                <a:close/>
                <a:moveTo>
                  <a:pt x="1123248" y="2727677"/>
                </a:moveTo>
                <a:lnTo>
                  <a:pt x="1126284" y="2733749"/>
                </a:lnTo>
                <a:lnTo>
                  <a:pt x="1132355" y="2742856"/>
                </a:lnTo>
                <a:lnTo>
                  <a:pt x="1126284" y="2736785"/>
                </a:lnTo>
                <a:close/>
                <a:moveTo>
                  <a:pt x="3111706" y="2651781"/>
                </a:moveTo>
                <a:lnTo>
                  <a:pt x="3114742" y="2651781"/>
                </a:lnTo>
                <a:lnTo>
                  <a:pt x="3120814" y="2651781"/>
                </a:lnTo>
                <a:lnTo>
                  <a:pt x="3114742" y="2654816"/>
                </a:lnTo>
                <a:close/>
                <a:moveTo>
                  <a:pt x="6082244" y="2633565"/>
                </a:moveTo>
                <a:lnTo>
                  <a:pt x="6085281" y="2636602"/>
                </a:lnTo>
                <a:lnTo>
                  <a:pt x="6079209" y="2639637"/>
                </a:lnTo>
                <a:lnTo>
                  <a:pt x="6070101" y="2642673"/>
                </a:lnTo>
                <a:close/>
                <a:moveTo>
                  <a:pt x="6161176" y="2624459"/>
                </a:moveTo>
                <a:lnTo>
                  <a:pt x="6167247" y="2624459"/>
                </a:lnTo>
                <a:lnTo>
                  <a:pt x="6167247" y="2627494"/>
                </a:lnTo>
                <a:lnTo>
                  <a:pt x="6170284" y="2630531"/>
                </a:lnTo>
                <a:lnTo>
                  <a:pt x="6176355" y="2633566"/>
                </a:lnTo>
                <a:lnTo>
                  <a:pt x="6179391" y="2633566"/>
                </a:lnTo>
                <a:lnTo>
                  <a:pt x="6182427" y="2636603"/>
                </a:lnTo>
                <a:lnTo>
                  <a:pt x="6188499" y="2642674"/>
                </a:lnTo>
                <a:lnTo>
                  <a:pt x="6188499" y="2651781"/>
                </a:lnTo>
                <a:lnTo>
                  <a:pt x="6182427" y="2660889"/>
                </a:lnTo>
                <a:lnTo>
                  <a:pt x="6179391" y="2673032"/>
                </a:lnTo>
                <a:lnTo>
                  <a:pt x="6179391" y="2676068"/>
                </a:lnTo>
                <a:lnTo>
                  <a:pt x="6179391" y="2679104"/>
                </a:lnTo>
                <a:lnTo>
                  <a:pt x="6164212" y="2694283"/>
                </a:lnTo>
                <a:lnTo>
                  <a:pt x="6161176" y="2691247"/>
                </a:lnTo>
                <a:lnTo>
                  <a:pt x="6149033" y="2685175"/>
                </a:lnTo>
                <a:lnTo>
                  <a:pt x="6155105" y="2679104"/>
                </a:lnTo>
                <a:lnTo>
                  <a:pt x="6152069" y="2673032"/>
                </a:lnTo>
                <a:lnTo>
                  <a:pt x="6155105" y="2666960"/>
                </a:lnTo>
                <a:lnTo>
                  <a:pt x="6161176" y="2660889"/>
                </a:lnTo>
                <a:lnTo>
                  <a:pt x="6161176" y="2651781"/>
                </a:lnTo>
                <a:lnTo>
                  <a:pt x="6155105" y="2642674"/>
                </a:lnTo>
                <a:lnTo>
                  <a:pt x="6149033" y="2648745"/>
                </a:lnTo>
                <a:lnTo>
                  <a:pt x="6145997" y="2657853"/>
                </a:lnTo>
                <a:lnTo>
                  <a:pt x="6142961" y="2645710"/>
                </a:lnTo>
                <a:lnTo>
                  <a:pt x="6139926" y="2636603"/>
                </a:lnTo>
                <a:lnTo>
                  <a:pt x="6149033" y="2636603"/>
                </a:lnTo>
                <a:lnTo>
                  <a:pt x="6155105" y="2633566"/>
                </a:lnTo>
                <a:lnTo>
                  <a:pt x="6155105" y="2630531"/>
                </a:lnTo>
                <a:close/>
                <a:moveTo>
                  <a:pt x="6224927" y="2615352"/>
                </a:moveTo>
                <a:lnTo>
                  <a:pt x="6234035" y="2615352"/>
                </a:lnTo>
                <a:lnTo>
                  <a:pt x="6243142" y="2621424"/>
                </a:lnTo>
                <a:lnTo>
                  <a:pt x="6246177" y="2627494"/>
                </a:lnTo>
                <a:lnTo>
                  <a:pt x="6237070" y="2633566"/>
                </a:lnTo>
                <a:lnTo>
                  <a:pt x="6221891" y="2633566"/>
                </a:lnTo>
                <a:lnTo>
                  <a:pt x="6212784" y="2645710"/>
                </a:lnTo>
                <a:lnTo>
                  <a:pt x="6206712" y="2648745"/>
                </a:lnTo>
                <a:lnTo>
                  <a:pt x="6200641" y="2648745"/>
                </a:lnTo>
                <a:lnTo>
                  <a:pt x="6200641" y="2645710"/>
                </a:lnTo>
                <a:lnTo>
                  <a:pt x="6200641" y="2642674"/>
                </a:lnTo>
                <a:lnTo>
                  <a:pt x="6197605" y="2633566"/>
                </a:lnTo>
                <a:lnTo>
                  <a:pt x="6209749" y="2618387"/>
                </a:lnTo>
                <a:lnTo>
                  <a:pt x="6212784" y="2624459"/>
                </a:lnTo>
                <a:lnTo>
                  <a:pt x="6221891" y="2624459"/>
                </a:lnTo>
                <a:close/>
                <a:moveTo>
                  <a:pt x="6133853" y="2606244"/>
                </a:moveTo>
                <a:lnTo>
                  <a:pt x="6136889" y="2606244"/>
                </a:lnTo>
                <a:lnTo>
                  <a:pt x="6136889" y="2609279"/>
                </a:lnTo>
                <a:lnTo>
                  <a:pt x="6133853" y="2615351"/>
                </a:lnTo>
                <a:lnTo>
                  <a:pt x="6133853" y="2612314"/>
                </a:lnTo>
                <a:close/>
                <a:moveTo>
                  <a:pt x="4145399" y="2588029"/>
                </a:moveTo>
                <a:lnTo>
                  <a:pt x="4151471" y="2588029"/>
                </a:lnTo>
                <a:lnTo>
                  <a:pt x="4160578" y="2588029"/>
                </a:lnTo>
                <a:lnTo>
                  <a:pt x="4163614" y="2588029"/>
                </a:lnTo>
                <a:lnTo>
                  <a:pt x="4166650" y="2594101"/>
                </a:lnTo>
                <a:lnTo>
                  <a:pt x="4169685" y="2597137"/>
                </a:lnTo>
                <a:lnTo>
                  <a:pt x="4160578" y="2600173"/>
                </a:lnTo>
                <a:lnTo>
                  <a:pt x="4157543" y="2603208"/>
                </a:lnTo>
                <a:lnTo>
                  <a:pt x="4154507" y="2603208"/>
                </a:lnTo>
                <a:lnTo>
                  <a:pt x="4151471" y="2603208"/>
                </a:lnTo>
                <a:lnTo>
                  <a:pt x="4148435" y="2606245"/>
                </a:lnTo>
                <a:lnTo>
                  <a:pt x="4145399" y="2609280"/>
                </a:lnTo>
                <a:lnTo>
                  <a:pt x="4142363" y="2606245"/>
                </a:lnTo>
                <a:lnTo>
                  <a:pt x="4133256" y="2603208"/>
                </a:lnTo>
                <a:lnTo>
                  <a:pt x="4133256" y="2594101"/>
                </a:lnTo>
                <a:lnTo>
                  <a:pt x="4139328" y="2594101"/>
                </a:lnTo>
                <a:lnTo>
                  <a:pt x="4142363" y="2594101"/>
                </a:lnTo>
                <a:close/>
                <a:moveTo>
                  <a:pt x="3951106" y="2581958"/>
                </a:moveTo>
                <a:lnTo>
                  <a:pt x="3960214" y="2584994"/>
                </a:lnTo>
                <a:lnTo>
                  <a:pt x="3966285" y="2588029"/>
                </a:lnTo>
                <a:lnTo>
                  <a:pt x="3972357" y="2588029"/>
                </a:lnTo>
                <a:lnTo>
                  <a:pt x="3975393" y="2588029"/>
                </a:lnTo>
                <a:lnTo>
                  <a:pt x="3978429" y="2588029"/>
                </a:lnTo>
                <a:lnTo>
                  <a:pt x="3981464" y="2588029"/>
                </a:lnTo>
                <a:lnTo>
                  <a:pt x="3984501" y="2588029"/>
                </a:lnTo>
                <a:lnTo>
                  <a:pt x="4005751" y="2591065"/>
                </a:lnTo>
                <a:lnTo>
                  <a:pt x="4008787" y="2591065"/>
                </a:lnTo>
                <a:lnTo>
                  <a:pt x="4008787" y="2594101"/>
                </a:lnTo>
                <a:lnTo>
                  <a:pt x="4002715" y="2597137"/>
                </a:lnTo>
                <a:lnTo>
                  <a:pt x="3987536" y="2597137"/>
                </a:lnTo>
                <a:lnTo>
                  <a:pt x="3978429" y="2600173"/>
                </a:lnTo>
                <a:lnTo>
                  <a:pt x="3975393" y="2600173"/>
                </a:lnTo>
                <a:lnTo>
                  <a:pt x="3975393" y="2597137"/>
                </a:lnTo>
                <a:lnTo>
                  <a:pt x="3963250" y="2594101"/>
                </a:lnTo>
                <a:lnTo>
                  <a:pt x="3954142" y="2591065"/>
                </a:lnTo>
                <a:lnTo>
                  <a:pt x="3951106" y="2588029"/>
                </a:lnTo>
                <a:lnTo>
                  <a:pt x="3951106" y="2584994"/>
                </a:lnTo>
                <a:close/>
                <a:moveTo>
                  <a:pt x="4027002" y="2578922"/>
                </a:moveTo>
                <a:lnTo>
                  <a:pt x="4027002" y="2581958"/>
                </a:lnTo>
                <a:lnTo>
                  <a:pt x="4027002" y="2584994"/>
                </a:lnTo>
                <a:lnTo>
                  <a:pt x="4023966" y="2588029"/>
                </a:lnTo>
                <a:lnTo>
                  <a:pt x="4023966" y="2584994"/>
                </a:lnTo>
                <a:lnTo>
                  <a:pt x="4023966" y="2581958"/>
                </a:lnTo>
                <a:close/>
                <a:moveTo>
                  <a:pt x="3354571" y="2572851"/>
                </a:moveTo>
                <a:lnTo>
                  <a:pt x="3354571" y="2573040"/>
                </a:lnTo>
                <a:lnTo>
                  <a:pt x="3354222" y="2573084"/>
                </a:lnTo>
                <a:close/>
                <a:moveTo>
                  <a:pt x="4048252" y="2560707"/>
                </a:moveTo>
                <a:lnTo>
                  <a:pt x="4048252" y="2563743"/>
                </a:lnTo>
                <a:lnTo>
                  <a:pt x="4045216" y="2569815"/>
                </a:lnTo>
                <a:lnTo>
                  <a:pt x="4039145" y="2575886"/>
                </a:lnTo>
                <a:lnTo>
                  <a:pt x="4039145" y="2566779"/>
                </a:lnTo>
                <a:close/>
                <a:moveTo>
                  <a:pt x="4023966" y="2548564"/>
                </a:moveTo>
                <a:lnTo>
                  <a:pt x="4030038" y="2548564"/>
                </a:lnTo>
                <a:lnTo>
                  <a:pt x="4020930" y="2554635"/>
                </a:lnTo>
                <a:close/>
                <a:moveTo>
                  <a:pt x="4014859" y="2527314"/>
                </a:moveTo>
                <a:lnTo>
                  <a:pt x="4020930" y="2527314"/>
                </a:lnTo>
                <a:lnTo>
                  <a:pt x="4023966" y="2527314"/>
                </a:lnTo>
                <a:lnTo>
                  <a:pt x="4017894" y="2530349"/>
                </a:lnTo>
                <a:close/>
                <a:moveTo>
                  <a:pt x="2932593" y="2524277"/>
                </a:moveTo>
                <a:lnTo>
                  <a:pt x="2947772" y="2524277"/>
                </a:lnTo>
                <a:lnTo>
                  <a:pt x="2944735" y="2527314"/>
                </a:lnTo>
                <a:lnTo>
                  <a:pt x="2935628" y="2527314"/>
                </a:lnTo>
                <a:close/>
                <a:moveTo>
                  <a:pt x="3735564" y="2515169"/>
                </a:moveTo>
                <a:lnTo>
                  <a:pt x="3741635" y="2518205"/>
                </a:lnTo>
                <a:lnTo>
                  <a:pt x="3750743" y="2521241"/>
                </a:lnTo>
                <a:lnTo>
                  <a:pt x="3762886" y="2521241"/>
                </a:lnTo>
                <a:lnTo>
                  <a:pt x="3778065" y="2518205"/>
                </a:lnTo>
                <a:lnTo>
                  <a:pt x="3787172" y="2515169"/>
                </a:lnTo>
                <a:lnTo>
                  <a:pt x="3778065" y="2530348"/>
                </a:lnTo>
                <a:lnTo>
                  <a:pt x="3778065" y="2536420"/>
                </a:lnTo>
                <a:lnTo>
                  <a:pt x="3778065" y="2542492"/>
                </a:lnTo>
                <a:lnTo>
                  <a:pt x="3778065" y="2548563"/>
                </a:lnTo>
                <a:lnTo>
                  <a:pt x="3775030" y="2554634"/>
                </a:lnTo>
                <a:lnTo>
                  <a:pt x="3768958" y="2554634"/>
                </a:lnTo>
                <a:lnTo>
                  <a:pt x="3759851" y="2548563"/>
                </a:lnTo>
                <a:lnTo>
                  <a:pt x="3747707" y="2542492"/>
                </a:lnTo>
                <a:lnTo>
                  <a:pt x="3738600" y="2536420"/>
                </a:lnTo>
                <a:lnTo>
                  <a:pt x="3726457" y="2530348"/>
                </a:lnTo>
                <a:lnTo>
                  <a:pt x="3720385" y="2527313"/>
                </a:lnTo>
                <a:lnTo>
                  <a:pt x="3723421" y="2521241"/>
                </a:lnTo>
                <a:close/>
                <a:moveTo>
                  <a:pt x="6325111" y="2512134"/>
                </a:moveTo>
                <a:lnTo>
                  <a:pt x="6322074" y="2524277"/>
                </a:lnTo>
                <a:lnTo>
                  <a:pt x="6316002" y="2527313"/>
                </a:lnTo>
                <a:lnTo>
                  <a:pt x="6319039" y="2515170"/>
                </a:lnTo>
                <a:close/>
                <a:moveTo>
                  <a:pt x="3890391" y="2509098"/>
                </a:moveTo>
                <a:lnTo>
                  <a:pt x="3893426" y="2518205"/>
                </a:lnTo>
                <a:lnTo>
                  <a:pt x="3887354" y="2515170"/>
                </a:lnTo>
                <a:close/>
                <a:moveTo>
                  <a:pt x="3999680" y="2506063"/>
                </a:moveTo>
                <a:lnTo>
                  <a:pt x="4005751" y="2506063"/>
                </a:lnTo>
                <a:lnTo>
                  <a:pt x="4002715" y="2515170"/>
                </a:lnTo>
                <a:lnTo>
                  <a:pt x="3999680" y="2512135"/>
                </a:lnTo>
                <a:close/>
                <a:moveTo>
                  <a:pt x="4011822" y="2484812"/>
                </a:moveTo>
                <a:lnTo>
                  <a:pt x="4011822" y="2493919"/>
                </a:lnTo>
                <a:lnTo>
                  <a:pt x="4002715" y="2493919"/>
                </a:lnTo>
                <a:lnTo>
                  <a:pt x="3999680" y="2490884"/>
                </a:lnTo>
                <a:lnTo>
                  <a:pt x="3999680" y="2487848"/>
                </a:lnTo>
                <a:close/>
                <a:moveTo>
                  <a:pt x="3533683" y="2469633"/>
                </a:moveTo>
                <a:lnTo>
                  <a:pt x="3530647" y="2472669"/>
                </a:lnTo>
                <a:lnTo>
                  <a:pt x="3533683" y="2475705"/>
                </a:lnTo>
                <a:lnTo>
                  <a:pt x="3539755" y="2475705"/>
                </a:lnTo>
                <a:lnTo>
                  <a:pt x="3533683" y="2484812"/>
                </a:lnTo>
                <a:lnTo>
                  <a:pt x="3527612" y="2484812"/>
                </a:lnTo>
                <a:lnTo>
                  <a:pt x="3515468" y="2481776"/>
                </a:lnTo>
                <a:lnTo>
                  <a:pt x="3515468" y="2475705"/>
                </a:lnTo>
                <a:close/>
                <a:moveTo>
                  <a:pt x="3545826" y="2466597"/>
                </a:moveTo>
                <a:lnTo>
                  <a:pt x="3548863" y="2466597"/>
                </a:lnTo>
                <a:lnTo>
                  <a:pt x="3554933" y="2466597"/>
                </a:lnTo>
                <a:lnTo>
                  <a:pt x="3554933" y="2472669"/>
                </a:lnTo>
                <a:lnTo>
                  <a:pt x="3545826" y="2469633"/>
                </a:lnTo>
                <a:close/>
                <a:moveTo>
                  <a:pt x="3658151" y="2433203"/>
                </a:moveTo>
                <a:lnTo>
                  <a:pt x="3664222" y="2442310"/>
                </a:lnTo>
                <a:lnTo>
                  <a:pt x="3670293" y="2454453"/>
                </a:lnTo>
                <a:lnTo>
                  <a:pt x="3664222" y="2460524"/>
                </a:lnTo>
                <a:lnTo>
                  <a:pt x="3667258" y="2466596"/>
                </a:lnTo>
                <a:lnTo>
                  <a:pt x="3667258" y="2472668"/>
                </a:lnTo>
                <a:lnTo>
                  <a:pt x="3661186" y="2490883"/>
                </a:lnTo>
                <a:lnTo>
                  <a:pt x="3649043" y="2496954"/>
                </a:lnTo>
                <a:lnTo>
                  <a:pt x="3642972" y="2493918"/>
                </a:lnTo>
                <a:lnTo>
                  <a:pt x="3642972" y="2472668"/>
                </a:lnTo>
                <a:lnTo>
                  <a:pt x="3642972" y="2460524"/>
                </a:lnTo>
                <a:lnTo>
                  <a:pt x="3636900" y="2451417"/>
                </a:lnTo>
                <a:lnTo>
                  <a:pt x="3636900" y="2442310"/>
                </a:lnTo>
                <a:lnTo>
                  <a:pt x="3646007" y="2445345"/>
                </a:lnTo>
                <a:lnTo>
                  <a:pt x="3652079" y="2439274"/>
                </a:lnTo>
                <a:close/>
                <a:moveTo>
                  <a:pt x="6373682" y="2427132"/>
                </a:moveTo>
                <a:lnTo>
                  <a:pt x="6379754" y="2427132"/>
                </a:lnTo>
                <a:lnTo>
                  <a:pt x="6385825" y="2439275"/>
                </a:lnTo>
                <a:lnTo>
                  <a:pt x="6391897" y="2460525"/>
                </a:lnTo>
                <a:lnTo>
                  <a:pt x="6397969" y="2478740"/>
                </a:lnTo>
                <a:lnTo>
                  <a:pt x="6394932" y="2487847"/>
                </a:lnTo>
                <a:lnTo>
                  <a:pt x="6388861" y="2493919"/>
                </a:lnTo>
                <a:lnTo>
                  <a:pt x="6388861" y="2496955"/>
                </a:lnTo>
                <a:lnTo>
                  <a:pt x="6382789" y="2506063"/>
                </a:lnTo>
                <a:lnTo>
                  <a:pt x="6379754" y="2509098"/>
                </a:lnTo>
                <a:lnTo>
                  <a:pt x="6376717" y="2512134"/>
                </a:lnTo>
                <a:lnTo>
                  <a:pt x="6373682" y="2524277"/>
                </a:lnTo>
                <a:lnTo>
                  <a:pt x="6376717" y="2527313"/>
                </a:lnTo>
                <a:lnTo>
                  <a:pt x="6376717" y="2536421"/>
                </a:lnTo>
                <a:lnTo>
                  <a:pt x="6373682" y="2548564"/>
                </a:lnTo>
                <a:lnTo>
                  <a:pt x="6370645" y="2551600"/>
                </a:lnTo>
                <a:lnTo>
                  <a:pt x="6367610" y="2557671"/>
                </a:lnTo>
                <a:lnTo>
                  <a:pt x="6367610" y="2569815"/>
                </a:lnTo>
                <a:lnTo>
                  <a:pt x="6370645" y="2575886"/>
                </a:lnTo>
                <a:lnTo>
                  <a:pt x="6367610" y="2581957"/>
                </a:lnTo>
                <a:lnTo>
                  <a:pt x="6364574" y="2584994"/>
                </a:lnTo>
                <a:lnTo>
                  <a:pt x="6364574" y="2591065"/>
                </a:lnTo>
                <a:lnTo>
                  <a:pt x="6355467" y="2600173"/>
                </a:lnTo>
                <a:lnTo>
                  <a:pt x="6349395" y="2597136"/>
                </a:lnTo>
                <a:lnTo>
                  <a:pt x="6352431" y="2588029"/>
                </a:lnTo>
                <a:lnTo>
                  <a:pt x="6355467" y="2584994"/>
                </a:lnTo>
                <a:lnTo>
                  <a:pt x="6349395" y="2581957"/>
                </a:lnTo>
                <a:lnTo>
                  <a:pt x="6337252" y="2591065"/>
                </a:lnTo>
                <a:lnTo>
                  <a:pt x="6337252" y="2597136"/>
                </a:lnTo>
                <a:lnTo>
                  <a:pt x="6331180" y="2606245"/>
                </a:lnTo>
                <a:lnTo>
                  <a:pt x="6328145" y="2606245"/>
                </a:lnTo>
                <a:lnTo>
                  <a:pt x="6328145" y="2603208"/>
                </a:lnTo>
                <a:lnTo>
                  <a:pt x="6331180" y="2597136"/>
                </a:lnTo>
                <a:lnTo>
                  <a:pt x="6328145" y="2594101"/>
                </a:lnTo>
                <a:lnTo>
                  <a:pt x="6319037" y="2603208"/>
                </a:lnTo>
                <a:lnTo>
                  <a:pt x="6316001" y="2606245"/>
                </a:lnTo>
                <a:lnTo>
                  <a:pt x="6309931" y="2606245"/>
                </a:lnTo>
                <a:lnTo>
                  <a:pt x="6294750" y="2606245"/>
                </a:lnTo>
                <a:lnTo>
                  <a:pt x="6288679" y="2600173"/>
                </a:lnTo>
                <a:lnTo>
                  <a:pt x="6291715" y="2594101"/>
                </a:lnTo>
                <a:lnTo>
                  <a:pt x="6285643" y="2597136"/>
                </a:lnTo>
                <a:lnTo>
                  <a:pt x="6282607" y="2603208"/>
                </a:lnTo>
                <a:lnTo>
                  <a:pt x="6285643" y="2606245"/>
                </a:lnTo>
                <a:lnTo>
                  <a:pt x="6288679" y="2609280"/>
                </a:lnTo>
                <a:lnTo>
                  <a:pt x="6291715" y="2615352"/>
                </a:lnTo>
                <a:lnTo>
                  <a:pt x="6285643" y="2615352"/>
                </a:lnTo>
                <a:lnTo>
                  <a:pt x="6270465" y="2633566"/>
                </a:lnTo>
                <a:lnTo>
                  <a:pt x="6252249" y="2624459"/>
                </a:lnTo>
                <a:lnTo>
                  <a:pt x="6255285" y="2615352"/>
                </a:lnTo>
                <a:lnTo>
                  <a:pt x="6261357" y="2609280"/>
                </a:lnTo>
                <a:lnTo>
                  <a:pt x="6255285" y="2603208"/>
                </a:lnTo>
                <a:lnTo>
                  <a:pt x="6243142" y="2603208"/>
                </a:lnTo>
                <a:lnTo>
                  <a:pt x="6237070" y="2606245"/>
                </a:lnTo>
                <a:lnTo>
                  <a:pt x="6234035" y="2609280"/>
                </a:lnTo>
                <a:lnTo>
                  <a:pt x="6230999" y="2609280"/>
                </a:lnTo>
                <a:lnTo>
                  <a:pt x="6224927" y="2609280"/>
                </a:lnTo>
                <a:lnTo>
                  <a:pt x="6212784" y="2615352"/>
                </a:lnTo>
                <a:lnTo>
                  <a:pt x="6200641" y="2618387"/>
                </a:lnTo>
                <a:lnTo>
                  <a:pt x="6200641" y="2615352"/>
                </a:lnTo>
                <a:lnTo>
                  <a:pt x="6197605" y="2612315"/>
                </a:lnTo>
                <a:lnTo>
                  <a:pt x="6194569" y="2624459"/>
                </a:lnTo>
                <a:lnTo>
                  <a:pt x="6188497" y="2621424"/>
                </a:lnTo>
                <a:lnTo>
                  <a:pt x="6185462" y="2624459"/>
                </a:lnTo>
                <a:lnTo>
                  <a:pt x="6185462" y="2621424"/>
                </a:lnTo>
                <a:lnTo>
                  <a:pt x="6182425" y="2621424"/>
                </a:lnTo>
                <a:lnTo>
                  <a:pt x="6173319" y="2624459"/>
                </a:lnTo>
                <a:lnTo>
                  <a:pt x="6167247" y="2618387"/>
                </a:lnTo>
                <a:lnTo>
                  <a:pt x="6170283" y="2612315"/>
                </a:lnTo>
                <a:lnTo>
                  <a:pt x="6179391" y="2609280"/>
                </a:lnTo>
                <a:lnTo>
                  <a:pt x="6194569" y="2597136"/>
                </a:lnTo>
                <a:lnTo>
                  <a:pt x="6212784" y="2581957"/>
                </a:lnTo>
                <a:lnTo>
                  <a:pt x="6218855" y="2584994"/>
                </a:lnTo>
                <a:lnTo>
                  <a:pt x="6227963" y="2584994"/>
                </a:lnTo>
                <a:lnTo>
                  <a:pt x="6237070" y="2581957"/>
                </a:lnTo>
                <a:lnTo>
                  <a:pt x="6249214" y="2578922"/>
                </a:lnTo>
                <a:lnTo>
                  <a:pt x="6258321" y="2578922"/>
                </a:lnTo>
                <a:lnTo>
                  <a:pt x="6258321" y="2584994"/>
                </a:lnTo>
                <a:lnTo>
                  <a:pt x="6261357" y="2584994"/>
                </a:lnTo>
                <a:lnTo>
                  <a:pt x="6270465" y="2581957"/>
                </a:lnTo>
                <a:lnTo>
                  <a:pt x="6273500" y="2578922"/>
                </a:lnTo>
                <a:lnTo>
                  <a:pt x="6273500" y="2569815"/>
                </a:lnTo>
                <a:lnTo>
                  <a:pt x="6288679" y="2551600"/>
                </a:lnTo>
                <a:lnTo>
                  <a:pt x="6288679" y="2545528"/>
                </a:lnTo>
                <a:lnTo>
                  <a:pt x="6285643" y="2542492"/>
                </a:lnTo>
                <a:lnTo>
                  <a:pt x="6294750" y="2536421"/>
                </a:lnTo>
                <a:lnTo>
                  <a:pt x="6300823" y="2536421"/>
                </a:lnTo>
                <a:lnTo>
                  <a:pt x="6294750" y="2542492"/>
                </a:lnTo>
                <a:lnTo>
                  <a:pt x="6294750" y="2545528"/>
                </a:lnTo>
                <a:lnTo>
                  <a:pt x="6291715" y="2548564"/>
                </a:lnTo>
                <a:lnTo>
                  <a:pt x="6300823" y="2548564"/>
                </a:lnTo>
                <a:lnTo>
                  <a:pt x="6312965" y="2542492"/>
                </a:lnTo>
                <a:lnTo>
                  <a:pt x="6328145" y="2533385"/>
                </a:lnTo>
                <a:lnTo>
                  <a:pt x="6337252" y="2521242"/>
                </a:lnTo>
                <a:lnTo>
                  <a:pt x="6343324" y="2515170"/>
                </a:lnTo>
                <a:lnTo>
                  <a:pt x="6352431" y="2493919"/>
                </a:lnTo>
                <a:lnTo>
                  <a:pt x="6355467" y="2475705"/>
                </a:lnTo>
                <a:lnTo>
                  <a:pt x="6355467" y="2469633"/>
                </a:lnTo>
                <a:lnTo>
                  <a:pt x="6355467" y="2457489"/>
                </a:lnTo>
                <a:lnTo>
                  <a:pt x="6358503" y="2442310"/>
                </a:lnTo>
                <a:lnTo>
                  <a:pt x="6361539" y="2433203"/>
                </a:lnTo>
                <a:lnTo>
                  <a:pt x="6367610" y="2436239"/>
                </a:lnTo>
                <a:lnTo>
                  <a:pt x="6367610" y="2442310"/>
                </a:lnTo>
                <a:lnTo>
                  <a:pt x="6376717" y="2445346"/>
                </a:lnTo>
                <a:lnTo>
                  <a:pt x="6379754" y="2436239"/>
                </a:lnTo>
                <a:lnTo>
                  <a:pt x="6376717" y="2436239"/>
                </a:lnTo>
                <a:lnTo>
                  <a:pt x="6370645" y="2433203"/>
                </a:lnTo>
                <a:close/>
                <a:moveTo>
                  <a:pt x="3863069" y="2408916"/>
                </a:moveTo>
                <a:lnTo>
                  <a:pt x="3866104" y="2411953"/>
                </a:lnTo>
                <a:lnTo>
                  <a:pt x="3866104" y="2411952"/>
                </a:lnTo>
                <a:close/>
                <a:moveTo>
                  <a:pt x="6161173" y="2404355"/>
                </a:moveTo>
                <a:lnTo>
                  <a:pt x="6161174" y="2404359"/>
                </a:lnTo>
                <a:lnTo>
                  <a:pt x="6161176" y="2404360"/>
                </a:lnTo>
                <a:close/>
                <a:moveTo>
                  <a:pt x="3652080" y="2395254"/>
                </a:moveTo>
                <a:lnTo>
                  <a:pt x="3655115" y="2395254"/>
                </a:lnTo>
                <a:lnTo>
                  <a:pt x="3658152" y="2395254"/>
                </a:lnTo>
                <a:lnTo>
                  <a:pt x="3661187" y="2398290"/>
                </a:lnTo>
                <a:lnTo>
                  <a:pt x="3661187" y="2418024"/>
                </a:lnTo>
                <a:lnTo>
                  <a:pt x="3658152" y="2430166"/>
                </a:lnTo>
                <a:lnTo>
                  <a:pt x="3652080" y="2427131"/>
                </a:lnTo>
                <a:lnTo>
                  <a:pt x="3646008" y="2414987"/>
                </a:lnTo>
                <a:lnTo>
                  <a:pt x="3642973" y="2407397"/>
                </a:lnTo>
                <a:lnTo>
                  <a:pt x="3646008" y="2401325"/>
                </a:lnTo>
                <a:close/>
                <a:moveTo>
                  <a:pt x="6173319" y="2389183"/>
                </a:moveTo>
                <a:lnTo>
                  <a:pt x="6172813" y="2389436"/>
                </a:lnTo>
                <a:lnTo>
                  <a:pt x="6172560" y="2389562"/>
                </a:lnTo>
                <a:lnTo>
                  <a:pt x="6172561" y="2389562"/>
                </a:lnTo>
                <a:lnTo>
                  <a:pt x="6172813" y="2389436"/>
                </a:lnTo>
                <a:lnTo>
                  <a:pt x="6173319" y="2389184"/>
                </a:lnTo>
                <a:close/>
                <a:moveTo>
                  <a:pt x="6482972" y="2343646"/>
                </a:moveTo>
                <a:lnTo>
                  <a:pt x="6489043" y="2346682"/>
                </a:lnTo>
                <a:lnTo>
                  <a:pt x="6482972" y="2349718"/>
                </a:lnTo>
                <a:lnTo>
                  <a:pt x="6473865" y="2358825"/>
                </a:lnTo>
                <a:lnTo>
                  <a:pt x="6470829" y="2364897"/>
                </a:lnTo>
                <a:lnTo>
                  <a:pt x="6467793" y="2367933"/>
                </a:lnTo>
                <a:lnTo>
                  <a:pt x="6467793" y="2361861"/>
                </a:lnTo>
                <a:lnTo>
                  <a:pt x="6476901" y="2349718"/>
                </a:lnTo>
                <a:close/>
                <a:moveTo>
                  <a:pt x="6394934" y="2316324"/>
                </a:moveTo>
                <a:lnTo>
                  <a:pt x="6416184" y="2343646"/>
                </a:lnTo>
                <a:lnTo>
                  <a:pt x="6431363" y="2352754"/>
                </a:lnTo>
                <a:lnTo>
                  <a:pt x="6443507" y="2358825"/>
                </a:lnTo>
                <a:lnTo>
                  <a:pt x="6455649" y="2364897"/>
                </a:lnTo>
                <a:lnTo>
                  <a:pt x="6458686" y="2364897"/>
                </a:lnTo>
                <a:lnTo>
                  <a:pt x="6461721" y="2374005"/>
                </a:lnTo>
                <a:lnTo>
                  <a:pt x="6467793" y="2380076"/>
                </a:lnTo>
                <a:lnTo>
                  <a:pt x="6467793" y="2383112"/>
                </a:lnTo>
                <a:lnTo>
                  <a:pt x="6458686" y="2386147"/>
                </a:lnTo>
                <a:lnTo>
                  <a:pt x="6446542" y="2389184"/>
                </a:lnTo>
                <a:lnTo>
                  <a:pt x="6443507" y="2386147"/>
                </a:lnTo>
                <a:lnTo>
                  <a:pt x="6428327" y="2398291"/>
                </a:lnTo>
                <a:lnTo>
                  <a:pt x="6422256" y="2414988"/>
                </a:lnTo>
                <a:lnTo>
                  <a:pt x="6404041" y="2407398"/>
                </a:lnTo>
                <a:lnTo>
                  <a:pt x="6394934" y="2401326"/>
                </a:lnTo>
                <a:lnTo>
                  <a:pt x="6388862" y="2398291"/>
                </a:lnTo>
                <a:lnTo>
                  <a:pt x="6379754" y="2404363"/>
                </a:lnTo>
                <a:lnTo>
                  <a:pt x="6373683" y="2401326"/>
                </a:lnTo>
                <a:lnTo>
                  <a:pt x="6367611" y="2398291"/>
                </a:lnTo>
                <a:lnTo>
                  <a:pt x="6361539" y="2404363"/>
                </a:lnTo>
                <a:lnTo>
                  <a:pt x="6367611" y="2408916"/>
                </a:lnTo>
                <a:lnTo>
                  <a:pt x="6370647" y="2408916"/>
                </a:lnTo>
                <a:lnTo>
                  <a:pt x="6376719" y="2414988"/>
                </a:lnTo>
                <a:lnTo>
                  <a:pt x="6379754" y="2421060"/>
                </a:lnTo>
                <a:lnTo>
                  <a:pt x="6373683" y="2421060"/>
                </a:lnTo>
                <a:lnTo>
                  <a:pt x="6358504" y="2430167"/>
                </a:lnTo>
                <a:lnTo>
                  <a:pt x="6355469" y="2424095"/>
                </a:lnTo>
                <a:lnTo>
                  <a:pt x="6358504" y="2414988"/>
                </a:lnTo>
                <a:lnTo>
                  <a:pt x="6352432" y="2408916"/>
                </a:lnTo>
                <a:lnTo>
                  <a:pt x="6349395" y="2404363"/>
                </a:lnTo>
                <a:lnTo>
                  <a:pt x="6352432" y="2395254"/>
                </a:lnTo>
                <a:lnTo>
                  <a:pt x="6364576" y="2386147"/>
                </a:lnTo>
                <a:lnTo>
                  <a:pt x="6370647" y="2383112"/>
                </a:lnTo>
                <a:lnTo>
                  <a:pt x="6376719" y="2383112"/>
                </a:lnTo>
                <a:lnTo>
                  <a:pt x="6388862" y="2361861"/>
                </a:lnTo>
                <a:lnTo>
                  <a:pt x="6391897" y="2343646"/>
                </a:lnTo>
                <a:lnTo>
                  <a:pt x="6391897" y="2334539"/>
                </a:lnTo>
                <a:lnTo>
                  <a:pt x="6388862" y="2322395"/>
                </a:lnTo>
                <a:close/>
                <a:moveTo>
                  <a:pt x="6537617" y="2313288"/>
                </a:moveTo>
                <a:lnTo>
                  <a:pt x="6534581" y="2319360"/>
                </a:lnTo>
                <a:lnTo>
                  <a:pt x="6531545" y="2319360"/>
                </a:lnTo>
                <a:lnTo>
                  <a:pt x="6525473" y="2322395"/>
                </a:lnTo>
                <a:lnTo>
                  <a:pt x="6513331" y="2331503"/>
                </a:lnTo>
                <a:lnTo>
                  <a:pt x="6504223" y="2340610"/>
                </a:lnTo>
                <a:lnTo>
                  <a:pt x="6495115" y="2346682"/>
                </a:lnTo>
                <a:lnTo>
                  <a:pt x="6504223" y="2337574"/>
                </a:lnTo>
                <a:lnTo>
                  <a:pt x="6513331" y="2325431"/>
                </a:lnTo>
                <a:lnTo>
                  <a:pt x="6525473" y="2319360"/>
                </a:lnTo>
                <a:close/>
                <a:moveTo>
                  <a:pt x="6574047" y="2295074"/>
                </a:moveTo>
                <a:lnTo>
                  <a:pt x="6558867" y="2307216"/>
                </a:lnTo>
                <a:lnTo>
                  <a:pt x="6549759" y="2313288"/>
                </a:lnTo>
                <a:lnTo>
                  <a:pt x="6561903" y="2301144"/>
                </a:lnTo>
                <a:close/>
                <a:moveTo>
                  <a:pt x="4526662" y="2273499"/>
                </a:moveTo>
                <a:cubicBezTo>
                  <a:pt x="4523317" y="2271835"/>
                  <a:pt x="4520093" y="2272065"/>
                  <a:pt x="4516960" y="2274079"/>
                </a:cubicBezTo>
                <a:cubicBezTo>
                  <a:pt x="4513048" y="2276594"/>
                  <a:pt x="4509018" y="2278941"/>
                  <a:pt x="4505229" y="2281627"/>
                </a:cubicBezTo>
                <a:cubicBezTo>
                  <a:pt x="4501634" y="2284175"/>
                  <a:pt x="4498284" y="2287068"/>
                  <a:pt x="4494826" y="2289809"/>
                </a:cubicBezTo>
                <a:lnTo>
                  <a:pt x="4494826" y="2297032"/>
                </a:lnTo>
                <a:lnTo>
                  <a:pt x="4484457" y="2295875"/>
                </a:lnTo>
                <a:lnTo>
                  <a:pt x="4482743" y="2299275"/>
                </a:lnTo>
                <a:cubicBezTo>
                  <a:pt x="4482681" y="2302120"/>
                  <a:pt x="4483185" y="2305220"/>
                  <a:pt x="4478481" y="2304714"/>
                </a:cubicBezTo>
                <a:cubicBezTo>
                  <a:pt x="4477686" y="2304628"/>
                  <a:pt x="4476488" y="2306813"/>
                  <a:pt x="4475740" y="2308102"/>
                </a:cubicBezTo>
                <a:cubicBezTo>
                  <a:pt x="4474465" y="2310299"/>
                  <a:pt x="4473639" y="2312795"/>
                  <a:pt x="4472143" y="2314808"/>
                </a:cubicBezTo>
                <a:cubicBezTo>
                  <a:pt x="4471441" y="2315753"/>
                  <a:pt x="4469644" y="2316180"/>
                  <a:pt x="4468300" y="2316286"/>
                </a:cubicBezTo>
                <a:cubicBezTo>
                  <a:pt x="4466260" y="2316446"/>
                  <a:pt x="4464164" y="2315892"/>
                  <a:pt x="4462126" y="2316059"/>
                </a:cubicBezTo>
                <a:cubicBezTo>
                  <a:pt x="4459267" y="2316294"/>
                  <a:pt x="4456439" y="2316911"/>
                  <a:pt x="4453440" y="2317390"/>
                </a:cubicBezTo>
                <a:lnTo>
                  <a:pt x="4444762" y="2324189"/>
                </a:lnTo>
                <a:lnTo>
                  <a:pt x="4443998" y="2324983"/>
                </a:lnTo>
                <a:cubicBezTo>
                  <a:pt x="4444187" y="2325747"/>
                  <a:pt x="4444693" y="2326595"/>
                  <a:pt x="4444515" y="2327262"/>
                </a:cubicBezTo>
                <a:cubicBezTo>
                  <a:pt x="4443245" y="2332016"/>
                  <a:pt x="4441837" y="2336734"/>
                  <a:pt x="4440472" y="2341464"/>
                </a:cubicBezTo>
                <a:cubicBezTo>
                  <a:pt x="4440865" y="2345475"/>
                  <a:pt x="4438277" y="2345833"/>
                  <a:pt x="4435285" y="2345698"/>
                </a:cubicBezTo>
                <a:lnTo>
                  <a:pt x="4435255" y="2345738"/>
                </a:lnTo>
                <a:lnTo>
                  <a:pt x="4435248" y="2350987"/>
                </a:lnTo>
                <a:cubicBezTo>
                  <a:pt x="4435256" y="2351481"/>
                  <a:pt x="4435264" y="2351975"/>
                  <a:pt x="4435271" y="2352468"/>
                </a:cubicBezTo>
                <a:lnTo>
                  <a:pt x="4435337" y="2352627"/>
                </a:lnTo>
                <a:cubicBezTo>
                  <a:pt x="4440002" y="2353586"/>
                  <a:pt x="4440127" y="2358063"/>
                  <a:pt x="4441978" y="2361201"/>
                </a:cubicBezTo>
                <a:cubicBezTo>
                  <a:pt x="4442059" y="2361804"/>
                  <a:pt x="4442142" y="2362407"/>
                  <a:pt x="4442225" y="2363010"/>
                </a:cubicBezTo>
                <a:cubicBezTo>
                  <a:pt x="4442369" y="2363016"/>
                  <a:pt x="4442549" y="2362968"/>
                  <a:pt x="4442650" y="2363037"/>
                </a:cubicBezTo>
                <a:cubicBezTo>
                  <a:pt x="4444303" y="2364167"/>
                  <a:pt x="4445853" y="2366013"/>
                  <a:pt x="4447617" y="2366243"/>
                </a:cubicBezTo>
                <a:cubicBezTo>
                  <a:pt x="4449180" y="2366447"/>
                  <a:pt x="4450977" y="2364858"/>
                  <a:pt x="4453238" y="2363793"/>
                </a:cubicBezTo>
                <a:cubicBezTo>
                  <a:pt x="4453115" y="2365294"/>
                  <a:pt x="4453239" y="2366042"/>
                  <a:pt x="4452975" y="2366610"/>
                </a:cubicBezTo>
                <a:cubicBezTo>
                  <a:pt x="4451936" y="2368846"/>
                  <a:pt x="4450866" y="2371081"/>
                  <a:pt x="4449598" y="2373190"/>
                </a:cubicBezTo>
                <a:cubicBezTo>
                  <a:pt x="4449250" y="2373769"/>
                  <a:pt x="4448174" y="2373910"/>
                  <a:pt x="4447432" y="2374252"/>
                </a:cubicBezTo>
                <a:cubicBezTo>
                  <a:pt x="4447422" y="2374815"/>
                  <a:pt x="4447411" y="2375379"/>
                  <a:pt x="4447400" y="2375942"/>
                </a:cubicBezTo>
                <a:cubicBezTo>
                  <a:pt x="4447402" y="2379073"/>
                  <a:pt x="4447172" y="2382226"/>
                  <a:pt x="4447468" y="2385329"/>
                </a:cubicBezTo>
                <a:cubicBezTo>
                  <a:pt x="4447798" y="2388776"/>
                  <a:pt x="4448608" y="2392178"/>
                  <a:pt x="4449210" y="2395597"/>
                </a:cubicBezTo>
                <a:cubicBezTo>
                  <a:pt x="4449461" y="2395646"/>
                  <a:pt x="4449711" y="2395698"/>
                  <a:pt x="4449960" y="2395753"/>
                </a:cubicBezTo>
                <a:cubicBezTo>
                  <a:pt x="4452916" y="2397037"/>
                  <a:pt x="4451778" y="2398989"/>
                  <a:pt x="4450802" y="2400915"/>
                </a:cubicBezTo>
                <a:cubicBezTo>
                  <a:pt x="4454675" y="2406229"/>
                  <a:pt x="4458595" y="2411510"/>
                  <a:pt x="4462381" y="2416886"/>
                </a:cubicBezTo>
                <a:cubicBezTo>
                  <a:pt x="4463136" y="2417958"/>
                  <a:pt x="4463378" y="2419393"/>
                  <a:pt x="4463856" y="2420660"/>
                </a:cubicBezTo>
                <a:lnTo>
                  <a:pt x="4463856" y="2420660"/>
                </a:lnTo>
                <a:lnTo>
                  <a:pt x="4466295" y="2422606"/>
                </a:lnTo>
                <a:cubicBezTo>
                  <a:pt x="4466309" y="2422819"/>
                  <a:pt x="4466349" y="2423027"/>
                  <a:pt x="4466413" y="2423231"/>
                </a:cubicBezTo>
                <a:lnTo>
                  <a:pt x="4471509" y="2427617"/>
                </a:lnTo>
                <a:lnTo>
                  <a:pt x="4471526" y="2427632"/>
                </a:lnTo>
                <a:lnTo>
                  <a:pt x="4473240" y="2429344"/>
                </a:lnTo>
                <a:lnTo>
                  <a:pt x="4473246" y="2429349"/>
                </a:lnTo>
                <a:lnTo>
                  <a:pt x="4476692" y="2434514"/>
                </a:lnTo>
                <a:cubicBezTo>
                  <a:pt x="4476692" y="2434515"/>
                  <a:pt x="4476693" y="2434515"/>
                  <a:pt x="4476694" y="2434516"/>
                </a:cubicBezTo>
                <a:lnTo>
                  <a:pt x="4478408" y="2437103"/>
                </a:lnTo>
                <a:lnTo>
                  <a:pt x="4481003" y="2445719"/>
                </a:lnTo>
                <a:cubicBezTo>
                  <a:pt x="4483196" y="2447363"/>
                  <a:pt x="4484371" y="2449947"/>
                  <a:pt x="4487534" y="2450698"/>
                </a:cubicBezTo>
                <a:lnTo>
                  <a:pt x="4490949" y="2460503"/>
                </a:lnTo>
                <a:lnTo>
                  <a:pt x="4490476" y="2469124"/>
                </a:lnTo>
                <a:cubicBezTo>
                  <a:pt x="4487811" y="2470971"/>
                  <a:pt x="4485474" y="2473007"/>
                  <a:pt x="4486102" y="2476745"/>
                </a:cubicBezTo>
                <a:lnTo>
                  <a:pt x="4482645" y="2487106"/>
                </a:lnTo>
                <a:cubicBezTo>
                  <a:pt x="4483106" y="2488566"/>
                  <a:pt x="4483757" y="2490002"/>
                  <a:pt x="4483947" y="2491496"/>
                </a:cubicBezTo>
                <a:cubicBezTo>
                  <a:pt x="4484036" y="2492204"/>
                  <a:pt x="4483111" y="2493734"/>
                  <a:pt x="4482869" y="2493689"/>
                </a:cubicBezTo>
                <a:cubicBezTo>
                  <a:pt x="4477716" y="2492734"/>
                  <a:pt x="4477293" y="2496958"/>
                  <a:pt x="4475793" y="2499993"/>
                </a:cubicBezTo>
                <a:lnTo>
                  <a:pt x="4474790" y="2513939"/>
                </a:lnTo>
                <a:cubicBezTo>
                  <a:pt x="4474795" y="2514430"/>
                  <a:pt x="4474801" y="2514921"/>
                  <a:pt x="4474806" y="2515412"/>
                </a:cubicBezTo>
                <a:cubicBezTo>
                  <a:pt x="4475097" y="2516895"/>
                  <a:pt x="4475388" y="2518379"/>
                  <a:pt x="4475678" y="2519862"/>
                </a:cubicBezTo>
                <a:cubicBezTo>
                  <a:pt x="4474693" y="2526215"/>
                  <a:pt x="4477592" y="2531588"/>
                  <a:pt x="4480022" y="2537078"/>
                </a:cubicBezTo>
                <a:lnTo>
                  <a:pt x="4485306" y="2537145"/>
                </a:lnTo>
                <a:cubicBezTo>
                  <a:pt x="4485075" y="2534722"/>
                  <a:pt x="4485892" y="2533417"/>
                  <a:pt x="4488612" y="2533617"/>
                </a:cubicBezTo>
                <a:cubicBezTo>
                  <a:pt x="4491001" y="2533793"/>
                  <a:pt x="4493415" y="2533620"/>
                  <a:pt x="4495816" y="2533676"/>
                </a:cubicBezTo>
                <a:cubicBezTo>
                  <a:pt x="4498329" y="2533735"/>
                  <a:pt x="4498700" y="2534963"/>
                  <a:pt x="4497479" y="2536957"/>
                </a:cubicBezTo>
                <a:lnTo>
                  <a:pt x="4497229" y="2538724"/>
                </a:lnTo>
                <a:lnTo>
                  <a:pt x="4500125" y="2540715"/>
                </a:lnTo>
                <a:cubicBezTo>
                  <a:pt x="4501215" y="2542087"/>
                  <a:pt x="4501793" y="2544564"/>
                  <a:pt x="4503770" y="2546957"/>
                </a:cubicBezTo>
                <a:lnTo>
                  <a:pt x="4511987" y="2555076"/>
                </a:lnTo>
                <a:lnTo>
                  <a:pt x="4517957" y="2557832"/>
                </a:lnTo>
                <a:lnTo>
                  <a:pt x="4528478" y="2560557"/>
                </a:lnTo>
                <a:lnTo>
                  <a:pt x="4535279" y="2561186"/>
                </a:lnTo>
                <a:lnTo>
                  <a:pt x="4539647" y="2558732"/>
                </a:lnTo>
                <a:lnTo>
                  <a:pt x="4544765" y="2560436"/>
                </a:lnTo>
                <a:cubicBezTo>
                  <a:pt x="4550150" y="2559057"/>
                  <a:pt x="4555492" y="2557452"/>
                  <a:pt x="4560940" y="2556407"/>
                </a:cubicBezTo>
                <a:cubicBezTo>
                  <a:pt x="4563153" y="2555983"/>
                  <a:pt x="4565599" y="2556776"/>
                  <a:pt x="4567938" y="2557015"/>
                </a:cubicBezTo>
                <a:cubicBezTo>
                  <a:pt x="4569497" y="2556978"/>
                  <a:pt x="4571055" y="2556916"/>
                  <a:pt x="4572613" y="2556910"/>
                </a:cubicBezTo>
                <a:cubicBezTo>
                  <a:pt x="4578292" y="2556890"/>
                  <a:pt x="4579917" y="2554627"/>
                  <a:pt x="4578183" y="2549073"/>
                </a:cubicBezTo>
                <a:cubicBezTo>
                  <a:pt x="4577644" y="2547349"/>
                  <a:pt x="4577477" y="2545206"/>
                  <a:pt x="4576337" y="2544039"/>
                </a:cubicBezTo>
                <a:cubicBezTo>
                  <a:pt x="4574272" y="2541925"/>
                  <a:pt x="4576091" y="2540549"/>
                  <a:pt x="4576604" y="2538876"/>
                </a:cubicBezTo>
                <a:cubicBezTo>
                  <a:pt x="4576049" y="2537874"/>
                  <a:pt x="4575030" y="2536879"/>
                  <a:pt x="4575014" y="2535867"/>
                </a:cubicBezTo>
                <a:cubicBezTo>
                  <a:pt x="4574881" y="2527760"/>
                  <a:pt x="4574881" y="2519649"/>
                  <a:pt x="4575013" y="2511543"/>
                </a:cubicBezTo>
                <a:cubicBezTo>
                  <a:pt x="4575028" y="2510564"/>
                  <a:pt x="4576074" y="2509602"/>
                  <a:pt x="4576642" y="2508633"/>
                </a:cubicBezTo>
                <a:lnTo>
                  <a:pt x="4576843" y="2508700"/>
                </a:lnTo>
                <a:lnTo>
                  <a:pt x="4577477" y="2506022"/>
                </a:lnTo>
                <a:lnTo>
                  <a:pt x="4578367" y="2501750"/>
                </a:lnTo>
                <a:cubicBezTo>
                  <a:pt x="4578366" y="2501748"/>
                  <a:pt x="4578364" y="2501747"/>
                  <a:pt x="4578363" y="2501746"/>
                </a:cubicBezTo>
                <a:lnTo>
                  <a:pt x="4576641" y="2500029"/>
                </a:lnTo>
                <a:lnTo>
                  <a:pt x="4576637" y="2500024"/>
                </a:lnTo>
                <a:lnTo>
                  <a:pt x="4574915" y="2498308"/>
                </a:lnTo>
                <a:cubicBezTo>
                  <a:pt x="4574913" y="2498306"/>
                  <a:pt x="4574912" y="2498305"/>
                  <a:pt x="4574911" y="2498304"/>
                </a:cubicBezTo>
                <a:cubicBezTo>
                  <a:pt x="4570494" y="2497170"/>
                  <a:pt x="4568648" y="2493647"/>
                  <a:pt x="4567075" y="2489872"/>
                </a:cubicBezTo>
                <a:lnTo>
                  <a:pt x="4562003" y="2488859"/>
                </a:lnTo>
                <a:cubicBezTo>
                  <a:pt x="4562042" y="2488312"/>
                  <a:pt x="4562080" y="2487766"/>
                  <a:pt x="4562118" y="2487219"/>
                </a:cubicBezTo>
                <a:lnTo>
                  <a:pt x="4567133" y="2486210"/>
                </a:lnTo>
                <a:lnTo>
                  <a:pt x="4568969" y="2485411"/>
                </a:lnTo>
                <a:lnTo>
                  <a:pt x="4568907" y="2481913"/>
                </a:lnTo>
                <a:cubicBezTo>
                  <a:pt x="4568927" y="2480779"/>
                  <a:pt x="4568947" y="2479645"/>
                  <a:pt x="4568968" y="2478512"/>
                </a:cubicBezTo>
                <a:lnTo>
                  <a:pt x="4569770" y="2474127"/>
                </a:lnTo>
                <a:lnTo>
                  <a:pt x="4568875" y="2474127"/>
                </a:lnTo>
                <a:lnTo>
                  <a:pt x="4566546" y="2474523"/>
                </a:lnTo>
                <a:cubicBezTo>
                  <a:pt x="4565626" y="2475222"/>
                  <a:pt x="4564585" y="2476629"/>
                  <a:pt x="4563808" y="2476497"/>
                </a:cubicBezTo>
                <a:cubicBezTo>
                  <a:pt x="4560857" y="2475993"/>
                  <a:pt x="4557992" y="2474992"/>
                  <a:pt x="4555095" y="2474177"/>
                </a:cubicBezTo>
                <a:cubicBezTo>
                  <a:pt x="4552617" y="2471680"/>
                  <a:pt x="4552604" y="2458587"/>
                  <a:pt x="4555077" y="2456034"/>
                </a:cubicBezTo>
                <a:cubicBezTo>
                  <a:pt x="4556091" y="2454375"/>
                  <a:pt x="4555134" y="2450186"/>
                  <a:pt x="4559383" y="2452676"/>
                </a:cubicBezTo>
                <a:cubicBezTo>
                  <a:pt x="4565278" y="2452593"/>
                  <a:pt x="4569892" y="2451511"/>
                  <a:pt x="4573224" y="2449431"/>
                </a:cubicBezTo>
                <a:lnTo>
                  <a:pt x="4573224" y="2454330"/>
                </a:lnTo>
                <a:cubicBezTo>
                  <a:pt x="4576166" y="2456751"/>
                  <a:pt x="4579237" y="2456787"/>
                  <a:pt x="4582580" y="2455099"/>
                </a:cubicBezTo>
                <a:cubicBezTo>
                  <a:pt x="4584178" y="2454292"/>
                  <a:pt x="4586001" y="2453930"/>
                  <a:pt x="4587722" y="2453367"/>
                </a:cubicBezTo>
                <a:lnTo>
                  <a:pt x="4589543" y="2452542"/>
                </a:lnTo>
                <a:lnTo>
                  <a:pt x="4593040" y="2451840"/>
                </a:lnTo>
                <a:cubicBezTo>
                  <a:pt x="4596685" y="2449262"/>
                  <a:pt x="4596417" y="2446298"/>
                  <a:pt x="4593899" y="2443112"/>
                </a:cubicBezTo>
                <a:lnTo>
                  <a:pt x="4592979" y="2442389"/>
                </a:lnTo>
                <a:lnTo>
                  <a:pt x="4584262" y="2434674"/>
                </a:lnTo>
                <a:lnTo>
                  <a:pt x="4584269" y="2434678"/>
                </a:lnTo>
                <a:cubicBezTo>
                  <a:pt x="4584269" y="2434678"/>
                  <a:pt x="4584255" y="2434671"/>
                  <a:pt x="4584256" y="2434669"/>
                </a:cubicBezTo>
                <a:lnTo>
                  <a:pt x="4584262" y="2434674"/>
                </a:lnTo>
                <a:lnTo>
                  <a:pt x="4581908" y="2433591"/>
                </a:lnTo>
                <a:lnTo>
                  <a:pt x="4580008" y="2428569"/>
                </a:lnTo>
                <a:lnTo>
                  <a:pt x="4576766" y="2417164"/>
                </a:lnTo>
                <a:lnTo>
                  <a:pt x="4560558" y="2417430"/>
                </a:lnTo>
                <a:lnTo>
                  <a:pt x="4555061" y="2426746"/>
                </a:lnTo>
                <a:cubicBezTo>
                  <a:pt x="4555047" y="2427058"/>
                  <a:pt x="4555033" y="2427370"/>
                  <a:pt x="4555019" y="2427682"/>
                </a:cubicBezTo>
                <a:cubicBezTo>
                  <a:pt x="4555024" y="2427691"/>
                  <a:pt x="4555029" y="2427701"/>
                  <a:pt x="4555033" y="2427710"/>
                </a:cubicBezTo>
                <a:cubicBezTo>
                  <a:pt x="4557743" y="2429542"/>
                  <a:pt x="4558811" y="2437887"/>
                  <a:pt x="4556515" y="2439801"/>
                </a:cubicBezTo>
                <a:cubicBezTo>
                  <a:pt x="4556048" y="2440190"/>
                  <a:pt x="4554754" y="2440455"/>
                  <a:pt x="4554646" y="2440279"/>
                </a:cubicBezTo>
                <a:cubicBezTo>
                  <a:pt x="4553314" y="2438122"/>
                  <a:pt x="4552131" y="2435873"/>
                  <a:pt x="4550910" y="2433648"/>
                </a:cubicBezTo>
                <a:lnTo>
                  <a:pt x="4548309" y="2426074"/>
                </a:lnTo>
                <a:lnTo>
                  <a:pt x="4547464" y="2422345"/>
                </a:lnTo>
                <a:lnTo>
                  <a:pt x="4548128" y="2417261"/>
                </a:lnTo>
                <a:lnTo>
                  <a:pt x="4549123" y="2415590"/>
                </a:lnTo>
                <a:cubicBezTo>
                  <a:pt x="4549155" y="2414435"/>
                  <a:pt x="4549188" y="2413279"/>
                  <a:pt x="4549220" y="2412124"/>
                </a:cubicBezTo>
                <a:cubicBezTo>
                  <a:pt x="4550297" y="2410457"/>
                  <a:pt x="4551451" y="2408834"/>
                  <a:pt x="4552437" y="2407116"/>
                </a:cubicBezTo>
                <a:cubicBezTo>
                  <a:pt x="4555298" y="2402126"/>
                  <a:pt x="4552754" y="2397288"/>
                  <a:pt x="4546975" y="2396562"/>
                </a:cubicBezTo>
                <a:cubicBezTo>
                  <a:pt x="4545079" y="2396324"/>
                  <a:pt x="4543201" y="2395950"/>
                  <a:pt x="4541315" y="2395637"/>
                </a:cubicBezTo>
                <a:lnTo>
                  <a:pt x="4538731" y="2396440"/>
                </a:lnTo>
                <a:lnTo>
                  <a:pt x="4535406" y="2393159"/>
                </a:lnTo>
                <a:cubicBezTo>
                  <a:pt x="4535322" y="2392886"/>
                  <a:pt x="4535263" y="2392608"/>
                  <a:pt x="4535228" y="2392324"/>
                </a:cubicBezTo>
                <a:lnTo>
                  <a:pt x="4532613" y="2388138"/>
                </a:lnTo>
                <a:lnTo>
                  <a:pt x="4525895" y="2387895"/>
                </a:lnTo>
                <a:cubicBezTo>
                  <a:pt x="4524999" y="2386960"/>
                  <a:pt x="4523438" y="2386096"/>
                  <a:pt x="4523330" y="2385077"/>
                </a:cubicBezTo>
                <a:cubicBezTo>
                  <a:pt x="4522985" y="2381811"/>
                  <a:pt x="4523176" y="2378489"/>
                  <a:pt x="4523161" y="2375188"/>
                </a:cubicBezTo>
                <a:lnTo>
                  <a:pt x="4520752" y="2373334"/>
                </a:lnTo>
                <a:cubicBezTo>
                  <a:pt x="4520772" y="2372441"/>
                  <a:pt x="4520792" y="2371548"/>
                  <a:pt x="4520811" y="2370655"/>
                </a:cubicBezTo>
                <a:lnTo>
                  <a:pt x="4519002" y="2368168"/>
                </a:lnTo>
                <a:cubicBezTo>
                  <a:pt x="4518909" y="2367901"/>
                  <a:pt x="4518856" y="2367625"/>
                  <a:pt x="4518843" y="2367342"/>
                </a:cubicBezTo>
                <a:lnTo>
                  <a:pt x="4517093" y="2364755"/>
                </a:lnTo>
                <a:lnTo>
                  <a:pt x="4516480" y="2362128"/>
                </a:lnTo>
                <a:lnTo>
                  <a:pt x="4515597" y="2360412"/>
                </a:lnTo>
                <a:cubicBezTo>
                  <a:pt x="4515533" y="2359844"/>
                  <a:pt x="4515467" y="2359275"/>
                  <a:pt x="4515402" y="2358707"/>
                </a:cubicBezTo>
                <a:lnTo>
                  <a:pt x="4502940" y="2352449"/>
                </a:lnTo>
                <a:cubicBezTo>
                  <a:pt x="4503839" y="2346722"/>
                  <a:pt x="4511787" y="2344029"/>
                  <a:pt x="4516944" y="2347689"/>
                </a:cubicBezTo>
                <a:cubicBezTo>
                  <a:pt x="4517854" y="2348335"/>
                  <a:pt x="4518834" y="2348884"/>
                  <a:pt x="4519781" y="2349479"/>
                </a:cubicBezTo>
                <a:lnTo>
                  <a:pt x="4521503" y="2349213"/>
                </a:lnTo>
                <a:lnTo>
                  <a:pt x="4524084" y="2347496"/>
                </a:lnTo>
                <a:lnTo>
                  <a:pt x="4522340" y="2342326"/>
                </a:lnTo>
                <a:cubicBezTo>
                  <a:pt x="4521764" y="2341002"/>
                  <a:pt x="4520510" y="2339553"/>
                  <a:pt x="4520729" y="2338378"/>
                </a:cubicBezTo>
                <a:cubicBezTo>
                  <a:pt x="4521674" y="2333323"/>
                  <a:pt x="4523618" y="2328698"/>
                  <a:pt x="4528339" y="2325859"/>
                </a:cubicBezTo>
                <a:cubicBezTo>
                  <a:pt x="4529777" y="2322603"/>
                  <a:pt x="4538968" y="2319868"/>
                  <a:pt x="4540842" y="2322524"/>
                </a:cubicBezTo>
                <a:cubicBezTo>
                  <a:pt x="4543122" y="2325756"/>
                  <a:pt x="4546004" y="2324912"/>
                  <a:pt x="4548858" y="2325095"/>
                </a:cubicBezTo>
                <a:cubicBezTo>
                  <a:pt x="4550816" y="2325220"/>
                  <a:pt x="4553078" y="2324721"/>
                  <a:pt x="4553339" y="2327711"/>
                </a:cubicBezTo>
                <a:cubicBezTo>
                  <a:pt x="4553338" y="2327710"/>
                  <a:pt x="4553338" y="2327709"/>
                  <a:pt x="4553337" y="2327708"/>
                </a:cubicBezTo>
                <a:lnTo>
                  <a:pt x="4555113" y="2329377"/>
                </a:lnTo>
                <a:cubicBezTo>
                  <a:pt x="4555098" y="2329396"/>
                  <a:pt x="4555082" y="2329415"/>
                  <a:pt x="4555067" y="2329434"/>
                </a:cubicBezTo>
                <a:lnTo>
                  <a:pt x="4568111" y="2329521"/>
                </a:lnTo>
                <a:lnTo>
                  <a:pt x="4572846" y="2330413"/>
                </a:lnTo>
                <a:cubicBezTo>
                  <a:pt x="4572024" y="2331892"/>
                  <a:pt x="4571243" y="2333397"/>
                  <a:pt x="4570359" y="2334838"/>
                </a:cubicBezTo>
                <a:cubicBezTo>
                  <a:pt x="4570011" y="2335405"/>
                  <a:pt x="4569432" y="2335829"/>
                  <a:pt x="4568958" y="2336318"/>
                </a:cubicBezTo>
                <a:lnTo>
                  <a:pt x="4568192" y="2338067"/>
                </a:lnTo>
                <a:lnTo>
                  <a:pt x="4562909" y="2348369"/>
                </a:lnTo>
                <a:lnTo>
                  <a:pt x="4560363" y="2350965"/>
                </a:lnTo>
                <a:lnTo>
                  <a:pt x="4558605" y="2352689"/>
                </a:lnTo>
                <a:lnTo>
                  <a:pt x="4558605" y="2352689"/>
                </a:lnTo>
                <a:cubicBezTo>
                  <a:pt x="4558605" y="2352689"/>
                  <a:pt x="4558585" y="2352709"/>
                  <a:pt x="4558585" y="2352709"/>
                </a:cubicBezTo>
                <a:lnTo>
                  <a:pt x="4558605" y="2352689"/>
                </a:lnTo>
                <a:lnTo>
                  <a:pt x="4558630" y="2357802"/>
                </a:lnTo>
                <a:cubicBezTo>
                  <a:pt x="4558902" y="2357814"/>
                  <a:pt x="4559165" y="2357865"/>
                  <a:pt x="4559420" y="2357956"/>
                </a:cubicBezTo>
                <a:cubicBezTo>
                  <a:pt x="4565154" y="2357776"/>
                  <a:pt x="4565167" y="2352574"/>
                  <a:pt x="4567133" y="2349117"/>
                </a:cubicBezTo>
                <a:cubicBezTo>
                  <a:pt x="4568789" y="2346206"/>
                  <a:pt x="4569795" y="2342715"/>
                  <a:pt x="4572043" y="2340413"/>
                </a:cubicBezTo>
                <a:cubicBezTo>
                  <a:pt x="4574043" y="2338366"/>
                  <a:pt x="4577352" y="2337597"/>
                  <a:pt x="4580083" y="2336263"/>
                </a:cubicBezTo>
                <a:cubicBezTo>
                  <a:pt x="4581470" y="2335694"/>
                  <a:pt x="4582820" y="2334783"/>
                  <a:pt x="4584250" y="2334633"/>
                </a:cubicBezTo>
                <a:cubicBezTo>
                  <a:pt x="4586611" y="2334385"/>
                  <a:pt x="4589024" y="2334628"/>
                  <a:pt x="4591414" y="2334664"/>
                </a:cubicBezTo>
                <a:lnTo>
                  <a:pt x="4594727" y="2332816"/>
                </a:lnTo>
                <a:lnTo>
                  <a:pt x="4597284" y="2326820"/>
                </a:lnTo>
                <a:cubicBezTo>
                  <a:pt x="4593074" y="2323088"/>
                  <a:pt x="4587396" y="2320951"/>
                  <a:pt x="4584977" y="2315214"/>
                </a:cubicBezTo>
                <a:cubicBezTo>
                  <a:pt x="4584651" y="2314441"/>
                  <a:pt x="4582701" y="2313778"/>
                  <a:pt x="4581678" y="2313975"/>
                </a:cubicBezTo>
                <a:cubicBezTo>
                  <a:pt x="4578099" y="2314663"/>
                  <a:pt x="4574554" y="2315618"/>
                  <a:pt x="4571077" y="2316724"/>
                </a:cubicBezTo>
                <a:cubicBezTo>
                  <a:pt x="4567732" y="2317788"/>
                  <a:pt x="4565016" y="2317812"/>
                  <a:pt x="4563322" y="2314077"/>
                </a:cubicBezTo>
                <a:cubicBezTo>
                  <a:pt x="4562643" y="2312579"/>
                  <a:pt x="4561525" y="2311280"/>
                  <a:pt x="4560607" y="2309891"/>
                </a:cubicBezTo>
                <a:lnTo>
                  <a:pt x="4561725" y="2310067"/>
                </a:lnTo>
                <a:cubicBezTo>
                  <a:pt x="4563120" y="2306443"/>
                  <a:pt x="4565223" y="2302908"/>
                  <a:pt x="4565686" y="2299169"/>
                </a:cubicBezTo>
                <a:cubicBezTo>
                  <a:pt x="4566055" y="2296191"/>
                  <a:pt x="4564823" y="2292794"/>
                  <a:pt x="4563581" y="2289891"/>
                </a:cubicBezTo>
                <a:cubicBezTo>
                  <a:pt x="4561857" y="2285859"/>
                  <a:pt x="4562681" y="2280717"/>
                  <a:pt x="4558437" y="2277776"/>
                </a:cubicBezTo>
                <a:lnTo>
                  <a:pt x="4546447" y="2276818"/>
                </a:lnTo>
                <a:cubicBezTo>
                  <a:pt x="4545846" y="2277705"/>
                  <a:pt x="4545398" y="2278781"/>
                  <a:pt x="4544602" y="2279431"/>
                </a:cubicBezTo>
                <a:cubicBezTo>
                  <a:pt x="4543654" y="2280206"/>
                  <a:pt x="4542408" y="2280615"/>
                  <a:pt x="4541291" y="2281183"/>
                </a:cubicBezTo>
                <a:cubicBezTo>
                  <a:pt x="4539426" y="2281331"/>
                  <a:pt x="4537338" y="2282079"/>
                  <a:pt x="4535746" y="2281490"/>
                </a:cubicBezTo>
                <a:cubicBezTo>
                  <a:pt x="4533158" y="2280531"/>
                  <a:pt x="4530757" y="2278873"/>
                  <a:pt x="4528557" y="2277152"/>
                </a:cubicBezTo>
                <a:cubicBezTo>
                  <a:pt x="4527574" y="2276382"/>
                  <a:pt x="4527272" y="2274743"/>
                  <a:pt x="4526662" y="2273499"/>
                </a:cubicBezTo>
                <a:close/>
                <a:moveTo>
                  <a:pt x="2146316" y="2270786"/>
                </a:moveTo>
                <a:lnTo>
                  <a:pt x="2146316" y="2276858"/>
                </a:lnTo>
                <a:lnTo>
                  <a:pt x="2149352" y="2285965"/>
                </a:lnTo>
                <a:lnTo>
                  <a:pt x="2152388" y="2285965"/>
                </a:lnTo>
                <a:lnTo>
                  <a:pt x="2158459" y="2285965"/>
                </a:lnTo>
                <a:lnTo>
                  <a:pt x="2176674" y="2285965"/>
                </a:lnTo>
                <a:lnTo>
                  <a:pt x="2188817" y="2285965"/>
                </a:lnTo>
                <a:lnTo>
                  <a:pt x="2179710" y="2292037"/>
                </a:lnTo>
                <a:lnTo>
                  <a:pt x="2176674" y="2298108"/>
                </a:lnTo>
                <a:lnTo>
                  <a:pt x="2176674" y="2301144"/>
                </a:lnTo>
                <a:lnTo>
                  <a:pt x="2158459" y="2295073"/>
                </a:lnTo>
                <a:lnTo>
                  <a:pt x="2140244" y="2282930"/>
                </a:lnTo>
                <a:lnTo>
                  <a:pt x="2140244" y="2273822"/>
                </a:lnTo>
                <a:close/>
                <a:moveTo>
                  <a:pt x="2304179" y="2267751"/>
                </a:moveTo>
                <a:lnTo>
                  <a:pt x="2307214" y="2273822"/>
                </a:lnTo>
                <a:lnTo>
                  <a:pt x="2301143" y="2276858"/>
                </a:lnTo>
                <a:close/>
                <a:moveTo>
                  <a:pt x="2219175" y="2267751"/>
                </a:moveTo>
                <a:lnTo>
                  <a:pt x="2222212" y="2273822"/>
                </a:lnTo>
                <a:lnTo>
                  <a:pt x="2222212" y="2289001"/>
                </a:lnTo>
                <a:lnTo>
                  <a:pt x="2231319" y="2292037"/>
                </a:lnTo>
                <a:lnTo>
                  <a:pt x="2231319" y="2298108"/>
                </a:lnTo>
                <a:lnTo>
                  <a:pt x="2222212" y="2307216"/>
                </a:lnTo>
                <a:lnTo>
                  <a:pt x="2210068" y="2310252"/>
                </a:lnTo>
                <a:lnTo>
                  <a:pt x="2200961" y="2307216"/>
                </a:lnTo>
                <a:lnTo>
                  <a:pt x="2197924" y="2298108"/>
                </a:lnTo>
                <a:lnTo>
                  <a:pt x="2207033" y="2285965"/>
                </a:lnTo>
                <a:lnTo>
                  <a:pt x="2210068" y="2276858"/>
                </a:lnTo>
                <a:lnTo>
                  <a:pt x="2213103" y="2270786"/>
                </a:lnTo>
                <a:close/>
                <a:moveTo>
                  <a:pt x="2194889" y="2252572"/>
                </a:moveTo>
                <a:lnTo>
                  <a:pt x="2191853" y="2258643"/>
                </a:lnTo>
                <a:lnTo>
                  <a:pt x="2188817" y="2261679"/>
                </a:lnTo>
                <a:lnTo>
                  <a:pt x="2191853" y="2264714"/>
                </a:lnTo>
                <a:lnTo>
                  <a:pt x="2185782" y="2264714"/>
                </a:lnTo>
                <a:lnTo>
                  <a:pt x="2188817" y="2258643"/>
                </a:lnTo>
                <a:close/>
                <a:moveTo>
                  <a:pt x="935029" y="2228284"/>
                </a:moveTo>
                <a:lnTo>
                  <a:pt x="935029" y="2234356"/>
                </a:lnTo>
                <a:lnTo>
                  <a:pt x="941100" y="2237393"/>
                </a:lnTo>
                <a:lnTo>
                  <a:pt x="941100" y="2243464"/>
                </a:lnTo>
                <a:lnTo>
                  <a:pt x="931993" y="2234356"/>
                </a:lnTo>
                <a:close/>
                <a:moveTo>
                  <a:pt x="2143280" y="2179712"/>
                </a:moveTo>
                <a:lnTo>
                  <a:pt x="2155423" y="2182748"/>
                </a:lnTo>
                <a:lnTo>
                  <a:pt x="2185782" y="2197927"/>
                </a:lnTo>
                <a:lnTo>
                  <a:pt x="2191853" y="2203998"/>
                </a:lnTo>
                <a:lnTo>
                  <a:pt x="2185782" y="2207034"/>
                </a:lnTo>
                <a:lnTo>
                  <a:pt x="2182746" y="2207034"/>
                </a:lnTo>
                <a:lnTo>
                  <a:pt x="2155423" y="2197927"/>
                </a:lnTo>
                <a:lnTo>
                  <a:pt x="2134172" y="2182748"/>
                </a:lnTo>
                <a:close/>
                <a:moveTo>
                  <a:pt x="6686371" y="2152390"/>
                </a:moveTo>
                <a:lnTo>
                  <a:pt x="6689407" y="2161497"/>
                </a:lnTo>
                <a:lnTo>
                  <a:pt x="6683336" y="2170605"/>
                </a:lnTo>
                <a:lnTo>
                  <a:pt x="6668155" y="2176676"/>
                </a:lnTo>
                <a:lnTo>
                  <a:pt x="6668155" y="2167569"/>
                </a:lnTo>
                <a:lnTo>
                  <a:pt x="6674227" y="2161497"/>
                </a:lnTo>
                <a:lnTo>
                  <a:pt x="6683336" y="2155426"/>
                </a:lnTo>
                <a:close/>
                <a:moveTo>
                  <a:pt x="2310251" y="2125067"/>
                </a:moveTo>
                <a:lnTo>
                  <a:pt x="2322393" y="2125067"/>
                </a:lnTo>
                <a:lnTo>
                  <a:pt x="2322393" y="2128104"/>
                </a:lnTo>
                <a:lnTo>
                  <a:pt x="2319358" y="2134174"/>
                </a:lnTo>
                <a:lnTo>
                  <a:pt x="2313286" y="2146318"/>
                </a:lnTo>
                <a:lnTo>
                  <a:pt x="2298107" y="2170604"/>
                </a:lnTo>
                <a:lnTo>
                  <a:pt x="2295072" y="2182748"/>
                </a:lnTo>
                <a:lnTo>
                  <a:pt x="2295072" y="2185784"/>
                </a:lnTo>
                <a:lnTo>
                  <a:pt x="2301143" y="2182748"/>
                </a:lnTo>
                <a:lnTo>
                  <a:pt x="2307214" y="2170604"/>
                </a:lnTo>
                <a:lnTo>
                  <a:pt x="2316323" y="2179712"/>
                </a:lnTo>
                <a:lnTo>
                  <a:pt x="2313286" y="2185784"/>
                </a:lnTo>
                <a:lnTo>
                  <a:pt x="2316323" y="2194891"/>
                </a:lnTo>
                <a:lnTo>
                  <a:pt x="2319358" y="2194891"/>
                </a:lnTo>
                <a:lnTo>
                  <a:pt x="2325430" y="2191855"/>
                </a:lnTo>
                <a:lnTo>
                  <a:pt x="2328465" y="2194891"/>
                </a:lnTo>
                <a:lnTo>
                  <a:pt x="2331502" y="2200963"/>
                </a:lnTo>
                <a:lnTo>
                  <a:pt x="2337573" y="2194891"/>
                </a:lnTo>
                <a:lnTo>
                  <a:pt x="2340609" y="2191855"/>
                </a:lnTo>
                <a:lnTo>
                  <a:pt x="2346681" y="2194891"/>
                </a:lnTo>
                <a:lnTo>
                  <a:pt x="2352752" y="2194891"/>
                </a:lnTo>
                <a:lnTo>
                  <a:pt x="2358823" y="2197927"/>
                </a:lnTo>
                <a:lnTo>
                  <a:pt x="2361860" y="2200963"/>
                </a:lnTo>
                <a:lnTo>
                  <a:pt x="2361860" y="2203998"/>
                </a:lnTo>
                <a:lnTo>
                  <a:pt x="2355788" y="2210070"/>
                </a:lnTo>
                <a:lnTo>
                  <a:pt x="2352752" y="2213106"/>
                </a:lnTo>
                <a:lnTo>
                  <a:pt x="2355788" y="2216142"/>
                </a:lnTo>
                <a:lnTo>
                  <a:pt x="2355788" y="2225249"/>
                </a:lnTo>
                <a:lnTo>
                  <a:pt x="2367931" y="2219177"/>
                </a:lnTo>
                <a:lnTo>
                  <a:pt x="2370967" y="2219177"/>
                </a:lnTo>
                <a:lnTo>
                  <a:pt x="2370967" y="2225249"/>
                </a:lnTo>
                <a:lnTo>
                  <a:pt x="2361860" y="2231321"/>
                </a:lnTo>
                <a:lnTo>
                  <a:pt x="2358823" y="2234356"/>
                </a:lnTo>
                <a:lnTo>
                  <a:pt x="2355788" y="2234356"/>
                </a:lnTo>
                <a:lnTo>
                  <a:pt x="2352752" y="2234356"/>
                </a:lnTo>
                <a:lnTo>
                  <a:pt x="2352752" y="2243464"/>
                </a:lnTo>
                <a:lnTo>
                  <a:pt x="2361860" y="2252572"/>
                </a:lnTo>
                <a:lnTo>
                  <a:pt x="2361860" y="2249535"/>
                </a:lnTo>
                <a:lnTo>
                  <a:pt x="2364895" y="2240428"/>
                </a:lnTo>
                <a:lnTo>
                  <a:pt x="2370967" y="2237393"/>
                </a:lnTo>
                <a:lnTo>
                  <a:pt x="2374003" y="2237393"/>
                </a:lnTo>
                <a:lnTo>
                  <a:pt x="2370967" y="2243464"/>
                </a:lnTo>
                <a:lnTo>
                  <a:pt x="2367931" y="2249535"/>
                </a:lnTo>
                <a:lnTo>
                  <a:pt x="2367931" y="2255607"/>
                </a:lnTo>
                <a:lnTo>
                  <a:pt x="2374003" y="2255607"/>
                </a:lnTo>
                <a:lnTo>
                  <a:pt x="2377038" y="2249535"/>
                </a:lnTo>
                <a:lnTo>
                  <a:pt x="2377038" y="2246500"/>
                </a:lnTo>
                <a:lnTo>
                  <a:pt x="2380074" y="2258643"/>
                </a:lnTo>
                <a:lnTo>
                  <a:pt x="2377038" y="2270786"/>
                </a:lnTo>
                <a:lnTo>
                  <a:pt x="2374003" y="2276858"/>
                </a:lnTo>
                <a:lnTo>
                  <a:pt x="2367931" y="2282930"/>
                </a:lnTo>
                <a:lnTo>
                  <a:pt x="2361860" y="2282930"/>
                </a:lnTo>
                <a:lnTo>
                  <a:pt x="2349716" y="2276858"/>
                </a:lnTo>
                <a:lnTo>
                  <a:pt x="2352752" y="2264714"/>
                </a:lnTo>
                <a:lnTo>
                  <a:pt x="2352752" y="2249535"/>
                </a:lnTo>
                <a:lnTo>
                  <a:pt x="2349716" y="2243464"/>
                </a:lnTo>
                <a:lnTo>
                  <a:pt x="2343644" y="2252572"/>
                </a:lnTo>
                <a:lnTo>
                  <a:pt x="2334537" y="2261679"/>
                </a:lnTo>
                <a:lnTo>
                  <a:pt x="2328465" y="2267751"/>
                </a:lnTo>
                <a:lnTo>
                  <a:pt x="2325430" y="2273822"/>
                </a:lnTo>
                <a:lnTo>
                  <a:pt x="2316323" y="2273822"/>
                </a:lnTo>
                <a:lnTo>
                  <a:pt x="2313286" y="2267751"/>
                </a:lnTo>
                <a:lnTo>
                  <a:pt x="2322393" y="2267751"/>
                </a:lnTo>
                <a:lnTo>
                  <a:pt x="2334537" y="2252572"/>
                </a:lnTo>
                <a:lnTo>
                  <a:pt x="2331502" y="2252572"/>
                </a:lnTo>
                <a:lnTo>
                  <a:pt x="2322393" y="2249535"/>
                </a:lnTo>
                <a:lnTo>
                  <a:pt x="2322393" y="2255607"/>
                </a:lnTo>
                <a:lnTo>
                  <a:pt x="2319358" y="2255607"/>
                </a:lnTo>
                <a:lnTo>
                  <a:pt x="2316323" y="2252572"/>
                </a:lnTo>
                <a:lnTo>
                  <a:pt x="2313286" y="2246500"/>
                </a:lnTo>
                <a:lnTo>
                  <a:pt x="2307214" y="2252572"/>
                </a:lnTo>
                <a:lnTo>
                  <a:pt x="2301143" y="2252572"/>
                </a:lnTo>
                <a:lnTo>
                  <a:pt x="2292036" y="2255607"/>
                </a:lnTo>
                <a:lnTo>
                  <a:pt x="2285964" y="2252572"/>
                </a:lnTo>
                <a:lnTo>
                  <a:pt x="2282928" y="2249535"/>
                </a:lnTo>
                <a:lnTo>
                  <a:pt x="2261678" y="2252572"/>
                </a:lnTo>
                <a:lnTo>
                  <a:pt x="2243463" y="2252572"/>
                </a:lnTo>
                <a:lnTo>
                  <a:pt x="2240427" y="2243464"/>
                </a:lnTo>
                <a:lnTo>
                  <a:pt x="2249534" y="2234356"/>
                </a:lnTo>
                <a:lnTo>
                  <a:pt x="2258642" y="2228284"/>
                </a:lnTo>
                <a:lnTo>
                  <a:pt x="2255606" y="2222214"/>
                </a:lnTo>
                <a:lnTo>
                  <a:pt x="2261678" y="2203998"/>
                </a:lnTo>
                <a:lnTo>
                  <a:pt x="2264713" y="2200963"/>
                </a:lnTo>
                <a:lnTo>
                  <a:pt x="2264713" y="2194891"/>
                </a:lnTo>
                <a:lnTo>
                  <a:pt x="2270785" y="2188819"/>
                </a:lnTo>
                <a:lnTo>
                  <a:pt x="2273821" y="2179712"/>
                </a:lnTo>
                <a:lnTo>
                  <a:pt x="2279893" y="2161497"/>
                </a:lnTo>
                <a:lnTo>
                  <a:pt x="2289000" y="2146318"/>
                </a:lnTo>
                <a:lnTo>
                  <a:pt x="2298107" y="2134174"/>
                </a:lnTo>
                <a:close/>
                <a:moveTo>
                  <a:pt x="822704" y="2106853"/>
                </a:moveTo>
                <a:lnTo>
                  <a:pt x="825739" y="2106853"/>
                </a:lnTo>
                <a:lnTo>
                  <a:pt x="822704" y="2109888"/>
                </a:lnTo>
                <a:close/>
                <a:moveTo>
                  <a:pt x="7299605" y="2097745"/>
                </a:moveTo>
                <a:lnTo>
                  <a:pt x="7302640" y="2103817"/>
                </a:lnTo>
                <a:lnTo>
                  <a:pt x="7293533" y="2109889"/>
                </a:lnTo>
                <a:lnTo>
                  <a:pt x="7284425" y="2112925"/>
                </a:lnTo>
                <a:lnTo>
                  <a:pt x="7275317" y="2109889"/>
                </a:lnTo>
                <a:lnTo>
                  <a:pt x="7287461" y="2109889"/>
                </a:lnTo>
                <a:lnTo>
                  <a:pt x="7296569" y="2103817"/>
                </a:lnTo>
                <a:close/>
                <a:moveTo>
                  <a:pt x="743773" y="2073459"/>
                </a:moveTo>
                <a:lnTo>
                  <a:pt x="749845" y="2076495"/>
                </a:lnTo>
                <a:lnTo>
                  <a:pt x="755915" y="2103817"/>
                </a:lnTo>
                <a:lnTo>
                  <a:pt x="758952" y="2103817"/>
                </a:lnTo>
                <a:lnTo>
                  <a:pt x="761987" y="2106853"/>
                </a:lnTo>
                <a:lnTo>
                  <a:pt x="755915" y="2109888"/>
                </a:lnTo>
                <a:lnTo>
                  <a:pt x="740738" y="2088638"/>
                </a:lnTo>
                <a:lnTo>
                  <a:pt x="734665" y="2076495"/>
                </a:lnTo>
                <a:close/>
                <a:moveTo>
                  <a:pt x="1775947" y="2070423"/>
                </a:moveTo>
                <a:lnTo>
                  <a:pt x="1794163" y="2070423"/>
                </a:lnTo>
                <a:lnTo>
                  <a:pt x="1800233" y="2088638"/>
                </a:lnTo>
                <a:lnTo>
                  <a:pt x="1791126" y="2085602"/>
                </a:lnTo>
                <a:lnTo>
                  <a:pt x="1778984" y="2079530"/>
                </a:lnTo>
                <a:lnTo>
                  <a:pt x="1772912" y="2076495"/>
                </a:lnTo>
                <a:close/>
                <a:moveTo>
                  <a:pt x="801453" y="2070423"/>
                </a:moveTo>
                <a:lnTo>
                  <a:pt x="804489" y="2070423"/>
                </a:lnTo>
                <a:lnTo>
                  <a:pt x="810560" y="2085602"/>
                </a:lnTo>
                <a:lnTo>
                  <a:pt x="810560" y="2094709"/>
                </a:lnTo>
                <a:lnTo>
                  <a:pt x="804489" y="2094709"/>
                </a:lnTo>
                <a:lnTo>
                  <a:pt x="798417" y="2082566"/>
                </a:lnTo>
                <a:close/>
                <a:moveTo>
                  <a:pt x="771095" y="2058280"/>
                </a:moveTo>
                <a:lnTo>
                  <a:pt x="774131" y="2058280"/>
                </a:lnTo>
                <a:lnTo>
                  <a:pt x="783238" y="2064351"/>
                </a:lnTo>
                <a:lnTo>
                  <a:pt x="786274" y="2073459"/>
                </a:lnTo>
                <a:lnTo>
                  <a:pt x="774131" y="2064351"/>
                </a:lnTo>
                <a:close/>
                <a:moveTo>
                  <a:pt x="801453" y="2055244"/>
                </a:moveTo>
                <a:lnTo>
                  <a:pt x="807525" y="2055244"/>
                </a:lnTo>
                <a:lnTo>
                  <a:pt x="801453" y="2064351"/>
                </a:lnTo>
                <a:close/>
                <a:moveTo>
                  <a:pt x="777167" y="2049172"/>
                </a:moveTo>
                <a:lnTo>
                  <a:pt x="780203" y="2049172"/>
                </a:lnTo>
                <a:lnTo>
                  <a:pt x="789310" y="2058280"/>
                </a:lnTo>
                <a:lnTo>
                  <a:pt x="795381" y="2067387"/>
                </a:lnTo>
                <a:lnTo>
                  <a:pt x="792345" y="2073459"/>
                </a:lnTo>
                <a:lnTo>
                  <a:pt x="786274" y="2067387"/>
                </a:lnTo>
                <a:lnTo>
                  <a:pt x="780203" y="2058280"/>
                </a:lnTo>
                <a:close/>
                <a:moveTo>
                  <a:pt x="27322" y="2043102"/>
                </a:moveTo>
                <a:lnTo>
                  <a:pt x="36429" y="2046137"/>
                </a:lnTo>
                <a:lnTo>
                  <a:pt x="33394" y="2052209"/>
                </a:lnTo>
                <a:lnTo>
                  <a:pt x="27322" y="2061316"/>
                </a:lnTo>
                <a:lnTo>
                  <a:pt x="15178" y="2064352"/>
                </a:lnTo>
                <a:lnTo>
                  <a:pt x="3036" y="2067388"/>
                </a:lnTo>
                <a:lnTo>
                  <a:pt x="9107" y="2064352"/>
                </a:lnTo>
                <a:lnTo>
                  <a:pt x="12143" y="2064352"/>
                </a:lnTo>
                <a:lnTo>
                  <a:pt x="15178" y="2061316"/>
                </a:lnTo>
                <a:lnTo>
                  <a:pt x="18215" y="2058281"/>
                </a:lnTo>
                <a:lnTo>
                  <a:pt x="18215" y="2046137"/>
                </a:lnTo>
                <a:close/>
                <a:moveTo>
                  <a:pt x="719487" y="2037029"/>
                </a:moveTo>
                <a:lnTo>
                  <a:pt x="722522" y="2037029"/>
                </a:lnTo>
                <a:lnTo>
                  <a:pt x="737701" y="2040065"/>
                </a:lnTo>
                <a:lnTo>
                  <a:pt x="743773" y="2043101"/>
                </a:lnTo>
                <a:lnTo>
                  <a:pt x="749845" y="2040065"/>
                </a:lnTo>
                <a:lnTo>
                  <a:pt x="746809" y="2055244"/>
                </a:lnTo>
                <a:lnTo>
                  <a:pt x="740738" y="2070423"/>
                </a:lnTo>
                <a:lnTo>
                  <a:pt x="725558" y="2067387"/>
                </a:lnTo>
                <a:lnTo>
                  <a:pt x="719487" y="2049172"/>
                </a:lnTo>
                <a:close/>
                <a:moveTo>
                  <a:pt x="6410112" y="2027922"/>
                </a:moveTo>
                <a:lnTo>
                  <a:pt x="6416184" y="2033994"/>
                </a:lnTo>
                <a:lnTo>
                  <a:pt x="6416184" y="2040066"/>
                </a:lnTo>
                <a:lnTo>
                  <a:pt x="6416184" y="2049173"/>
                </a:lnTo>
                <a:lnTo>
                  <a:pt x="6422256" y="2076495"/>
                </a:lnTo>
                <a:lnTo>
                  <a:pt x="6419219" y="2100782"/>
                </a:lnTo>
                <a:lnTo>
                  <a:pt x="6419219" y="2115960"/>
                </a:lnTo>
                <a:lnTo>
                  <a:pt x="6422256" y="2125068"/>
                </a:lnTo>
                <a:lnTo>
                  <a:pt x="6431363" y="2152390"/>
                </a:lnTo>
                <a:lnTo>
                  <a:pt x="6443507" y="2207034"/>
                </a:lnTo>
                <a:lnTo>
                  <a:pt x="6434399" y="2200963"/>
                </a:lnTo>
                <a:lnTo>
                  <a:pt x="6422256" y="2197927"/>
                </a:lnTo>
                <a:lnTo>
                  <a:pt x="6416184" y="2207034"/>
                </a:lnTo>
                <a:lnTo>
                  <a:pt x="6410112" y="2231321"/>
                </a:lnTo>
                <a:lnTo>
                  <a:pt x="6407077" y="2246500"/>
                </a:lnTo>
                <a:lnTo>
                  <a:pt x="6410112" y="2255607"/>
                </a:lnTo>
                <a:lnTo>
                  <a:pt x="6419219" y="2273823"/>
                </a:lnTo>
                <a:lnTo>
                  <a:pt x="6428327" y="2285965"/>
                </a:lnTo>
                <a:lnTo>
                  <a:pt x="6428327" y="2289002"/>
                </a:lnTo>
                <a:lnTo>
                  <a:pt x="6425291" y="2295074"/>
                </a:lnTo>
                <a:lnTo>
                  <a:pt x="6425291" y="2285965"/>
                </a:lnTo>
                <a:lnTo>
                  <a:pt x="6416184" y="2282930"/>
                </a:lnTo>
                <a:lnTo>
                  <a:pt x="6407077" y="2279895"/>
                </a:lnTo>
                <a:lnTo>
                  <a:pt x="6401005" y="2295074"/>
                </a:lnTo>
                <a:lnTo>
                  <a:pt x="6397969" y="2301144"/>
                </a:lnTo>
                <a:lnTo>
                  <a:pt x="6394934" y="2301144"/>
                </a:lnTo>
                <a:lnTo>
                  <a:pt x="6391897" y="2285965"/>
                </a:lnTo>
                <a:lnTo>
                  <a:pt x="6394934" y="2267751"/>
                </a:lnTo>
                <a:lnTo>
                  <a:pt x="6394934" y="2249536"/>
                </a:lnTo>
                <a:lnTo>
                  <a:pt x="6401005" y="2237393"/>
                </a:lnTo>
                <a:lnTo>
                  <a:pt x="6394934" y="2225250"/>
                </a:lnTo>
                <a:lnTo>
                  <a:pt x="6391897" y="2216142"/>
                </a:lnTo>
                <a:lnTo>
                  <a:pt x="6394934" y="2213106"/>
                </a:lnTo>
                <a:lnTo>
                  <a:pt x="6397969" y="2191855"/>
                </a:lnTo>
                <a:lnTo>
                  <a:pt x="6401005" y="2173641"/>
                </a:lnTo>
                <a:lnTo>
                  <a:pt x="6401005" y="2149355"/>
                </a:lnTo>
                <a:lnTo>
                  <a:pt x="6401005" y="2137211"/>
                </a:lnTo>
                <a:lnTo>
                  <a:pt x="6394934" y="2128104"/>
                </a:lnTo>
                <a:lnTo>
                  <a:pt x="6391897" y="2122032"/>
                </a:lnTo>
                <a:lnTo>
                  <a:pt x="6388862" y="2112925"/>
                </a:lnTo>
                <a:lnTo>
                  <a:pt x="6388862" y="2103817"/>
                </a:lnTo>
                <a:lnTo>
                  <a:pt x="6391897" y="2094710"/>
                </a:lnTo>
                <a:lnTo>
                  <a:pt x="6394934" y="2082566"/>
                </a:lnTo>
                <a:lnTo>
                  <a:pt x="6394934" y="2076495"/>
                </a:lnTo>
                <a:lnTo>
                  <a:pt x="6391897" y="2067387"/>
                </a:lnTo>
                <a:lnTo>
                  <a:pt x="6401005" y="2061315"/>
                </a:lnTo>
                <a:lnTo>
                  <a:pt x="6407077" y="2064352"/>
                </a:lnTo>
                <a:lnTo>
                  <a:pt x="6413149" y="2052208"/>
                </a:lnTo>
                <a:lnTo>
                  <a:pt x="6407077" y="2043101"/>
                </a:lnTo>
                <a:lnTo>
                  <a:pt x="6404041" y="2037029"/>
                </a:lnTo>
                <a:lnTo>
                  <a:pt x="6407077" y="2033994"/>
                </a:lnTo>
                <a:close/>
                <a:moveTo>
                  <a:pt x="3375821" y="2027922"/>
                </a:moveTo>
                <a:lnTo>
                  <a:pt x="3375821" y="2033994"/>
                </a:lnTo>
                <a:lnTo>
                  <a:pt x="3375821" y="2037030"/>
                </a:lnTo>
                <a:lnTo>
                  <a:pt x="3366713" y="2040066"/>
                </a:lnTo>
                <a:lnTo>
                  <a:pt x="3372785" y="2033994"/>
                </a:lnTo>
                <a:close/>
                <a:moveTo>
                  <a:pt x="3744672" y="2018815"/>
                </a:moveTo>
                <a:lnTo>
                  <a:pt x="3747707" y="2027922"/>
                </a:lnTo>
                <a:lnTo>
                  <a:pt x="3747707" y="2030958"/>
                </a:lnTo>
                <a:lnTo>
                  <a:pt x="3738600" y="2030958"/>
                </a:lnTo>
                <a:close/>
                <a:moveTo>
                  <a:pt x="3694581" y="2009707"/>
                </a:moveTo>
                <a:lnTo>
                  <a:pt x="3696100" y="2009707"/>
                </a:lnTo>
                <a:lnTo>
                  <a:pt x="3702171" y="2012743"/>
                </a:lnTo>
                <a:lnTo>
                  <a:pt x="3705207" y="2012743"/>
                </a:lnTo>
                <a:lnTo>
                  <a:pt x="3708243" y="2018815"/>
                </a:lnTo>
                <a:lnTo>
                  <a:pt x="3705207" y="2021851"/>
                </a:lnTo>
                <a:lnTo>
                  <a:pt x="3699135" y="2018815"/>
                </a:lnTo>
                <a:lnTo>
                  <a:pt x="3694581" y="2015779"/>
                </a:lnTo>
                <a:close/>
                <a:moveTo>
                  <a:pt x="91073" y="2009707"/>
                </a:moveTo>
                <a:lnTo>
                  <a:pt x="97146" y="2015779"/>
                </a:lnTo>
                <a:lnTo>
                  <a:pt x="78930" y="2021851"/>
                </a:lnTo>
                <a:lnTo>
                  <a:pt x="75895" y="2024886"/>
                </a:lnTo>
                <a:lnTo>
                  <a:pt x="72858" y="2027923"/>
                </a:lnTo>
                <a:lnTo>
                  <a:pt x="66787" y="2030958"/>
                </a:lnTo>
                <a:lnTo>
                  <a:pt x="60716" y="2021851"/>
                </a:lnTo>
                <a:lnTo>
                  <a:pt x="66787" y="2015779"/>
                </a:lnTo>
                <a:lnTo>
                  <a:pt x="69823" y="2012744"/>
                </a:lnTo>
                <a:close/>
                <a:moveTo>
                  <a:pt x="170005" y="2003637"/>
                </a:moveTo>
                <a:lnTo>
                  <a:pt x="173040" y="2003637"/>
                </a:lnTo>
                <a:lnTo>
                  <a:pt x="173040" y="2006672"/>
                </a:lnTo>
                <a:close/>
                <a:moveTo>
                  <a:pt x="6294752" y="2003636"/>
                </a:moveTo>
                <a:lnTo>
                  <a:pt x="6297787" y="2003636"/>
                </a:lnTo>
                <a:lnTo>
                  <a:pt x="6294752" y="2006671"/>
                </a:lnTo>
                <a:lnTo>
                  <a:pt x="6294752" y="2009707"/>
                </a:lnTo>
                <a:lnTo>
                  <a:pt x="6291716" y="2009707"/>
                </a:lnTo>
                <a:lnTo>
                  <a:pt x="6288681" y="2009707"/>
                </a:lnTo>
                <a:lnTo>
                  <a:pt x="6285645" y="2009707"/>
                </a:lnTo>
                <a:close/>
                <a:moveTo>
                  <a:pt x="6303859" y="2000600"/>
                </a:moveTo>
                <a:lnTo>
                  <a:pt x="6309931" y="2003636"/>
                </a:lnTo>
                <a:lnTo>
                  <a:pt x="6316002" y="2006671"/>
                </a:lnTo>
                <a:lnTo>
                  <a:pt x="6306895" y="2021850"/>
                </a:lnTo>
                <a:lnTo>
                  <a:pt x="6303859" y="2012743"/>
                </a:lnTo>
                <a:lnTo>
                  <a:pt x="6297787" y="2015779"/>
                </a:lnTo>
                <a:close/>
                <a:moveTo>
                  <a:pt x="719487" y="1997565"/>
                </a:moveTo>
                <a:lnTo>
                  <a:pt x="725558" y="2015779"/>
                </a:lnTo>
                <a:lnTo>
                  <a:pt x="722522" y="2015779"/>
                </a:lnTo>
                <a:lnTo>
                  <a:pt x="716450" y="2003637"/>
                </a:lnTo>
                <a:lnTo>
                  <a:pt x="719487" y="2000600"/>
                </a:lnTo>
                <a:lnTo>
                  <a:pt x="716450" y="2000600"/>
                </a:lnTo>
                <a:close/>
                <a:moveTo>
                  <a:pt x="3771993" y="1997564"/>
                </a:moveTo>
                <a:lnTo>
                  <a:pt x="3778065" y="2003636"/>
                </a:lnTo>
                <a:lnTo>
                  <a:pt x="3775030" y="2006672"/>
                </a:lnTo>
                <a:lnTo>
                  <a:pt x="3768958" y="2003636"/>
                </a:lnTo>
                <a:close/>
                <a:moveTo>
                  <a:pt x="3321176" y="1997564"/>
                </a:moveTo>
                <a:lnTo>
                  <a:pt x="3321176" y="2000600"/>
                </a:lnTo>
                <a:lnTo>
                  <a:pt x="3318141" y="2006672"/>
                </a:lnTo>
                <a:lnTo>
                  <a:pt x="3321176" y="2003636"/>
                </a:lnTo>
                <a:lnTo>
                  <a:pt x="3327248" y="2000600"/>
                </a:lnTo>
                <a:lnTo>
                  <a:pt x="3333320" y="1997564"/>
                </a:lnTo>
                <a:lnTo>
                  <a:pt x="3342427" y="2000600"/>
                </a:lnTo>
                <a:lnTo>
                  <a:pt x="3348499" y="2012743"/>
                </a:lnTo>
                <a:lnTo>
                  <a:pt x="3354571" y="2024886"/>
                </a:lnTo>
                <a:lnTo>
                  <a:pt x="3351534" y="2033994"/>
                </a:lnTo>
                <a:lnTo>
                  <a:pt x="3342427" y="2040066"/>
                </a:lnTo>
                <a:lnTo>
                  <a:pt x="3336355" y="2040066"/>
                </a:lnTo>
                <a:lnTo>
                  <a:pt x="3339392" y="2043101"/>
                </a:lnTo>
                <a:lnTo>
                  <a:pt x="3333320" y="2046137"/>
                </a:lnTo>
                <a:lnTo>
                  <a:pt x="3339392" y="2052209"/>
                </a:lnTo>
                <a:lnTo>
                  <a:pt x="3339392" y="2055245"/>
                </a:lnTo>
                <a:lnTo>
                  <a:pt x="3339392" y="2058280"/>
                </a:lnTo>
                <a:lnTo>
                  <a:pt x="3339392" y="2061316"/>
                </a:lnTo>
                <a:lnTo>
                  <a:pt x="3342427" y="2073459"/>
                </a:lnTo>
                <a:lnTo>
                  <a:pt x="3339392" y="2085603"/>
                </a:lnTo>
                <a:lnTo>
                  <a:pt x="3336355" y="2097745"/>
                </a:lnTo>
                <a:lnTo>
                  <a:pt x="3333320" y="2103817"/>
                </a:lnTo>
                <a:lnTo>
                  <a:pt x="3330284" y="2103817"/>
                </a:lnTo>
                <a:lnTo>
                  <a:pt x="3321176" y="2103817"/>
                </a:lnTo>
                <a:lnTo>
                  <a:pt x="3318141" y="2106854"/>
                </a:lnTo>
                <a:lnTo>
                  <a:pt x="3309034" y="2109889"/>
                </a:lnTo>
                <a:lnTo>
                  <a:pt x="3302962" y="2115961"/>
                </a:lnTo>
                <a:lnTo>
                  <a:pt x="3293854" y="2122032"/>
                </a:lnTo>
                <a:lnTo>
                  <a:pt x="3275640" y="2128104"/>
                </a:lnTo>
                <a:lnTo>
                  <a:pt x="3263496" y="2128104"/>
                </a:lnTo>
                <a:lnTo>
                  <a:pt x="3260461" y="2125068"/>
                </a:lnTo>
                <a:lnTo>
                  <a:pt x="3251354" y="2115961"/>
                </a:lnTo>
                <a:lnTo>
                  <a:pt x="3251354" y="2103817"/>
                </a:lnTo>
                <a:lnTo>
                  <a:pt x="3257424" y="2103817"/>
                </a:lnTo>
                <a:lnTo>
                  <a:pt x="3266532" y="2103817"/>
                </a:lnTo>
                <a:lnTo>
                  <a:pt x="3263496" y="2097745"/>
                </a:lnTo>
                <a:lnTo>
                  <a:pt x="3266532" y="2088638"/>
                </a:lnTo>
                <a:lnTo>
                  <a:pt x="3272603" y="2082566"/>
                </a:lnTo>
                <a:lnTo>
                  <a:pt x="3275640" y="2073459"/>
                </a:lnTo>
                <a:lnTo>
                  <a:pt x="3266532" y="2070424"/>
                </a:lnTo>
                <a:lnTo>
                  <a:pt x="3257424" y="2064352"/>
                </a:lnTo>
                <a:lnTo>
                  <a:pt x="3260461" y="2052209"/>
                </a:lnTo>
                <a:lnTo>
                  <a:pt x="3257424" y="2040066"/>
                </a:lnTo>
                <a:lnTo>
                  <a:pt x="3257424" y="2033994"/>
                </a:lnTo>
                <a:lnTo>
                  <a:pt x="3263496" y="2030958"/>
                </a:lnTo>
                <a:lnTo>
                  <a:pt x="3272603" y="2030958"/>
                </a:lnTo>
                <a:lnTo>
                  <a:pt x="3287783" y="2030958"/>
                </a:lnTo>
                <a:lnTo>
                  <a:pt x="3293854" y="2027922"/>
                </a:lnTo>
                <a:lnTo>
                  <a:pt x="3299926" y="2021851"/>
                </a:lnTo>
                <a:lnTo>
                  <a:pt x="3293854" y="2021851"/>
                </a:lnTo>
                <a:lnTo>
                  <a:pt x="3287783" y="2015779"/>
                </a:lnTo>
                <a:lnTo>
                  <a:pt x="3290819" y="2015779"/>
                </a:lnTo>
                <a:lnTo>
                  <a:pt x="3293854" y="2006672"/>
                </a:lnTo>
                <a:lnTo>
                  <a:pt x="3296890" y="2003636"/>
                </a:lnTo>
                <a:lnTo>
                  <a:pt x="3299926" y="2003636"/>
                </a:lnTo>
                <a:lnTo>
                  <a:pt x="3299926" y="2000600"/>
                </a:lnTo>
                <a:lnTo>
                  <a:pt x="3305998" y="2000600"/>
                </a:lnTo>
                <a:close/>
                <a:moveTo>
                  <a:pt x="6889770" y="1994528"/>
                </a:moveTo>
                <a:lnTo>
                  <a:pt x="6895842" y="1994528"/>
                </a:lnTo>
                <a:lnTo>
                  <a:pt x="6904949" y="2018815"/>
                </a:lnTo>
                <a:lnTo>
                  <a:pt x="6892807" y="2003636"/>
                </a:lnTo>
                <a:close/>
                <a:moveTo>
                  <a:pt x="3670294" y="1988456"/>
                </a:moveTo>
                <a:lnTo>
                  <a:pt x="3682438" y="1988456"/>
                </a:lnTo>
                <a:lnTo>
                  <a:pt x="3682438" y="1991493"/>
                </a:lnTo>
                <a:lnTo>
                  <a:pt x="3685473" y="1988456"/>
                </a:lnTo>
                <a:lnTo>
                  <a:pt x="3688510" y="1997564"/>
                </a:lnTo>
                <a:lnTo>
                  <a:pt x="3688510" y="2003636"/>
                </a:lnTo>
                <a:lnTo>
                  <a:pt x="3676366" y="2003636"/>
                </a:lnTo>
                <a:lnTo>
                  <a:pt x="3670294" y="1997564"/>
                </a:lnTo>
                <a:close/>
                <a:moveTo>
                  <a:pt x="752880" y="1976314"/>
                </a:moveTo>
                <a:lnTo>
                  <a:pt x="758952" y="1976314"/>
                </a:lnTo>
                <a:lnTo>
                  <a:pt x="761987" y="1985421"/>
                </a:lnTo>
                <a:lnTo>
                  <a:pt x="761987" y="1997565"/>
                </a:lnTo>
                <a:lnTo>
                  <a:pt x="749845" y="1997565"/>
                </a:lnTo>
                <a:lnTo>
                  <a:pt x="743773" y="1991493"/>
                </a:lnTo>
                <a:lnTo>
                  <a:pt x="749845" y="1982386"/>
                </a:lnTo>
                <a:close/>
                <a:moveTo>
                  <a:pt x="3339392" y="1973277"/>
                </a:moveTo>
                <a:lnTo>
                  <a:pt x="3339392" y="1985421"/>
                </a:lnTo>
                <a:lnTo>
                  <a:pt x="3333320" y="1982386"/>
                </a:lnTo>
                <a:lnTo>
                  <a:pt x="3333320" y="1976314"/>
                </a:lnTo>
                <a:close/>
                <a:moveTo>
                  <a:pt x="3723422" y="1970242"/>
                </a:moveTo>
                <a:lnTo>
                  <a:pt x="3723422" y="1988456"/>
                </a:lnTo>
                <a:lnTo>
                  <a:pt x="3720386" y="1997564"/>
                </a:lnTo>
                <a:lnTo>
                  <a:pt x="3717350" y="2006672"/>
                </a:lnTo>
                <a:lnTo>
                  <a:pt x="3708243" y="2006672"/>
                </a:lnTo>
                <a:lnTo>
                  <a:pt x="3708243" y="2003636"/>
                </a:lnTo>
                <a:lnTo>
                  <a:pt x="3705207" y="2000600"/>
                </a:lnTo>
                <a:lnTo>
                  <a:pt x="3699135" y="1997564"/>
                </a:lnTo>
                <a:lnTo>
                  <a:pt x="3694581" y="1985421"/>
                </a:lnTo>
                <a:lnTo>
                  <a:pt x="3702171" y="1976314"/>
                </a:lnTo>
                <a:close/>
                <a:moveTo>
                  <a:pt x="710378" y="1967206"/>
                </a:moveTo>
                <a:lnTo>
                  <a:pt x="716450" y="1967206"/>
                </a:lnTo>
                <a:lnTo>
                  <a:pt x="710378" y="1976314"/>
                </a:lnTo>
                <a:lnTo>
                  <a:pt x="704307" y="1976314"/>
                </a:lnTo>
                <a:close/>
                <a:moveTo>
                  <a:pt x="734665" y="1958099"/>
                </a:moveTo>
                <a:lnTo>
                  <a:pt x="737701" y="1967206"/>
                </a:lnTo>
                <a:lnTo>
                  <a:pt x="740738" y="1973278"/>
                </a:lnTo>
                <a:lnTo>
                  <a:pt x="731629" y="1973278"/>
                </a:lnTo>
                <a:lnTo>
                  <a:pt x="728594" y="1961135"/>
                </a:lnTo>
                <a:close/>
                <a:moveTo>
                  <a:pt x="710378" y="1958099"/>
                </a:moveTo>
                <a:lnTo>
                  <a:pt x="719487" y="1961135"/>
                </a:lnTo>
                <a:lnTo>
                  <a:pt x="725558" y="1970242"/>
                </a:lnTo>
                <a:lnTo>
                  <a:pt x="737701" y="1988457"/>
                </a:lnTo>
                <a:lnTo>
                  <a:pt x="740738" y="1997565"/>
                </a:lnTo>
                <a:lnTo>
                  <a:pt x="743773" y="2012744"/>
                </a:lnTo>
                <a:lnTo>
                  <a:pt x="737701" y="2018816"/>
                </a:lnTo>
                <a:lnTo>
                  <a:pt x="731629" y="2009707"/>
                </a:lnTo>
                <a:lnTo>
                  <a:pt x="731629" y="2003637"/>
                </a:lnTo>
                <a:lnTo>
                  <a:pt x="722522" y="1997565"/>
                </a:lnTo>
                <a:lnTo>
                  <a:pt x="719487" y="1997565"/>
                </a:lnTo>
                <a:lnTo>
                  <a:pt x="719487" y="1991493"/>
                </a:lnTo>
                <a:lnTo>
                  <a:pt x="719487" y="1976314"/>
                </a:lnTo>
                <a:lnTo>
                  <a:pt x="716450" y="1964170"/>
                </a:lnTo>
                <a:lnTo>
                  <a:pt x="710378" y="1964170"/>
                </a:lnTo>
                <a:close/>
                <a:moveTo>
                  <a:pt x="1833628" y="1952026"/>
                </a:moveTo>
                <a:lnTo>
                  <a:pt x="1833628" y="1958098"/>
                </a:lnTo>
                <a:lnTo>
                  <a:pt x="1827556" y="1964170"/>
                </a:lnTo>
                <a:lnTo>
                  <a:pt x="1818449" y="1976313"/>
                </a:lnTo>
                <a:lnTo>
                  <a:pt x="1818449" y="1970241"/>
                </a:lnTo>
                <a:lnTo>
                  <a:pt x="1821484" y="1964170"/>
                </a:lnTo>
                <a:close/>
                <a:moveTo>
                  <a:pt x="1824521" y="1952026"/>
                </a:moveTo>
                <a:lnTo>
                  <a:pt x="1821484" y="1961134"/>
                </a:lnTo>
                <a:lnTo>
                  <a:pt x="1812377" y="1964170"/>
                </a:lnTo>
                <a:lnTo>
                  <a:pt x="1818449" y="1958098"/>
                </a:lnTo>
                <a:close/>
                <a:moveTo>
                  <a:pt x="3339392" y="1948991"/>
                </a:moveTo>
                <a:lnTo>
                  <a:pt x="3348499" y="1958098"/>
                </a:lnTo>
                <a:lnTo>
                  <a:pt x="3342427" y="1961135"/>
                </a:lnTo>
                <a:lnTo>
                  <a:pt x="3336355" y="1955063"/>
                </a:lnTo>
                <a:close/>
                <a:moveTo>
                  <a:pt x="725558" y="1942920"/>
                </a:moveTo>
                <a:lnTo>
                  <a:pt x="731629" y="1952027"/>
                </a:lnTo>
                <a:lnTo>
                  <a:pt x="725558" y="1955063"/>
                </a:lnTo>
                <a:lnTo>
                  <a:pt x="722522" y="1948992"/>
                </a:lnTo>
                <a:close/>
                <a:moveTo>
                  <a:pt x="695200" y="1942920"/>
                </a:moveTo>
                <a:lnTo>
                  <a:pt x="704307" y="1952027"/>
                </a:lnTo>
                <a:lnTo>
                  <a:pt x="698235" y="1955063"/>
                </a:lnTo>
                <a:lnTo>
                  <a:pt x="701271" y="1964170"/>
                </a:lnTo>
                <a:lnTo>
                  <a:pt x="698235" y="1973278"/>
                </a:lnTo>
                <a:lnTo>
                  <a:pt x="695200" y="1979349"/>
                </a:lnTo>
                <a:lnTo>
                  <a:pt x="692164" y="1970242"/>
                </a:lnTo>
                <a:lnTo>
                  <a:pt x="689128" y="1948992"/>
                </a:lnTo>
                <a:close/>
                <a:moveTo>
                  <a:pt x="701271" y="1930776"/>
                </a:moveTo>
                <a:lnTo>
                  <a:pt x="719487" y="1936848"/>
                </a:lnTo>
                <a:lnTo>
                  <a:pt x="716450" y="1955063"/>
                </a:lnTo>
                <a:lnTo>
                  <a:pt x="710378" y="1955063"/>
                </a:lnTo>
                <a:lnTo>
                  <a:pt x="707343" y="1952027"/>
                </a:lnTo>
                <a:lnTo>
                  <a:pt x="698235" y="1936848"/>
                </a:lnTo>
                <a:close/>
                <a:moveTo>
                  <a:pt x="664842" y="1927741"/>
                </a:moveTo>
                <a:lnTo>
                  <a:pt x="664842" y="1939884"/>
                </a:lnTo>
                <a:lnTo>
                  <a:pt x="661806" y="1930776"/>
                </a:lnTo>
                <a:close/>
                <a:moveTo>
                  <a:pt x="3817531" y="1921669"/>
                </a:moveTo>
                <a:lnTo>
                  <a:pt x="3811459" y="1945956"/>
                </a:lnTo>
                <a:lnTo>
                  <a:pt x="3805388" y="1964170"/>
                </a:lnTo>
                <a:lnTo>
                  <a:pt x="3802352" y="1952027"/>
                </a:lnTo>
                <a:lnTo>
                  <a:pt x="3808423" y="1942919"/>
                </a:lnTo>
                <a:close/>
                <a:moveTo>
                  <a:pt x="670914" y="1915597"/>
                </a:moveTo>
                <a:lnTo>
                  <a:pt x="676985" y="1918634"/>
                </a:lnTo>
                <a:lnTo>
                  <a:pt x="680021" y="1921669"/>
                </a:lnTo>
                <a:lnTo>
                  <a:pt x="683057" y="1927741"/>
                </a:lnTo>
                <a:lnTo>
                  <a:pt x="686092" y="1964170"/>
                </a:lnTo>
                <a:lnTo>
                  <a:pt x="686092" y="1967206"/>
                </a:lnTo>
                <a:lnTo>
                  <a:pt x="683057" y="1961135"/>
                </a:lnTo>
                <a:lnTo>
                  <a:pt x="673949" y="1945956"/>
                </a:lnTo>
                <a:lnTo>
                  <a:pt x="667877" y="1927741"/>
                </a:lnTo>
                <a:lnTo>
                  <a:pt x="667877" y="1921669"/>
                </a:lnTo>
                <a:close/>
                <a:moveTo>
                  <a:pt x="3333320" y="1909526"/>
                </a:moveTo>
                <a:lnTo>
                  <a:pt x="3339392" y="1912562"/>
                </a:lnTo>
                <a:lnTo>
                  <a:pt x="3342427" y="1924705"/>
                </a:lnTo>
                <a:lnTo>
                  <a:pt x="3342427" y="1927740"/>
                </a:lnTo>
                <a:lnTo>
                  <a:pt x="3336355" y="1927740"/>
                </a:lnTo>
                <a:lnTo>
                  <a:pt x="3333320" y="1921669"/>
                </a:lnTo>
                <a:lnTo>
                  <a:pt x="3327248" y="1918633"/>
                </a:lnTo>
                <a:close/>
                <a:moveTo>
                  <a:pt x="3318141" y="1909526"/>
                </a:moveTo>
                <a:lnTo>
                  <a:pt x="3318141" y="1912562"/>
                </a:lnTo>
                <a:lnTo>
                  <a:pt x="3315105" y="1912562"/>
                </a:lnTo>
                <a:lnTo>
                  <a:pt x="3315105" y="1915597"/>
                </a:lnTo>
                <a:lnTo>
                  <a:pt x="3309034" y="1912562"/>
                </a:lnTo>
                <a:close/>
                <a:moveTo>
                  <a:pt x="3850925" y="1900418"/>
                </a:moveTo>
                <a:lnTo>
                  <a:pt x="3856996" y="1900418"/>
                </a:lnTo>
                <a:lnTo>
                  <a:pt x="3856996" y="1903454"/>
                </a:lnTo>
                <a:lnTo>
                  <a:pt x="3856996" y="1906490"/>
                </a:lnTo>
                <a:lnTo>
                  <a:pt x="3853961" y="1906490"/>
                </a:lnTo>
                <a:lnTo>
                  <a:pt x="3853961" y="1912562"/>
                </a:lnTo>
                <a:lnTo>
                  <a:pt x="3853961" y="1915597"/>
                </a:lnTo>
                <a:lnTo>
                  <a:pt x="3847889" y="1927740"/>
                </a:lnTo>
                <a:lnTo>
                  <a:pt x="3841817" y="1933812"/>
                </a:lnTo>
                <a:lnTo>
                  <a:pt x="3838782" y="1915597"/>
                </a:lnTo>
                <a:lnTo>
                  <a:pt x="3844853" y="1906490"/>
                </a:lnTo>
                <a:close/>
                <a:moveTo>
                  <a:pt x="315724" y="1900418"/>
                </a:moveTo>
                <a:lnTo>
                  <a:pt x="318760" y="1900418"/>
                </a:lnTo>
                <a:lnTo>
                  <a:pt x="324831" y="1909526"/>
                </a:lnTo>
                <a:lnTo>
                  <a:pt x="324831" y="1912562"/>
                </a:lnTo>
                <a:lnTo>
                  <a:pt x="321796" y="1918634"/>
                </a:lnTo>
                <a:lnTo>
                  <a:pt x="315724" y="1924705"/>
                </a:lnTo>
                <a:lnTo>
                  <a:pt x="312688" y="1924705"/>
                </a:lnTo>
                <a:lnTo>
                  <a:pt x="309652" y="1921669"/>
                </a:lnTo>
                <a:lnTo>
                  <a:pt x="303580" y="1924705"/>
                </a:lnTo>
                <a:lnTo>
                  <a:pt x="297509" y="1927741"/>
                </a:lnTo>
                <a:lnTo>
                  <a:pt x="294473" y="1939884"/>
                </a:lnTo>
                <a:lnTo>
                  <a:pt x="285365" y="1942920"/>
                </a:lnTo>
                <a:lnTo>
                  <a:pt x="273222" y="1924705"/>
                </a:lnTo>
                <a:lnTo>
                  <a:pt x="273222" y="1921669"/>
                </a:lnTo>
                <a:lnTo>
                  <a:pt x="276258" y="1915597"/>
                </a:lnTo>
                <a:lnTo>
                  <a:pt x="282329" y="1909526"/>
                </a:lnTo>
                <a:lnTo>
                  <a:pt x="291438" y="1909526"/>
                </a:lnTo>
                <a:lnTo>
                  <a:pt x="297509" y="1909526"/>
                </a:lnTo>
                <a:lnTo>
                  <a:pt x="306616" y="1903455"/>
                </a:lnTo>
                <a:close/>
                <a:moveTo>
                  <a:pt x="661806" y="1885239"/>
                </a:moveTo>
                <a:lnTo>
                  <a:pt x="664842" y="1885239"/>
                </a:lnTo>
                <a:lnTo>
                  <a:pt x="676985" y="1891311"/>
                </a:lnTo>
                <a:lnTo>
                  <a:pt x="683057" y="1897383"/>
                </a:lnTo>
                <a:lnTo>
                  <a:pt x="683057" y="1906490"/>
                </a:lnTo>
                <a:lnTo>
                  <a:pt x="680021" y="1915597"/>
                </a:lnTo>
                <a:lnTo>
                  <a:pt x="673949" y="1912562"/>
                </a:lnTo>
                <a:lnTo>
                  <a:pt x="667877" y="1912562"/>
                </a:lnTo>
                <a:lnTo>
                  <a:pt x="667877" y="1918634"/>
                </a:lnTo>
                <a:lnTo>
                  <a:pt x="661806" y="1918634"/>
                </a:lnTo>
                <a:lnTo>
                  <a:pt x="652698" y="1903455"/>
                </a:lnTo>
                <a:lnTo>
                  <a:pt x="652698" y="1888276"/>
                </a:lnTo>
                <a:close/>
                <a:moveTo>
                  <a:pt x="683057" y="1882204"/>
                </a:moveTo>
                <a:lnTo>
                  <a:pt x="686092" y="1888276"/>
                </a:lnTo>
                <a:lnTo>
                  <a:pt x="692164" y="1888276"/>
                </a:lnTo>
                <a:lnTo>
                  <a:pt x="701271" y="1900418"/>
                </a:lnTo>
                <a:lnTo>
                  <a:pt x="704307" y="1918634"/>
                </a:lnTo>
                <a:lnTo>
                  <a:pt x="695200" y="1927741"/>
                </a:lnTo>
                <a:lnTo>
                  <a:pt x="692164" y="1933813"/>
                </a:lnTo>
                <a:lnTo>
                  <a:pt x="689128" y="1927741"/>
                </a:lnTo>
                <a:lnTo>
                  <a:pt x="689128" y="1918634"/>
                </a:lnTo>
                <a:lnTo>
                  <a:pt x="689128" y="1909526"/>
                </a:lnTo>
                <a:lnTo>
                  <a:pt x="683057" y="1888276"/>
                </a:lnTo>
                <a:close/>
                <a:moveTo>
                  <a:pt x="318760" y="1879168"/>
                </a:moveTo>
                <a:lnTo>
                  <a:pt x="327867" y="1882204"/>
                </a:lnTo>
                <a:lnTo>
                  <a:pt x="324831" y="1891311"/>
                </a:lnTo>
                <a:lnTo>
                  <a:pt x="309652" y="1894346"/>
                </a:lnTo>
                <a:lnTo>
                  <a:pt x="303580" y="1888276"/>
                </a:lnTo>
                <a:lnTo>
                  <a:pt x="309652" y="1882204"/>
                </a:lnTo>
                <a:close/>
                <a:moveTo>
                  <a:pt x="3336354" y="1876132"/>
                </a:moveTo>
                <a:lnTo>
                  <a:pt x="3339391" y="1879167"/>
                </a:lnTo>
                <a:lnTo>
                  <a:pt x="3333319" y="1894346"/>
                </a:lnTo>
                <a:lnTo>
                  <a:pt x="3327247" y="1894346"/>
                </a:lnTo>
                <a:lnTo>
                  <a:pt x="3324212" y="1903454"/>
                </a:lnTo>
                <a:lnTo>
                  <a:pt x="3321176" y="1903454"/>
                </a:lnTo>
                <a:lnTo>
                  <a:pt x="3321176" y="1900418"/>
                </a:lnTo>
                <a:lnTo>
                  <a:pt x="3324212" y="1900418"/>
                </a:lnTo>
                <a:lnTo>
                  <a:pt x="3321176" y="1897383"/>
                </a:lnTo>
                <a:lnTo>
                  <a:pt x="3321176" y="1888275"/>
                </a:lnTo>
                <a:lnTo>
                  <a:pt x="3333319" y="1879167"/>
                </a:lnTo>
                <a:close/>
                <a:moveTo>
                  <a:pt x="3923785" y="1873096"/>
                </a:moveTo>
                <a:lnTo>
                  <a:pt x="3938964" y="1873096"/>
                </a:lnTo>
                <a:lnTo>
                  <a:pt x="3942000" y="1876132"/>
                </a:lnTo>
                <a:lnTo>
                  <a:pt x="3938964" y="1882204"/>
                </a:lnTo>
                <a:lnTo>
                  <a:pt x="3932893" y="1888275"/>
                </a:lnTo>
                <a:lnTo>
                  <a:pt x="3920749" y="1897383"/>
                </a:lnTo>
                <a:lnTo>
                  <a:pt x="3917713" y="1897383"/>
                </a:lnTo>
                <a:lnTo>
                  <a:pt x="3917713" y="1882204"/>
                </a:lnTo>
                <a:close/>
                <a:moveTo>
                  <a:pt x="3366712" y="1870060"/>
                </a:moveTo>
                <a:lnTo>
                  <a:pt x="3369749" y="1873096"/>
                </a:lnTo>
                <a:lnTo>
                  <a:pt x="3394035" y="1873096"/>
                </a:lnTo>
                <a:lnTo>
                  <a:pt x="3403142" y="1870060"/>
                </a:lnTo>
                <a:lnTo>
                  <a:pt x="3400107" y="1885239"/>
                </a:lnTo>
                <a:lnTo>
                  <a:pt x="3378856" y="1900418"/>
                </a:lnTo>
                <a:lnTo>
                  <a:pt x="3381892" y="1906490"/>
                </a:lnTo>
                <a:lnTo>
                  <a:pt x="3375821" y="1909526"/>
                </a:lnTo>
                <a:lnTo>
                  <a:pt x="3378856" y="1912562"/>
                </a:lnTo>
                <a:lnTo>
                  <a:pt x="3394035" y="1909526"/>
                </a:lnTo>
                <a:lnTo>
                  <a:pt x="3418322" y="1909526"/>
                </a:lnTo>
                <a:lnTo>
                  <a:pt x="3424393" y="1909526"/>
                </a:lnTo>
                <a:lnTo>
                  <a:pt x="3430465" y="1915597"/>
                </a:lnTo>
                <a:lnTo>
                  <a:pt x="3415286" y="1955063"/>
                </a:lnTo>
                <a:lnTo>
                  <a:pt x="3406178" y="1964170"/>
                </a:lnTo>
                <a:lnTo>
                  <a:pt x="3400107" y="1970242"/>
                </a:lnTo>
                <a:lnTo>
                  <a:pt x="3406178" y="1973277"/>
                </a:lnTo>
                <a:lnTo>
                  <a:pt x="3409214" y="1970242"/>
                </a:lnTo>
                <a:lnTo>
                  <a:pt x="3418322" y="1973277"/>
                </a:lnTo>
                <a:lnTo>
                  <a:pt x="3427429" y="1982386"/>
                </a:lnTo>
                <a:lnTo>
                  <a:pt x="3433501" y="1991493"/>
                </a:lnTo>
                <a:lnTo>
                  <a:pt x="3433501" y="1994528"/>
                </a:lnTo>
                <a:lnTo>
                  <a:pt x="3433501" y="2000600"/>
                </a:lnTo>
                <a:lnTo>
                  <a:pt x="3448680" y="2021851"/>
                </a:lnTo>
                <a:lnTo>
                  <a:pt x="3460822" y="2037030"/>
                </a:lnTo>
                <a:lnTo>
                  <a:pt x="3472966" y="2067387"/>
                </a:lnTo>
                <a:lnTo>
                  <a:pt x="3472966" y="2076496"/>
                </a:lnTo>
                <a:lnTo>
                  <a:pt x="3476002" y="2082566"/>
                </a:lnTo>
                <a:lnTo>
                  <a:pt x="3488145" y="2079531"/>
                </a:lnTo>
                <a:lnTo>
                  <a:pt x="3500289" y="2085603"/>
                </a:lnTo>
                <a:lnTo>
                  <a:pt x="3503324" y="2097745"/>
                </a:lnTo>
                <a:lnTo>
                  <a:pt x="3500289" y="2109889"/>
                </a:lnTo>
                <a:lnTo>
                  <a:pt x="3494217" y="2112925"/>
                </a:lnTo>
                <a:lnTo>
                  <a:pt x="3491181" y="2118996"/>
                </a:lnTo>
                <a:lnTo>
                  <a:pt x="3485110" y="2125068"/>
                </a:lnTo>
                <a:lnTo>
                  <a:pt x="3485110" y="2131140"/>
                </a:lnTo>
                <a:lnTo>
                  <a:pt x="3491181" y="2131140"/>
                </a:lnTo>
                <a:lnTo>
                  <a:pt x="3497252" y="2131140"/>
                </a:lnTo>
                <a:lnTo>
                  <a:pt x="3494217" y="2140247"/>
                </a:lnTo>
                <a:lnTo>
                  <a:pt x="3488145" y="2143283"/>
                </a:lnTo>
                <a:lnTo>
                  <a:pt x="3472966" y="2152390"/>
                </a:lnTo>
                <a:lnTo>
                  <a:pt x="3466894" y="2152390"/>
                </a:lnTo>
                <a:lnTo>
                  <a:pt x="3454752" y="2152390"/>
                </a:lnTo>
                <a:lnTo>
                  <a:pt x="3424393" y="2155426"/>
                </a:lnTo>
                <a:lnTo>
                  <a:pt x="3424393" y="2158462"/>
                </a:lnTo>
                <a:lnTo>
                  <a:pt x="3415286" y="2155426"/>
                </a:lnTo>
                <a:lnTo>
                  <a:pt x="3400107" y="2155426"/>
                </a:lnTo>
                <a:lnTo>
                  <a:pt x="3390999" y="2164534"/>
                </a:lnTo>
                <a:lnTo>
                  <a:pt x="3384928" y="2167569"/>
                </a:lnTo>
                <a:lnTo>
                  <a:pt x="3381892" y="2167569"/>
                </a:lnTo>
                <a:lnTo>
                  <a:pt x="3363677" y="2170605"/>
                </a:lnTo>
                <a:lnTo>
                  <a:pt x="3351533" y="2176677"/>
                </a:lnTo>
                <a:lnTo>
                  <a:pt x="3351533" y="2170605"/>
                </a:lnTo>
                <a:lnTo>
                  <a:pt x="3354570" y="2170605"/>
                </a:lnTo>
                <a:lnTo>
                  <a:pt x="3360642" y="2167569"/>
                </a:lnTo>
                <a:lnTo>
                  <a:pt x="3372784" y="2152390"/>
                </a:lnTo>
                <a:lnTo>
                  <a:pt x="3378856" y="2140247"/>
                </a:lnTo>
                <a:lnTo>
                  <a:pt x="3387963" y="2137211"/>
                </a:lnTo>
                <a:lnTo>
                  <a:pt x="3397071" y="2140247"/>
                </a:lnTo>
                <a:lnTo>
                  <a:pt x="3403142" y="2137211"/>
                </a:lnTo>
                <a:lnTo>
                  <a:pt x="3406178" y="2134175"/>
                </a:lnTo>
                <a:lnTo>
                  <a:pt x="3415286" y="2122032"/>
                </a:lnTo>
                <a:lnTo>
                  <a:pt x="3409214" y="2128104"/>
                </a:lnTo>
                <a:lnTo>
                  <a:pt x="3406178" y="2128104"/>
                </a:lnTo>
                <a:lnTo>
                  <a:pt x="3400107" y="2131140"/>
                </a:lnTo>
                <a:lnTo>
                  <a:pt x="3394035" y="2131140"/>
                </a:lnTo>
                <a:lnTo>
                  <a:pt x="3387963" y="2128104"/>
                </a:lnTo>
                <a:lnTo>
                  <a:pt x="3381892" y="2125068"/>
                </a:lnTo>
                <a:lnTo>
                  <a:pt x="3381892" y="2122032"/>
                </a:lnTo>
                <a:lnTo>
                  <a:pt x="3372784" y="2122032"/>
                </a:lnTo>
                <a:lnTo>
                  <a:pt x="3369749" y="2122032"/>
                </a:lnTo>
                <a:lnTo>
                  <a:pt x="3363677" y="2122032"/>
                </a:lnTo>
                <a:lnTo>
                  <a:pt x="3360642" y="2122032"/>
                </a:lnTo>
                <a:lnTo>
                  <a:pt x="3357605" y="2115961"/>
                </a:lnTo>
                <a:lnTo>
                  <a:pt x="3360642" y="2109889"/>
                </a:lnTo>
                <a:lnTo>
                  <a:pt x="3366712" y="2109889"/>
                </a:lnTo>
                <a:lnTo>
                  <a:pt x="3372784" y="2106854"/>
                </a:lnTo>
                <a:lnTo>
                  <a:pt x="3378856" y="2100782"/>
                </a:lnTo>
                <a:lnTo>
                  <a:pt x="3381892" y="2088638"/>
                </a:lnTo>
                <a:lnTo>
                  <a:pt x="3375821" y="2082566"/>
                </a:lnTo>
                <a:lnTo>
                  <a:pt x="3372784" y="2082566"/>
                </a:lnTo>
                <a:lnTo>
                  <a:pt x="3369749" y="2085603"/>
                </a:lnTo>
                <a:lnTo>
                  <a:pt x="3372784" y="2076496"/>
                </a:lnTo>
                <a:lnTo>
                  <a:pt x="3378249" y="2072852"/>
                </a:lnTo>
                <a:lnTo>
                  <a:pt x="3372785" y="2067387"/>
                </a:lnTo>
                <a:lnTo>
                  <a:pt x="3375821" y="2064352"/>
                </a:lnTo>
                <a:lnTo>
                  <a:pt x="3381893" y="2067387"/>
                </a:lnTo>
                <a:lnTo>
                  <a:pt x="3379617" y="2071941"/>
                </a:lnTo>
                <a:lnTo>
                  <a:pt x="3381892" y="2070424"/>
                </a:lnTo>
                <a:lnTo>
                  <a:pt x="3387963" y="2067387"/>
                </a:lnTo>
                <a:lnTo>
                  <a:pt x="3397071" y="2067387"/>
                </a:lnTo>
                <a:lnTo>
                  <a:pt x="3406178" y="2064352"/>
                </a:lnTo>
                <a:lnTo>
                  <a:pt x="3403142" y="2049173"/>
                </a:lnTo>
                <a:lnTo>
                  <a:pt x="3400107" y="2040066"/>
                </a:lnTo>
                <a:lnTo>
                  <a:pt x="3397071" y="2037030"/>
                </a:lnTo>
                <a:lnTo>
                  <a:pt x="3397071" y="2033994"/>
                </a:lnTo>
                <a:lnTo>
                  <a:pt x="3394035" y="2021851"/>
                </a:lnTo>
                <a:lnTo>
                  <a:pt x="3397071" y="2012743"/>
                </a:lnTo>
                <a:lnTo>
                  <a:pt x="3375821" y="2015779"/>
                </a:lnTo>
                <a:lnTo>
                  <a:pt x="3360642" y="2012743"/>
                </a:lnTo>
                <a:lnTo>
                  <a:pt x="3369749" y="1994528"/>
                </a:lnTo>
                <a:lnTo>
                  <a:pt x="3369749" y="1985421"/>
                </a:lnTo>
                <a:lnTo>
                  <a:pt x="3366712" y="1982386"/>
                </a:lnTo>
                <a:lnTo>
                  <a:pt x="3366712" y="1976314"/>
                </a:lnTo>
                <a:lnTo>
                  <a:pt x="3366712" y="1967206"/>
                </a:lnTo>
                <a:lnTo>
                  <a:pt x="3363677" y="1976314"/>
                </a:lnTo>
                <a:lnTo>
                  <a:pt x="3357605" y="1976314"/>
                </a:lnTo>
                <a:lnTo>
                  <a:pt x="3357605" y="1973277"/>
                </a:lnTo>
                <a:lnTo>
                  <a:pt x="3354570" y="1979349"/>
                </a:lnTo>
                <a:lnTo>
                  <a:pt x="3354570" y="1988456"/>
                </a:lnTo>
                <a:lnTo>
                  <a:pt x="3348498" y="1997564"/>
                </a:lnTo>
                <a:lnTo>
                  <a:pt x="3348498" y="1988456"/>
                </a:lnTo>
                <a:lnTo>
                  <a:pt x="3351533" y="1967206"/>
                </a:lnTo>
                <a:lnTo>
                  <a:pt x="3351533" y="1952027"/>
                </a:lnTo>
                <a:lnTo>
                  <a:pt x="3345463" y="1952027"/>
                </a:lnTo>
                <a:lnTo>
                  <a:pt x="3339391" y="1945956"/>
                </a:lnTo>
                <a:lnTo>
                  <a:pt x="3339391" y="1942919"/>
                </a:lnTo>
                <a:lnTo>
                  <a:pt x="3345463" y="1939884"/>
                </a:lnTo>
                <a:lnTo>
                  <a:pt x="3345463" y="1933812"/>
                </a:lnTo>
                <a:lnTo>
                  <a:pt x="3351533" y="1933812"/>
                </a:lnTo>
                <a:lnTo>
                  <a:pt x="3348498" y="1930776"/>
                </a:lnTo>
                <a:lnTo>
                  <a:pt x="3348498" y="1921669"/>
                </a:lnTo>
                <a:lnTo>
                  <a:pt x="3345463" y="1912562"/>
                </a:lnTo>
                <a:lnTo>
                  <a:pt x="3348498" y="1906490"/>
                </a:lnTo>
                <a:lnTo>
                  <a:pt x="3354570" y="1894346"/>
                </a:lnTo>
                <a:lnTo>
                  <a:pt x="3357605" y="1891311"/>
                </a:lnTo>
                <a:lnTo>
                  <a:pt x="3354570" y="1885239"/>
                </a:lnTo>
                <a:lnTo>
                  <a:pt x="3360642" y="1876132"/>
                </a:lnTo>
                <a:close/>
                <a:moveTo>
                  <a:pt x="630689" y="1855640"/>
                </a:moveTo>
                <a:lnTo>
                  <a:pt x="631447" y="1857917"/>
                </a:lnTo>
                <a:lnTo>
                  <a:pt x="633565" y="1856506"/>
                </a:lnTo>
                <a:lnTo>
                  <a:pt x="633563" y="1856506"/>
                </a:lnTo>
                <a:lnTo>
                  <a:pt x="631447" y="1857916"/>
                </a:lnTo>
                <a:close/>
                <a:moveTo>
                  <a:pt x="3397071" y="1854881"/>
                </a:moveTo>
                <a:lnTo>
                  <a:pt x="3412250" y="1857917"/>
                </a:lnTo>
                <a:lnTo>
                  <a:pt x="3403142" y="1860953"/>
                </a:lnTo>
                <a:close/>
                <a:moveTo>
                  <a:pt x="3932893" y="1851846"/>
                </a:moveTo>
                <a:lnTo>
                  <a:pt x="3938964" y="1857917"/>
                </a:lnTo>
                <a:lnTo>
                  <a:pt x="3938964" y="1863988"/>
                </a:lnTo>
                <a:lnTo>
                  <a:pt x="3935928" y="1863988"/>
                </a:lnTo>
                <a:lnTo>
                  <a:pt x="3926821" y="1863988"/>
                </a:lnTo>
                <a:close/>
                <a:moveTo>
                  <a:pt x="6859412" y="1848809"/>
                </a:moveTo>
                <a:lnTo>
                  <a:pt x="6862449" y="1848809"/>
                </a:lnTo>
                <a:lnTo>
                  <a:pt x="6862449" y="1860953"/>
                </a:lnTo>
                <a:lnTo>
                  <a:pt x="6856377" y="1863988"/>
                </a:lnTo>
                <a:lnTo>
                  <a:pt x="6838161" y="1873096"/>
                </a:lnTo>
                <a:lnTo>
                  <a:pt x="6850305" y="1854881"/>
                </a:lnTo>
                <a:close/>
                <a:moveTo>
                  <a:pt x="555553" y="1803272"/>
                </a:moveTo>
                <a:lnTo>
                  <a:pt x="555553" y="1803273"/>
                </a:lnTo>
                <a:lnTo>
                  <a:pt x="563435" y="1804849"/>
                </a:lnTo>
                <a:lnTo>
                  <a:pt x="563433" y="1804848"/>
                </a:lnTo>
                <a:close/>
                <a:moveTo>
                  <a:pt x="3875213" y="1800236"/>
                </a:moveTo>
                <a:lnTo>
                  <a:pt x="3884320" y="1803272"/>
                </a:lnTo>
                <a:lnTo>
                  <a:pt x="3878248" y="1812380"/>
                </a:lnTo>
                <a:lnTo>
                  <a:pt x="3872176" y="1812380"/>
                </a:lnTo>
                <a:lnTo>
                  <a:pt x="3872176" y="1803272"/>
                </a:lnTo>
                <a:close/>
                <a:moveTo>
                  <a:pt x="431085" y="1800236"/>
                </a:moveTo>
                <a:lnTo>
                  <a:pt x="434120" y="1803273"/>
                </a:lnTo>
                <a:lnTo>
                  <a:pt x="421977" y="1818452"/>
                </a:lnTo>
                <a:lnTo>
                  <a:pt x="421977" y="1821487"/>
                </a:lnTo>
                <a:lnTo>
                  <a:pt x="415906" y="1824523"/>
                </a:lnTo>
                <a:lnTo>
                  <a:pt x="412869" y="1824523"/>
                </a:lnTo>
                <a:lnTo>
                  <a:pt x="425013" y="1803273"/>
                </a:lnTo>
                <a:close/>
                <a:moveTo>
                  <a:pt x="443227" y="1797201"/>
                </a:moveTo>
                <a:lnTo>
                  <a:pt x="452335" y="1800236"/>
                </a:lnTo>
                <a:lnTo>
                  <a:pt x="443227" y="1803273"/>
                </a:lnTo>
                <a:lnTo>
                  <a:pt x="440192" y="1803273"/>
                </a:lnTo>
                <a:lnTo>
                  <a:pt x="437156" y="1800236"/>
                </a:lnTo>
                <a:close/>
                <a:moveTo>
                  <a:pt x="39465" y="1797201"/>
                </a:moveTo>
                <a:lnTo>
                  <a:pt x="45536" y="1803273"/>
                </a:lnTo>
                <a:lnTo>
                  <a:pt x="48572" y="1815416"/>
                </a:lnTo>
                <a:lnTo>
                  <a:pt x="45536" y="1818452"/>
                </a:lnTo>
                <a:lnTo>
                  <a:pt x="33394" y="1824523"/>
                </a:lnTo>
                <a:lnTo>
                  <a:pt x="24286" y="1818452"/>
                </a:lnTo>
                <a:lnTo>
                  <a:pt x="12143" y="1812380"/>
                </a:lnTo>
                <a:lnTo>
                  <a:pt x="15178" y="1806308"/>
                </a:lnTo>
                <a:close/>
                <a:moveTo>
                  <a:pt x="2064349" y="1794165"/>
                </a:moveTo>
                <a:lnTo>
                  <a:pt x="2064349" y="1800235"/>
                </a:lnTo>
                <a:lnTo>
                  <a:pt x="2055242" y="1806307"/>
                </a:lnTo>
                <a:lnTo>
                  <a:pt x="2055242" y="1797200"/>
                </a:lnTo>
                <a:close/>
                <a:moveTo>
                  <a:pt x="3439573" y="1788094"/>
                </a:moveTo>
                <a:lnTo>
                  <a:pt x="3439573" y="1794165"/>
                </a:lnTo>
                <a:lnTo>
                  <a:pt x="3439573" y="1800236"/>
                </a:lnTo>
                <a:lnTo>
                  <a:pt x="3442608" y="1797201"/>
                </a:lnTo>
                <a:lnTo>
                  <a:pt x="3445643" y="1800236"/>
                </a:lnTo>
                <a:lnTo>
                  <a:pt x="3442608" y="1809344"/>
                </a:lnTo>
                <a:lnTo>
                  <a:pt x="3439573" y="1821487"/>
                </a:lnTo>
                <a:lnTo>
                  <a:pt x="3439573" y="1818451"/>
                </a:lnTo>
                <a:lnTo>
                  <a:pt x="3436536" y="1806308"/>
                </a:lnTo>
                <a:lnTo>
                  <a:pt x="3436536" y="1809344"/>
                </a:lnTo>
                <a:lnTo>
                  <a:pt x="3433501" y="1806308"/>
                </a:lnTo>
                <a:lnTo>
                  <a:pt x="3436536" y="1803272"/>
                </a:lnTo>
                <a:lnTo>
                  <a:pt x="3436536" y="1797201"/>
                </a:lnTo>
                <a:lnTo>
                  <a:pt x="3433501" y="1797201"/>
                </a:lnTo>
                <a:close/>
                <a:moveTo>
                  <a:pt x="3448680" y="1782022"/>
                </a:moveTo>
                <a:lnTo>
                  <a:pt x="3448680" y="1788094"/>
                </a:lnTo>
                <a:lnTo>
                  <a:pt x="3445643" y="1788094"/>
                </a:lnTo>
                <a:close/>
                <a:moveTo>
                  <a:pt x="2115959" y="1745591"/>
                </a:moveTo>
                <a:lnTo>
                  <a:pt x="2118994" y="1745591"/>
                </a:lnTo>
                <a:lnTo>
                  <a:pt x="2131138" y="1745591"/>
                </a:lnTo>
                <a:lnTo>
                  <a:pt x="2131138" y="1754699"/>
                </a:lnTo>
                <a:lnTo>
                  <a:pt x="2128102" y="1760770"/>
                </a:lnTo>
                <a:lnTo>
                  <a:pt x="2115959" y="1748627"/>
                </a:lnTo>
                <a:close/>
                <a:moveTo>
                  <a:pt x="3318141" y="1718269"/>
                </a:moveTo>
                <a:lnTo>
                  <a:pt x="3327248" y="1733448"/>
                </a:lnTo>
                <a:lnTo>
                  <a:pt x="3318141" y="1724340"/>
                </a:lnTo>
                <a:close/>
                <a:moveTo>
                  <a:pt x="1824522" y="1712197"/>
                </a:moveTo>
                <a:lnTo>
                  <a:pt x="1830593" y="1721305"/>
                </a:lnTo>
                <a:lnTo>
                  <a:pt x="1824522" y="1739520"/>
                </a:lnTo>
                <a:lnTo>
                  <a:pt x="1818450" y="1742556"/>
                </a:lnTo>
                <a:lnTo>
                  <a:pt x="1812378" y="1736484"/>
                </a:lnTo>
                <a:lnTo>
                  <a:pt x="1812378" y="1724341"/>
                </a:lnTo>
                <a:lnTo>
                  <a:pt x="1818450" y="1715233"/>
                </a:lnTo>
                <a:close/>
                <a:moveTo>
                  <a:pt x="2131138" y="1706125"/>
                </a:moveTo>
                <a:lnTo>
                  <a:pt x="2137210" y="1706125"/>
                </a:lnTo>
                <a:lnTo>
                  <a:pt x="2128102" y="1712197"/>
                </a:lnTo>
                <a:lnTo>
                  <a:pt x="2125066" y="1712197"/>
                </a:lnTo>
                <a:lnTo>
                  <a:pt x="2128102" y="1709162"/>
                </a:lnTo>
                <a:close/>
                <a:moveTo>
                  <a:pt x="1997563" y="1690946"/>
                </a:moveTo>
                <a:lnTo>
                  <a:pt x="2009705" y="1697018"/>
                </a:lnTo>
                <a:lnTo>
                  <a:pt x="2015777" y="1706125"/>
                </a:lnTo>
                <a:lnTo>
                  <a:pt x="2006670" y="1706125"/>
                </a:lnTo>
                <a:lnTo>
                  <a:pt x="1997563" y="1697018"/>
                </a:lnTo>
                <a:close/>
                <a:moveTo>
                  <a:pt x="1772913" y="1687911"/>
                </a:moveTo>
                <a:lnTo>
                  <a:pt x="1775948" y="1690946"/>
                </a:lnTo>
                <a:lnTo>
                  <a:pt x="1775948" y="1700054"/>
                </a:lnTo>
                <a:lnTo>
                  <a:pt x="1766841" y="1706125"/>
                </a:lnTo>
                <a:lnTo>
                  <a:pt x="1757734" y="1718269"/>
                </a:lnTo>
                <a:lnTo>
                  <a:pt x="1742555" y="1724341"/>
                </a:lnTo>
                <a:lnTo>
                  <a:pt x="1739519" y="1721305"/>
                </a:lnTo>
                <a:lnTo>
                  <a:pt x="1733447" y="1712197"/>
                </a:lnTo>
                <a:lnTo>
                  <a:pt x="1739519" y="1703090"/>
                </a:lnTo>
                <a:lnTo>
                  <a:pt x="1742555" y="1693983"/>
                </a:lnTo>
                <a:lnTo>
                  <a:pt x="1751662" y="1693983"/>
                </a:lnTo>
                <a:lnTo>
                  <a:pt x="1760769" y="1690946"/>
                </a:lnTo>
                <a:close/>
                <a:moveTo>
                  <a:pt x="1845772" y="1666660"/>
                </a:moveTo>
                <a:lnTo>
                  <a:pt x="1867023" y="1675767"/>
                </a:lnTo>
                <a:lnTo>
                  <a:pt x="1854879" y="1681839"/>
                </a:lnTo>
                <a:lnTo>
                  <a:pt x="1848808" y="1672732"/>
                </a:lnTo>
                <a:close/>
                <a:moveTo>
                  <a:pt x="3646008" y="1657554"/>
                </a:moveTo>
                <a:lnTo>
                  <a:pt x="3652080" y="1657554"/>
                </a:lnTo>
                <a:lnTo>
                  <a:pt x="3655115" y="1660589"/>
                </a:lnTo>
                <a:lnTo>
                  <a:pt x="3636901" y="1663625"/>
                </a:lnTo>
                <a:close/>
                <a:moveTo>
                  <a:pt x="2137210" y="1657553"/>
                </a:moveTo>
                <a:lnTo>
                  <a:pt x="2140245" y="1657553"/>
                </a:lnTo>
                <a:lnTo>
                  <a:pt x="2146317" y="1672732"/>
                </a:lnTo>
                <a:lnTo>
                  <a:pt x="2137210" y="1663625"/>
                </a:lnTo>
                <a:close/>
                <a:moveTo>
                  <a:pt x="1867023" y="1657553"/>
                </a:moveTo>
                <a:lnTo>
                  <a:pt x="1885237" y="1663625"/>
                </a:lnTo>
                <a:lnTo>
                  <a:pt x="1885237" y="1666660"/>
                </a:lnTo>
                <a:lnTo>
                  <a:pt x="1876130" y="1666660"/>
                </a:lnTo>
                <a:close/>
                <a:moveTo>
                  <a:pt x="7351213" y="1654517"/>
                </a:moveTo>
                <a:lnTo>
                  <a:pt x="7363357" y="1657553"/>
                </a:lnTo>
                <a:lnTo>
                  <a:pt x="7372464" y="1657553"/>
                </a:lnTo>
                <a:lnTo>
                  <a:pt x="7381571" y="1654517"/>
                </a:lnTo>
                <a:lnTo>
                  <a:pt x="7393715" y="1663625"/>
                </a:lnTo>
                <a:lnTo>
                  <a:pt x="7402822" y="1675768"/>
                </a:lnTo>
                <a:lnTo>
                  <a:pt x="7393715" y="1684876"/>
                </a:lnTo>
                <a:lnTo>
                  <a:pt x="7390679" y="1681839"/>
                </a:lnTo>
                <a:lnTo>
                  <a:pt x="7384607" y="1675768"/>
                </a:lnTo>
                <a:lnTo>
                  <a:pt x="7375499" y="1666661"/>
                </a:lnTo>
                <a:lnTo>
                  <a:pt x="7363357" y="1666661"/>
                </a:lnTo>
                <a:lnTo>
                  <a:pt x="7354249" y="1672732"/>
                </a:lnTo>
                <a:lnTo>
                  <a:pt x="7348177" y="1663625"/>
                </a:lnTo>
                <a:close/>
                <a:moveTo>
                  <a:pt x="2625976" y="1596836"/>
                </a:moveTo>
                <a:lnTo>
                  <a:pt x="2629013" y="1596836"/>
                </a:lnTo>
                <a:lnTo>
                  <a:pt x="2638120" y="1615051"/>
                </a:lnTo>
                <a:lnTo>
                  <a:pt x="2632048" y="1618087"/>
                </a:lnTo>
                <a:close/>
                <a:moveTo>
                  <a:pt x="3714314" y="1563444"/>
                </a:moveTo>
                <a:lnTo>
                  <a:pt x="3720386" y="1572551"/>
                </a:lnTo>
                <a:lnTo>
                  <a:pt x="3711279" y="1581658"/>
                </a:lnTo>
                <a:close/>
                <a:moveTo>
                  <a:pt x="2689728" y="1551299"/>
                </a:moveTo>
                <a:lnTo>
                  <a:pt x="2698836" y="1560406"/>
                </a:lnTo>
                <a:lnTo>
                  <a:pt x="2689728" y="1569514"/>
                </a:lnTo>
                <a:lnTo>
                  <a:pt x="2683657" y="1560406"/>
                </a:lnTo>
                <a:close/>
                <a:moveTo>
                  <a:pt x="1700054" y="1545228"/>
                </a:moveTo>
                <a:lnTo>
                  <a:pt x="1706124" y="1551299"/>
                </a:lnTo>
                <a:lnTo>
                  <a:pt x="1712196" y="1560407"/>
                </a:lnTo>
                <a:lnTo>
                  <a:pt x="1715233" y="1566478"/>
                </a:lnTo>
                <a:lnTo>
                  <a:pt x="1724340" y="1575585"/>
                </a:lnTo>
                <a:lnTo>
                  <a:pt x="1748626" y="1593801"/>
                </a:lnTo>
                <a:lnTo>
                  <a:pt x="1757734" y="1602908"/>
                </a:lnTo>
                <a:lnTo>
                  <a:pt x="1769877" y="1605944"/>
                </a:lnTo>
                <a:lnTo>
                  <a:pt x="1778985" y="1618087"/>
                </a:lnTo>
                <a:lnTo>
                  <a:pt x="1782020" y="1630231"/>
                </a:lnTo>
                <a:lnTo>
                  <a:pt x="1778985" y="1636302"/>
                </a:lnTo>
                <a:lnTo>
                  <a:pt x="1775948" y="1636302"/>
                </a:lnTo>
                <a:lnTo>
                  <a:pt x="1775948" y="1639338"/>
                </a:lnTo>
                <a:lnTo>
                  <a:pt x="1794164" y="1636302"/>
                </a:lnTo>
                <a:lnTo>
                  <a:pt x="1794164" y="1633266"/>
                </a:lnTo>
                <a:lnTo>
                  <a:pt x="1800234" y="1636302"/>
                </a:lnTo>
                <a:lnTo>
                  <a:pt x="1812378" y="1648446"/>
                </a:lnTo>
                <a:lnTo>
                  <a:pt x="1794164" y="1663625"/>
                </a:lnTo>
                <a:lnTo>
                  <a:pt x="1782020" y="1660588"/>
                </a:lnTo>
                <a:lnTo>
                  <a:pt x="1769877" y="1654517"/>
                </a:lnTo>
                <a:lnTo>
                  <a:pt x="1763805" y="1654517"/>
                </a:lnTo>
                <a:lnTo>
                  <a:pt x="1763805" y="1648446"/>
                </a:lnTo>
                <a:lnTo>
                  <a:pt x="1760769" y="1639338"/>
                </a:lnTo>
                <a:lnTo>
                  <a:pt x="1754698" y="1633266"/>
                </a:lnTo>
                <a:lnTo>
                  <a:pt x="1742555" y="1633266"/>
                </a:lnTo>
                <a:lnTo>
                  <a:pt x="1739519" y="1636302"/>
                </a:lnTo>
                <a:lnTo>
                  <a:pt x="1739519" y="1642374"/>
                </a:lnTo>
                <a:lnTo>
                  <a:pt x="1739519" y="1651481"/>
                </a:lnTo>
                <a:lnTo>
                  <a:pt x="1730411" y="1660588"/>
                </a:lnTo>
                <a:lnTo>
                  <a:pt x="1709161" y="1678804"/>
                </a:lnTo>
                <a:lnTo>
                  <a:pt x="1700054" y="1678804"/>
                </a:lnTo>
                <a:lnTo>
                  <a:pt x="1697017" y="1651481"/>
                </a:lnTo>
                <a:lnTo>
                  <a:pt x="1684875" y="1657553"/>
                </a:lnTo>
                <a:lnTo>
                  <a:pt x="1666659" y="1660588"/>
                </a:lnTo>
                <a:lnTo>
                  <a:pt x="1672731" y="1645409"/>
                </a:lnTo>
                <a:lnTo>
                  <a:pt x="1675767" y="1639338"/>
                </a:lnTo>
                <a:lnTo>
                  <a:pt x="1684875" y="1630231"/>
                </a:lnTo>
                <a:lnTo>
                  <a:pt x="1684875" y="1618087"/>
                </a:lnTo>
                <a:lnTo>
                  <a:pt x="1684875" y="1602908"/>
                </a:lnTo>
                <a:lnTo>
                  <a:pt x="1687910" y="1590765"/>
                </a:lnTo>
                <a:lnTo>
                  <a:pt x="1687910" y="1578622"/>
                </a:lnTo>
                <a:close/>
                <a:moveTo>
                  <a:pt x="1715233" y="1542192"/>
                </a:moveTo>
                <a:lnTo>
                  <a:pt x="1721304" y="1557371"/>
                </a:lnTo>
                <a:lnTo>
                  <a:pt x="1715233" y="1563443"/>
                </a:lnTo>
                <a:lnTo>
                  <a:pt x="1709161" y="1548264"/>
                </a:lnTo>
                <a:close/>
                <a:moveTo>
                  <a:pt x="1724340" y="1536120"/>
                </a:moveTo>
                <a:lnTo>
                  <a:pt x="1733447" y="1542192"/>
                </a:lnTo>
                <a:lnTo>
                  <a:pt x="1745590" y="1554336"/>
                </a:lnTo>
                <a:lnTo>
                  <a:pt x="1742555" y="1560407"/>
                </a:lnTo>
                <a:lnTo>
                  <a:pt x="1736483" y="1560407"/>
                </a:lnTo>
                <a:lnTo>
                  <a:pt x="1739519" y="1554336"/>
                </a:lnTo>
                <a:lnTo>
                  <a:pt x="1733447" y="1551299"/>
                </a:lnTo>
                <a:lnTo>
                  <a:pt x="1730411" y="1548264"/>
                </a:lnTo>
                <a:lnTo>
                  <a:pt x="1724340" y="1542192"/>
                </a:lnTo>
                <a:close/>
                <a:moveTo>
                  <a:pt x="3132956" y="1514869"/>
                </a:moveTo>
                <a:lnTo>
                  <a:pt x="3142063" y="1523977"/>
                </a:lnTo>
                <a:lnTo>
                  <a:pt x="3151172" y="1533085"/>
                </a:lnTo>
                <a:lnTo>
                  <a:pt x="3157243" y="1539155"/>
                </a:lnTo>
                <a:lnTo>
                  <a:pt x="3169386" y="1554335"/>
                </a:lnTo>
                <a:lnTo>
                  <a:pt x="3172422" y="1560406"/>
                </a:lnTo>
                <a:lnTo>
                  <a:pt x="3181530" y="1560406"/>
                </a:lnTo>
                <a:lnTo>
                  <a:pt x="3184565" y="1566478"/>
                </a:lnTo>
                <a:lnTo>
                  <a:pt x="3184565" y="1581657"/>
                </a:lnTo>
                <a:lnTo>
                  <a:pt x="3181530" y="1599872"/>
                </a:lnTo>
                <a:lnTo>
                  <a:pt x="3175458" y="1605944"/>
                </a:lnTo>
                <a:lnTo>
                  <a:pt x="3163314" y="1621123"/>
                </a:lnTo>
                <a:lnTo>
                  <a:pt x="3160279" y="1624158"/>
                </a:lnTo>
                <a:lnTo>
                  <a:pt x="3160279" y="1627195"/>
                </a:lnTo>
                <a:lnTo>
                  <a:pt x="3154207" y="1627195"/>
                </a:lnTo>
                <a:lnTo>
                  <a:pt x="3129921" y="1639337"/>
                </a:lnTo>
                <a:lnTo>
                  <a:pt x="3117777" y="1648446"/>
                </a:lnTo>
                <a:lnTo>
                  <a:pt x="3090455" y="1663625"/>
                </a:lnTo>
                <a:lnTo>
                  <a:pt x="3066169" y="1663625"/>
                </a:lnTo>
                <a:lnTo>
                  <a:pt x="3038846" y="1651481"/>
                </a:lnTo>
                <a:lnTo>
                  <a:pt x="3026704" y="1648446"/>
                </a:lnTo>
                <a:lnTo>
                  <a:pt x="3011524" y="1648446"/>
                </a:lnTo>
                <a:lnTo>
                  <a:pt x="3002417" y="1648446"/>
                </a:lnTo>
                <a:lnTo>
                  <a:pt x="2996345" y="1642374"/>
                </a:lnTo>
                <a:lnTo>
                  <a:pt x="3005453" y="1639337"/>
                </a:lnTo>
                <a:lnTo>
                  <a:pt x="3014560" y="1636302"/>
                </a:lnTo>
                <a:lnTo>
                  <a:pt x="3011524" y="1621123"/>
                </a:lnTo>
                <a:lnTo>
                  <a:pt x="3008488" y="1605944"/>
                </a:lnTo>
                <a:lnTo>
                  <a:pt x="2996345" y="1599872"/>
                </a:lnTo>
                <a:lnTo>
                  <a:pt x="2984202" y="1599872"/>
                </a:lnTo>
                <a:lnTo>
                  <a:pt x="2975094" y="1605944"/>
                </a:lnTo>
                <a:lnTo>
                  <a:pt x="2969023" y="1596836"/>
                </a:lnTo>
                <a:lnTo>
                  <a:pt x="2975094" y="1596836"/>
                </a:lnTo>
                <a:lnTo>
                  <a:pt x="2984202" y="1593801"/>
                </a:lnTo>
                <a:lnTo>
                  <a:pt x="2993309" y="1587729"/>
                </a:lnTo>
                <a:lnTo>
                  <a:pt x="3017595" y="1569514"/>
                </a:lnTo>
                <a:lnTo>
                  <a:pt x="2999381" y="1566478"/>
                </a:lnTo>
                <a:lnTo>
                  <a:pt x="2984202" y="1566478"/>
                </a:lnTo>
                <a:lnTo>
                  <a:pt x="2972059" y="1572550"/>
                </a:lnTo>
                <a:lnTo>
                  <a:pt x="2959915" y="1566478"/>
                </a:lnTo>
                <a:lnTo>
                  <a:pt x="2975094" y="1539155"/>
                </a:lnTo>
                <a:lnTo>
                  <a:pt x="2987238" y="1523977"/>
                </a:lnTo>
                <a:lnTo>
                  <a:pt x="2999381" y="1520941"/>
                </a:lnTo>
                <a:lnTo>
                  <a:pt x="3005453" y="1527013"/>
                </a:lnTo>
                <a:lnTo>
                  <a:pt x="3011524" y="1530048"/>
                </a:lnTo>
                <a:lnTo>
                  <a:pt x="3017595" y="1533085"/>
                </a:lnTo>
                <a:lnTo>
                  <a:pt x="3026704" y="1542192"/>
                </a:lnTo>
                <a:lnTo>
                  <a:pt x="3026704" y="1551299"/>
                </a:lnTo>
                <a:lnTo>
                  <a:pt x="3032774" y="1569514"/>
                </a:lnTo>
                <a:lnTo>
                  <a:pt x="3038846" y="1560406"/>
                </a:lnTo>
                <a:lnTo>
                  <a:pt x="3041883" y="1566478"/>
                </a:lnTo>
                <a:lnTo>
                  <a:pt x="3047953" y="1560406"/>
                </a:lnTo>
                <a:lnTo>
                  <a:pt x="3047953" y="1548264"/>
                </a:lnTo>
                <a:lnTo>
                  <a:pt x="3044918" y="1536120"/>
                </a:lnTo>
                <a:lnTo>
                  <a:pt x="3050990" y="1536120"/>
                </a:lnTo>
                <a:lnTo>
                  <a:pt x="3060097" y="1554335"/>
                </a:lnTo>
                <a:lnTo>
                  <a:pt x="3063133" y="1545227"/>
                </a:lnTo>
                <a:lnTo>
                  <a:pt x="3066169" y="1539155"/>
                </a:lnTo>
                <a:lnTo>
                  <a:pt x="3069204" y="1536120"/>
                </a:lnTo>
                <a:lnTo>
                  <a:pt x="3075276" y="1533085"/>
                </a:lnTo>
                <a:lnTo>
                  <a:pt x="3081348" y="1536120"/>
                </a:lnTo>
                <a:lnTo>
                  <a:pt x="3096527" y="1533085"/>
                </a:lnTo>
                <a:lnTo>
                  <a:pt x="3099563" y="1539155"/>
                </a:lnTo>
                <a:lnTo>
                  <a:pt x="3105634" y="1536120"/>
                </a:lnTo>
                <a:lnTo>
                  <a:pt x="3114742" y="1533085"/>
                </a:lnTo>
                <a:lnTo>
                  <a:pt x="3117777" y="1536120"/>
                </a:lnTo>
                <a:lnTo>
                  <a:pt x="3120814" y="1536120"/>
                </a:lnTo>
                <a:lnTo>
                  <a:pt x="3126885" y="1533085"/>
                </a:lnTo>
                <a:lnTo>
                  <a:pt x="3126885" y="1530048"/>
                </a:lnTo>
                <a:lnTo>
                  <a:pt x="3126885" y="1523977"/>
                </a:lnTo>
                <a:close/>
                <a:moveTo>
                  <a:pt x="1933811" y="1429867"/>
                </a:moveTo>
                <a:lnTo>
                  <a:pt x="1945954" y="1435938"/>
                </a:lnTo>
                <a:lnTo>
                  <a:pt x="1952025" y="1438975"/>
                </a:lnTo>
                <a:lnTo>
                  <a:pt x="1952025" y="1451117"/>
                </a:lnTo>
                <a:lnTo>
                  <a:pt x="1939882" y="1448082"/>
                </a:lnTo>
                <a:lnTo>
                  <a:pt x="1924703" y="1442010"/>
                </a:lnTo>
                <a:close/>
                <a:moveTo>
                  <a:pt x="3744673" y="1420760"/>
                </a:moveTo>
                <a:lnTo>
                  <a:pt x="3756815" y="1423796"/>
                </a:lnTo>
                <a:lnTo>
                  <a:pt x="3750744" y="1429867"/>
                </a:lnTo>
                <a:lnTo>
                  <a:pt x="3744673" y="1432904"/>
                </a:lnTo>
                <a:close/>
                <a:moveTo>
                  <a:pt x="1675766" y="1420760"/>
                </a:moveTo>
                <a:lnTo>
                  <a:pt x="1681838" y="1426831"/>
                </a:lnTo>
                <a:lnTo>
                  <a:pt x="1681838" y="1448082"/>
                </a:lnTo>
                <a:lnTo>
                  <a:pt x="1672730" y="1442010"/>
                </a:lnTo>
                <a:close/>
                <a:moveTo>
                  <a:pt x="1900416" y="1417724"/>
                </a:moveTo>
                <a:lnTo>
                  <a:pt x="1912560" y="1420760"/>
                </a:lnTo>
                <a:lnTo>
                  <a:pt x="1918632" y="1429867"/>
                </a:lnTo>
                <a:lnTo>
                  <a:pt x="1915595" y="1445046"/>
                </a:lnTo>
                <a:lnTo>
                  <a:pt x="1918632" y="1463261"/>
                </a:lnTo>
                <a:lnTo>
                  <a:pt x="1906488" y="1472368"/>
                </a:lnTo>
                <a:lnTo>
                  <a:pt x="1891309" y="1478440"/>
                </a:lnTo>
                <a:lnTo>
                  <a:pt x="1879166" y="1478440"/>
                </a:lnTo>
                <a:lnTo>
                  <a:pt x="1876130" y="1475405"/>
                </a:lnTo>
                <a:lnTo>
                  <a:pt x="1873095" y="1466296"/>
                </a:lnTo>
                <a:lnTo>
                  <a:pt x="1870058" y="1454154"/>
                </a:lnTo>
                <a:lnTo>
                  <a:pt x="1873095" y="1445046"/>
                </a:lnTo>
                <a:lnTo>
                  <a:pt x="1882202" y="1423796"/>
                </a:lnTo>
                <a:close/>
                <a:moveTo>
                  <a:pt x="3775031" y="1411653"/>
                </a:moveTo>
                <a:lnTo>
                  <a:pt x="3765924" y="1423796"/>
                </a:lnTo>
                <a:lnTo>
                  <a:pt x="3759852" y="1429867"/>
                </a:lnTo>
                <a:lnTo>
                  <a:pt x="3756815" y="1429867"/>
                </a:lnTo>
                <a:lnTo>
                  <a:pt x="3765924" y="1414688"/>
                </a:lnTo>
                <a:close/>
                <a:moveTo>
                  <a:pt x="1299325" y="1405581"/>
                </a:moveTo>
                <a:lnTo>
                  <a:pt x="1305397" y="1405581"/>
                </a:lnTo>
                <a:lnTo>
                  <a:pt x="1308433" y="1414688"/>
                </a:lnTo>
                <a:close/>
                <a:moveTo>
                  <a:pt x="1839700" y="1399509"/>
                </a:moveTo>
                <a:lnTo>
                  <a:pt x="1845772" y="1402545"/>
                </a:lnTo>
                <a:lnTo>
                  <a:pt x="1842736" y="1408616"/>
                </a:lnTo>
                <a:lnTo>
                  <a:pt x="1839700" y="1411652"/>
                </a:lnTo>
                <a:lnTo>
                  <a:pt x="1836665" y="1408616"/>
                </a:lnTo>
                <a:close/>
                <a:moveTo>
                  <a:pt x="1912560" y="1396473"/>
                </a:moveTo>
                <a:lnTo>
                  <a:pt x="1921667" y="1408616"/>
                </a:lnTo>
                <a:lnTo>
                  <a:pt x="1921667" y="1417724"/>
                </a:lnTo>
                <a:lnTo>
                  <a:pt x="1918632" y="1417724"/>
                </a:lnTo>
                <a:lnTo>
                  <a:pt x="1909524" y="1408616"/>
                </a:lnTo>
                <a:close/>
                <a:moveTo>
                  <a:pt x="1360043" y="1390402"/>
                </a:moveTo>
                <a:lnTo>
                  <a:pt x="1366115" y="1393437"/>
                </a:lnTo>
                <a:lnTo>
                  <a:pt x="1353971" y="1399509"/>
                </a:lnTo>
                <a:close/>
                <a:moveTo>
                  <a:pt x="3799317" y="1384330"/>
                </a:moveTo>
                <a:lnTo>
                  <a:pt x="3805389" y="1405581"/>
                </a:lnTo>
                <a:lnTo>
                  <a:pt x="3796281" y="1414688"/>
                </a:lnTo>
                <a:lnTo>
                  <a:pt x="3790210" y="1417724"/>
                </a:lnTo>
                <a:lnTo>
                  <a:pt x="3775031" y="1420760"/>
                </a:lnTo>
                <a:lnTo>
                  <a:pt x="3784138" y="1390402"/>
                </a:lnTo>
                <a:close/>
                <a:moveTo>
                  <a:pt x="3775031" y="1378258"/>
                </a:moveTo>
                <a:lnTo>
                  <a:pt x="3781103" y="1396474"/>
                </a:lnTo>
                <a:lnTo>
                  <a:pt x="3768959" y="1399509"/>
                </a:lnTo>
                <a:lnTo>
                  <a:pt x="3762887" y="1399509"/>
                </a:lnTo>
                <a:lnTo>
                  <a:pt x="3762887" y="1390402"/>
                </a:lnTo>
                <a:lnTo>
                  <a:pt x="3768959" y="1384330"/>
                </a:lnTo>
                <a:close/>
                <a:moveTo>
                  <a:pt x="1390401" y="1378258"/>
                </a:moveTo>
                <a:lnTo>
                  <a:pt x="1396473" y="1381294"/>
                </a:lnTo>
                <a:lnTo>
                  <a:pt x="1399508" y="1393437"/>
                </a:lnTo>
                <a:lnTo>
                  <a:pt x="1390401" y="1393437"/>
                </a:lnTo>
                <a:close/>
                <a:moveTo>
                  <a:pt x="3790210" y="1366116"/>
                </a:moveTo>
                <a:lnTo>
                  <a:pt x="3799317" y="1366116"/>
                </a:lnTo>
                <a:lnTo>
                  <a:pt x="3790210" y="1381295"/>
                </a:lnTo>
                <a:lnTo>
                  <a:pt x="3784138" y="1384330"/>
                </a:lnTo>
                <a:close/>
                <a:moveTo>
                  <a:pt x="1845772" y="1357007"/>
                </a:moveTo>
                <a:lnTo>
                  <a:pt x="1851844" y="1363079"/>
                </a:lnTo>
                <a:lnTo>
                  <a:pt x="1845772" y="1378258"/>
                </a:lnTo>
                <a:lnTo>
                  <a:pt x="1830593" y="1390402"/>
                </a:lnTo>
                <a:lnTo>
                  <a:pt x="1827557" y="1384330"/>
                </a:lnTo>
                <a:lnTo>
                  <a:pt x="1833629" y="1375223"/>
                </a:lnTo>
                <a:close/>
                <a:moveTo>
                  <a:pt x="4485410" y="1353972"/>
                </a:moveTo>
                <a:lnTo>
                  <a:pt x="4500589" y="1366116"/>
                </a:lnTo>
                <a:lnTo>
                  <a:pt x="4503625" y="1372187"/>
                </a:lnTo>
                <a:lnTo>
                  <a:pt x="4500589" y="1381295"/>
                </a:lnTo>
                <a:lnTo>
                  <a:pt x="4485410" y="1390402"/>
                </a:lnTo>
                <a:lnTo>
                  <a:pt x="4476303" y="1396474"/>
                </a:lnTo>
                <a:lnTo>
                  <a:pt x="4467195" y="1396474"/>
                </a:lnTo>
                <a:lnTo>
                  <a:pt x="4461124" y="1387367"/>
                </a:lnTo>
                <a:lnTo>
                  <a:pt x="4461124" y="1375223"/>
                </a:lnTo>
                <a:lnTo>
                  <a:pt x="4464160" y="1357008"/>
                </a:lnTo>
                <a:close/>
                <a:moveTo>
                  <a:pt x="1876130" y="1353972"/>
                </a:moveTo>
                <a:lnTo>
                  <a:pt x="1882202" y="1357007"/>
                </a:lnTo>
                <a:lnTo>
                  <a:pt x="1882202" y="1366115"/>
                </a:lnTo>
                <a:lnTo>
                  <a:pt x="1873095" y="1372186"/>
                </a:lnTo>
                <a:lnTo>
                  <a:pt x="1870058" y="1363079"/>
                </a:lnTo>
                <a:close/>
                <a:moveTo>
                  <a:pt x="1487546" y="1350936"/>
                </a:moveTo>
                <a:lnTo>
                  <a:pt x="1490582" y="1353972"/>
                </a:lnTo>
                <a:lnTo>
                  <a:pt x="1487546" y="1357007"/>
                </a:lnTo>
                <a:close/>
                <a:moveTo>
                  <a:pt x="3817532" y="1347900"/>
                </a:moveTo>
                <a:lnTo>
                  <a:pt x="3832711" y="1347900"/>
                </a:lnTo>
                <a:lnTo>
                  <a:pt x="3832711" y="1357008"/>
                </a:lnTo>
                <a:lnTo>
                  <a:pt x="3829675" y="1369151"/>
                </a:lnTo>
                <a:lnTo>
                  <a:pt x="3811460" y="1375223"/>
                </a:lnTo>
                <a:lnTo>
                  <a:pt x="3814496" y="1369151"/>
                </a:lnTo>
                <a:lnTo>
                  <a:pt x="3808424" y="1363079"/>
                </a:lnTo>
                <a:lnTo>
                  <a:pt x="3808424" y="1357008"/>
                </a:lnTo>
                <a:close/>
                <a:moveTo>
                  <a:pt x="1469331" y="1347900"/>
                </a:moveTo>
                <a:lnTo>
                  <a:pt x="1478438" y="1347900"/>
                </a:lnTo>
                <a:lnTo>
                  <a:pt x="1481475" y="1347900"/>
                </a:lnTo>
                <a:lnTo>
                  <a:pt x="1481475" y="1360044"/>
                </a:lnTo>
                <a:lnTo>
                  <a:pt x="1478438" y="1360044"/>
                </a:lnTo>
                <a:close/>
                <a:moveTo>
                  <a:pt x="701271" y="1347900"/>
                </a:moveTo>
                <a:lnTo>
                  <a:pt x="704307" y="1347900"/>
                </a:lnTo>
                <a:lnTo>
                  <a:pt x="704307" y="1353972"/>
                </a:lnTo>
                <a:lnTo>
                  <a:pt x="695200" y="1366115"/>
                </a:lnTo>
                <a:lnTo>
                  <a:pt x="686092" y="1375223"/>
                </a:lnTo>
                <a:lnTo>
                  <a:pt x="670914" y="1381294"/>
                </a:lnTo>
                <a:lnTo>
                  <a:pt x="661806" y="1375223"/>
                </a:lnTo>
                <a:lnTo>
                  <a:pt x="661806" y="1366115"/>
                </a:lnTo>
                <a:lnTo>
                  <a:pt x="664842" y="1360044"/>
                </a:lnTo>
                <a:lnTo>
                  <a:pt x="680021" y="1353972"/>
                </a:lnTo>
                <a:lnTo>
                  <a:pt x="689128" y="1350936"/>
                </a:lnTo>
                <a:close/>
                <a:moveTo>
                  <a:pt x="1487546" y="1344865"/>
                </a:moveTo>
                <a:lnTo>
                  <a:pt x="1496654" y="1347900"/>
                </a:lnTo>
                <a:lnTo>
                  <a:pt x="1496654" y="1353972"/>
                </a:lnTo>
                <a:lnTo>
                  <a:pt x="1493617" y="1363079"/>
                </a:lnTo>
                <a:lnTo>
                  <a:pt x="1490582" y="1363079"/>
                </a:lnTo>
                <a:lnTo>
                  <a:pt x="1493617" y="1357007"/>
                </a:lnTo>
                <a:lnTo>
                  <a:pt x="1490582" y="1347900"/>
                </a:lnTo>
                <a:lnTo>
                  <a:pt x="1487546" y="1350936"/>
                </a:lnTo>
                <a:close/>
                <a:moveTo>
                  <a:pt x="1857915" y="1338793"/>
                </a:moveTo>
                <a:lnTo>
                  <a:pt x="1851844" y="1347900"/>
                </a:lnTo>
                <a:lnTo>
                  <a:pt x="1845772" y="1353972"/>
                </a:lnTo>
                <a:lnTo>
                  <a:pt x="1839700" y="1353972"/>
                </a:lnTo>
                <a:lnTo>
                  <a:pt x="1845772" y="1341828"/>
                </a:lnTo>
                <a:close/>
                <a:moveTo>
                  <a:pt x="1438973" y="1335757"/>
                </a:moveTo>
                <a:lnTo>
                  <a:pt x="1454152" y="1335757"/>
                </a:lnTo>
                <a:lnTo>
                  <a:pt x="1472366" y="1353972"/>
                </a:lnTo>
                <a:lnTo>
                  <a:pt x="1487546" y="1375223"/>
                </a:lnTo>
                <a:lnTo>
                  <a:pt x="1493617" y="1390402"/>
                </a:lnTo>
                <a:lnTo>
                  <a:pt x="1502725" y="1390402"/>
                </a:lnTo>
                <a:lnTo>
                  <a:pt x="1496654" y="1396473"/>
                </a:lnTo>
                <a:lnTo>
                  <a:pt x="1493617" y="1393437"/>
                </a:lnTo>
                <a:lnTo>
                  <a:pt x="1490582" y="1396473"/>
                </a:lnTo>
                <a:lnTo>
                  <a:pt x="1478438" y="1408616"/>
                </a:lnTo>
                <a:lnTo>
                  <a:pt x="1469331" y="1411652"/>
                </a:lnTo>
                <a:lnTo>
                  <a:pt x="1454152" y="1405581"/>
                </a:lnTo>
                <a:lnTo>
                  <a:pt x="1445045" y="1396473"/>
                </a:lnTo>
                <a:lnTo>
                  <a:pt x="1429865" y="1390402"/>
                </a:lnTo>
                <a:lnTo>
                  <a:pt x="1414686" y="1387366"/>
                </a:lnTo>
                <a:lnTo>
                  <a:pt x="1411651" y="1381294"/>
                </a:lnTo>
                <a:lnTo>
                  <a:pt x="1411651" y="1375223"/>
                </a:lnTo>
                <a:lnTo>
                  <a:pt x="1423794" y="1372186"/>
                </a:lnTo>
                <a:lnTo>
                  <a:pt x="1435937" y="1363079"/>
                </a:lnTo>
                <a:lnTo>
                  <a:pt x="1432901" y="1347900"/>
                </a:lnTo>
                <a:close/>
                <a:moveTo>
                  <a:pt x="1821485" y="1332721"/>
                </a:moveTo>
                <a:lnTo>
                  <a:pt x="1827557" y="1338793"/>
                </a:lnTo>
                <a:lnTo>
                  <a:pt x="1824522" y="1344865"/>
                </a:lnTo>
                <a:lnTo>
                  <a:pt x="1815414" y="1347900"/>
                </a:lnTo>
                <a:lnTo>
                  <a:pt x="1800234" y="1338793"/>
                </a:lnTo>
                <a:lnTo>
                  <a:pt x="1806306" y="1335757"/>
                </a:lnTo>
                <a:lnTo>
                  <a:pt x="1818450" y="1335757"/>
                </a:lnTo>
                <a:lnTo>
                  <a:pt x="1821485" y="1335757"/>
                </a:lnTo>
                <a:close/>
                <a:moveTo>
                  <a:pt x="3844854" y="1326650"/>
                </a:moveTo>
                <a:lnTo>
                  <a:pt x="3850925" y="1326650"/>
                </a:lnTo>
                <a:lnTo>
                  <a:pt x="3853962" y="1329686"/>
                </a:lnTo>
                <a:lnTo>
                  <a:pt x="3847890" y="1344865"/>
                </a:lnTo>
                <a:lnTo>
                  <a:pt x="3838783" y="1347900"/>
                </a:lnTo>
                <a:lnTo>
                  <a:pt x="3832711" y="1341829"/>
                </a:lnTo>
                <a:close/>
                <a:moveTo>
                  <a:pt x="2410434" y="1326649"/>
                </a:moveTo>
                <a:lnTo>
                  <a:pt x="2419542" y="1332721"/>
                </a:lnTo>
                <a:lnTo>
                  <a:pt x="2413470" y="1344864"/>
                </a:lnTo>
                <a:lnTo>
                  <a:pt x="2410434" y="1350935"/>
                </a:lnTo>
                <a:lnTo>
                  <a:pt x="2404363" y="1341828"/>
                </a:lnTo>
                <a:close/>
                <a:moveTo>
                  <a:pt x="6935307" y="1320578"/>
                </a:moveTo>
                <a:lnTo>
                  <a:pt x="6944415" y="1323614"/>
                </a:lnTo>
                <a:lnTo>
                  <a:pt x="6956559" y="1326649"/>
                </a:lnTo>
                <a:lnTo>
                  <a:pt x="6962631" y="1335757"/>
                </a:lnTo>
                <a:lnTo>
                  <a:pt x="6956559" y="1347900"/>
                </a:lnTo>
                <a:lnTo>
                  <a:pt x="6947450" y="1344865"/>
                </a:lnTo>
                <a:lnTo>
                  <a:pt x="6926201" y="1329686"/>
                </a:lnTo>
                <a:close/>
                <a:moveTo>
                  <a:pt x="3866104" y="1314506"/>
                </a:moveTo>
                <a:lnTo>
                  <a:pt x="3872176" y="1317543"/>
                </a:lnTo>
                <a:lnTo>
                  <a:pt x="3869141" y="1323614"/>
                </a:lnTo>
                <a:lnTo>
                  <a:pt x="3860034" y="1329686"/>
                </a:lnTo>
                <a:lnTo>
                  <a:pt x="3853962" y="1323614"/>
                </a:lnTo>
                <a:lnTo>
                  <a:pt x="3853962" y="1317543"/>
                </a:lnTo>
                <a:close/>
                <a:moveTo>
                  <a:pt x="1663624" y="1314506"/>
                </a:moveTo>
                <a:lnTo>
                  <a:pt x="1666659" y="1314506"/>
                </a:lnTo>
                <a:lnTo>
                  <a:pt x="1681839" y="1320578"/>
                </a:lnTo>
                <a:lnTo>
                  <a:pt x="1672731" y="1323614"/>
                </a:lnTo>
                <a:close/>
                <a:moveTo>
                  <a:pt x="3869141" y="1305399"/>
                </a:moveTo>
                <a:lnTo>
                  <a:pt x="3881283" y="1314506"/>
                </a:lnTo>
                <a:lnTo>
                  <a:pt x="3875213" y="1317543"/>
                </a:lnTo>
                <a:close/>
                <a:moveTo>
                  <a:pt x="2346682" y="1302363"/>
                </a:moveTo>
                <a:lnTo>
                  <a:pt x="2367933" y="1308434"/>
                </a:lnTo>
                <a:lnTo>
                  <a:pt x="2380076" y="1329685"/>
                </a:lnTo>
                <a:lnTo>
                  <a:pt x="2392219" y="1332721"/>
                </a:lnTo>
                <a:lnTo>
                  <a:pt x="2395255" y="1344864"/>
                </a:lnTo>
                <a:lnTo>
                  <a:pt x="2392219" y="1350935"/>
                </a:lnTo>
                <a:lnTo>
                  <a:pt x="2367933" y="1363078"/>
                </a:lnTo>
                <a:lnTo>
                  <a:pt x="2346682" y="1357007"/>
                </a:lnTo>
                <a:lnTo>
                  <a:pt x="2331503" y="1341828"/>
                </a:lnTo>
                <a:lnTo>
                  <a:pt x="2334539" y="1335756"/>
                </a:lnTo>
                <a:lnTo>
                  <a:pt x="2340610" y="1323613"/>
                </a:lnTo>
                <a:lnTo>
                  <a:pt x="2334539" y="1308434"/>
                </a:lnTo>
                <a:close/>
                <a:moveTo>
                  <a:pt x="4685774" y="1290219"/>
                </a:moveTo>
                <a:lnTo>
                  <a:pt x="4713096" y="1320577"/>
                </a:lnTo>
                <a:lnTo>
                  <a:pt x="4716132" y="1329685"/>
                </a:lnTo>
                <a:lnTo>
                  <a:pt x="4710060" y="1335756"/>
                </a:lnTo>
                <a:lnTo>
                  <a:pt x="4697917" y="1335756"/>
                </a:lnTo>
                <a:lnTo>
                  <a:pt x="4694881" y="1332721"/>
                </a:lnTo>
                <a:lnTo>
                  <a:pt x="4694881" y="1329685"/>
                </a:lnTo>
                <a:lnTo>
                  <a:pt x="4682738" y="1323613"/>
                </a:lnTo>
                <a:lnTo>
                  <a:pt x="4673630" y="1314505"/>
                </a:lnTo>
                <a:lnTo>
                  <a:pt x="4670594" y="1302363"/>
                </a:lnTo>
                <a:lnTo>
                  <a:pt x="4676666" y="1296291"/>
                </a:lnTo>
                <a:close/>
                <a:moveTo>
                  <a:pt x="3951107" y="1284148"/>
                </a:moveTo>
                <a:lnTo>
                  <a:pt x="3951107" y="1299327"/>
                </a:lnTo>
                <a:lnTo>
                  <a:pt x="3942000" y="1305399"/>
                </a:lnTo>
                <a:lnTo>
                  <a:pt x="3935928" y="1296292"/>
                </a:lnTo>
                <a:lnTo>
                  <a:pt x="3945036" y="1287185"/>
                </a:lnTo>
                <a:close/>
                <a:moveTo>
                  <a:pt x="3926821" y="1278076"/>
                </a:moveTo>
                <a:lnTo>
                  <a:pt x="3932893" y="1281113"/>
                </a:lnTo>
                <a:lnTo>
                  <a:pt x="3920749" y="1293256"/>
                </a:lnTo>
                <a:lnTo>
                  <a:pt x="3926821" y="1284148"/>
                </a:lnTo>
                <a:close/>
                <a:moveTo>
                  <a:pt x="3954143" y="1272006"/>
                </a:moveTo>
                <a:lnTo>
                  <a:pt x="3960215" y="1275041"/>
                </a:lnTo>
                <a:lnTo>
                  <a:pt x="3954143" y="1287185"/>
                </a:lnTo>
                <a:close/>
                <a:moveTo>
                  <a:pt x="2935629" y="1256826"/>
                </a:moveTo>
                <a:lnTo>
                  <a:pt x="2941701" y="1268968"/>
                </a:lnTo>
                <a:lnTo>
                  <a:pt x="2944736" y="1281112"/>
                </a:lnTo>
                <a:lnTo>
                  <a:pt x="2932594" y="1287184"/>
                </a:lnTo>
                <a:lnTo>
                  <a:pt x="2926522" y="1287184"/>
                </a:lnTo>
                <a:lnTo>
                  <a:pt x="2920450" y="1290219"/>
                </a:lnTo>
                <a:lnTo>
                  <a:pt x="2908306" y="1290219"/>
                </a:lnTo>
                <a:lnTo>
                  <a:pt x="2893127" y="1296291"/>
                </a:lnTo>
                <a:lnTo>
                  <a:pt x="2887056" y="1287184"/>
                </a:lnTo>
                <a:lnTo>
                  <a:pt x="2899199" y="1275040"/>
                </a:lnTo>
                <a:lnTo>
                  <a:pt x="2911343" y="1265933"/>
                </a:lnTo>
                <a:close/>
                <a:moveTo>
                  <a:pt x="3990573" y="1250755"/>
                </a:moveTo>
                <a:lnTo>
                  <a:pt x="3999681" y="1250755"/>
                </a:lnTo>
                <a:lnTo>
                  <a:pt x="4002716" y="1256827"/>
                </a:lnTo>
                <a:lnTo>
                  <a:pt x="3993609" y="1259862"/>
                </a:lnTo>
                <a:close/>
                <a:moveTo>
                  <a:pt x="4546126" y="1247718"/>
                </a:moveTo>
                <a:lnTo>
                  <a:pt x="4561305" y="1250754"/>
                </a:lnTo>
                <a:lnTo>
                  <a:pt x="4558270" y="1272005"/>
                </a:lnTo>
                <a:lnTo>
                  <a:pt x="4549162" y="1253789"/>
                </a:lnTo>
                <a:lnTo>
                  <a:pt x="4543091" y="1250754"/>
                </a:lnTo>
                <a:close/>
                <a:moveTo>
                  <a:pt x="2361861" y="1241646"/>
                </a:moveTo>
                <a:lnTo>
                  <a:pt x="2364897" y="1256826"/>
                </a:lnTo>
                <a:lnTo>
                  <a:pt x="2355789" y="1256826"/>
                </a:lnTo>
                <a:lnTo>
                  <a:pt x="2352754" y="1247718"/>
                </a:lnTo>
                <a:close/>
                <a:moveTo>
                  <a:pt x="2370968" y="1238610"/>
                </a:moveTo>
                <a:lnTo>
                  <a:pt x="2380076" y="1241646"/>
                </a:lnTo>
                <a:lnTo>
                  <a:pt x="2374005" y="1253789"/>
                </a:lnTo>
                <a:lnTo>
                  <a:pt x="2367933" y="1247718"/>
                </a:lnTo>
                <a:close/>
                <a:moveTo>
                  <a:pt x="7190315" y="1223432"/>
                </a:moveTo>
                <a:lnTo>
                  <a:pt x="7214602" y="1226467"/>
                </a:lnTo>
                <a:lnTo>
                  <a:pt x="7229781" y="1238611"/>
                </a:lnTo>
                <a:lnTo>
                  <a:pt x="7232817" y="1244683"/>
                </a:lnTo>
                <a:lnTo>
                  <a:pt x="7229781" y="1250755"/>
                </a:lnTo>
                <a:lnTo>
                  <a:pt x="7202459" y="1262897"/>
                </a:lnTo>
                <a:lnTo>
                  <a:pt x="7190315" y="1265934"/>
                </a:lnTo>
                <a:lnTo>
                  <a:pt x="7181209" y="1259862"/>
                </a:lnTo>
                <a:lnTo>
                  <a:pt x="7172100" y="1265934"/>
                </a:lnTo>
                <a:lnTo>
                  <a:pt x="7159957" y="1268969"/>
                </a:lnTo>
                <a:lnTo>
                  <a:pt x="7153885" y="1265934"/>
                </a:lnTo>
                <a:lnTo>
                  <a:pt x="7153885" y="1253790"/>
                </a:lnTo>
                <a:lnTo>
                  <a:pt x="7162993" y="1241646"/>
                </a:lnTo>
                <a:lnTo>
                  <a:pt x="7181209" y="1226467"/>
                </a:lnTo>
                <a:close/>
                <a:moveTo>
                  <a:pt x="1952025" y="1220396"/>
                </a:moveTo>
                <a:lnTo>
                  <a:pt x="1955061" y="1220396"/>
                </a:lnTo>
                <a:lnTo>
                  <a:pt x="1961133" y="1223432"/>
                </a:lnTo>
                <a:lnTo>
                  <a:pt x="1961133" y="1229504"/>
                </a:lnTo>
                <a:lnTo>
                  <a:pt x="1961133" y="1235576"/>
                </a:lnTo>
                <a:lnTo>
                  <a:pt x="1952025" y="1232539"/>
                </a:lnTo>
                <a:close/>
                <a:moveTo>
                  <a:pt x="1502725" y="1196110"/>
                </a:moveTo>
                <a:lnTo>
                  <a:pt x="1511832" y="1196110"/>
                </a:lnTo>
                <a:lnTo>
                  <a:pt x="1517904" y="1202181"/>
                </a:lnTo>
                <a:lnTo>
                  <a:pt x="1514868" y="1205217"/>
                </a:lnTo>
                <a:lnTo>
                  <a:pt x="1530047" y="1208253"/>
                </a:lnTo>
                <a:lnTo>
                  <a:pt x="1539154" y="1223432"/>
                </a:lnTo>
                <a:lnTo>
                  <a:pt x="1548262" y="1247718"/>
                </a:lnTo>
                <a:lnTo>
                  <a:pt x="1548262" y="1268969"/>
                </a:lnTo>
                <a:lnTo>
                  <a:pt x="1545226" y="1268969"/>
                </a:lnTo>
                <a:lnTo>
                  <a:pt x="1554334" y="1275041"/>
                </a:lnTo>
                <a:lnTo>
                  <a:pt x="1563441" y="1287184"/>
                </a:lnTo>
                <a:lnTo>
                  <a:pt x="1578620" y="1311470"/>
                </a:lnTo>
                <a:lnTo>
                  <a:pt x="1560406" y="1329686"/>
                </a:lnTo>
                <a:lnTo>
                  <a:pt x="1557369" y="1335757"/>
                </a:lnTo>
                <a:lnTo>
                  <a:pt x="1557369" y="1341828"/>
                </a:lnTo>
                <a:lnTo>
                  <a:pt x="1566477" y="1347900"/>
                </a:lnTo>
                <a:lnTo>
                  <a:pt x="1602906" y="1353972"/>
                </a:lnTo>
                <a:lnTo>
                  <a:pt x="1596834" y="1357007"/>
                </a:lnTo>
                <a:lnTo>
                  <a:pt x="1587727" y="1366115"/>
                </a:lnTo>
                <a:lnTo>
                  <a:pt x="1599871" y="1390402"/>
                </a:lnTo>
                <a:lnTo>
                  <a:pt x="1596834" y="1390402"/>
                </a:lnTo>
                <a:lnTo>
                  <a:pt x="1599871" y="1408616"/>
                </a:lnTo>
                <a:lnTo>
                  <a:pt x="1602906" y="1420760"/>
                </a:lnTo>
                <a:lnTo>
                  <a:pt x="1608978" y="1417724"/>
                </a:lnTo>
                <a:lnTo>
                  <a:pt x="1612014" y="1408616"/>
                </a:lnTo>
                <a:lnTo>
                  <a:pt x="1615050" y="1390402"/>
                </a:lnTo>
                <a:lnTo>
                  <a:pt x="1615050" y="1381294"/>
                </a:lnTo>
                <a:lnTo>
                  <a:pt x="1621121" y="1369151"/>
                </a:lnTo>
                <a:lnTo>
                  <a:pt x="1630229" y="1366115"/>
                </a:lnTo>
                <a:lnTo>
                  <a:pt x="1645408" y="1384330"/>
                </a:lnTo>
                <a:lnTo>
                  <a:pt x="1651479" y="1396473"/>
                </a:lnTo>
                <a:lnTo>
                  <a:pt x="1651479" y="1423796"/>
                </a:lnTo>
                <a:lnTo>
                  <a:pt x="1645408" y="1426831"/>
                </a:lnTo>
                <a:lnTo>
                  <a:pt x="1642372" y="1442010"/>
                </a:lnTo>
                <a:lnTo>
                  <a:pt x="1648444" y="1454154"/>
                </a:lnTo>
                <a:lnTo>
                  <a:pt x="1651479" y="1460226"/>
                </a:lnTo>
                <a:lnTo>
                  <a:pt x="1660587" y="1469333"/>
                </a:lnTo>
                <a:lnTo>
                  <a:pt x="1660587" y="1478440"/>
                </a:lnTo>
                <a:lnTo>
                  <a:pt x="1660587" y="1484512"/>
                </a:lnTo>
                <a:lnTo>
                  <a:pt x="1672730" y="1478440"/>
                </a:lnTo>
                <a:lnTo>
                  <a:pt x="1669694" y="1472368"/>
                </a:lnTo>
                <a:lnTo>
                  <a:pt x="1675766" y="1469333"/>
                </a:lnTo>
                <a:lnTo>
                  <a:pt x="1681838" y="1472368"/>
                </a:lnTo>
                <a:lnTo>
                  <a:pt x="1681838" y="1469333"/>
                </a:lnTo>
                <a:lnTo>
                  <a:pt x="1681838" y="1463261"/>
                </a:lnTo>
                <a:lnTo>
                  <a:pt x="1681838" y="1454154"/>
                </a:lnTo>
                <a:lnTo>
                  <a:pt x="1684874" y="1448082"/>
                </a:lnTo>
                <a:lnTo>
                  <a:pt x="1690945" y="1429867"/>
                </a:lnTo>
                <a:lnTo>
                  <a:pt x="1693981" y="1414688"/>
                </a:lnTo>
                <a:lnTo>
                  <a:pt x="1703088" y="1396473"/>
                </a:lnTo>
                <a:lnTo>
                  <a:pt x="1709160" y="1396473"/>
                </a:lnTo>
                <a:lnTo>
                  <a:pt x="1709160" y="1384330"/>
                </a:lnTo>
                <a:lnTo>
                  <a:pt x="1706123" y="1372186"/>
                </a:lnTo>
                <a:lnTo>
                  <a:pt x="1700053" y="1357007"/>
                </a:lnTo>
                <a:lnTo>
                  <a:pt x="1700053" y="1331215"/>
                </a:lnTo>
                <a:lnTo>
                  <a:pt x="1700054" y="1331215"/>
                </a:lnTo>
                <a:lnTo>
                  <a:pt x="1700054" y="1329686"/>
                </a:lnTo>
                <a:lnTo>
                  <a:pt x="1718268" y="1329686"/>
                </a:lnTo>
                <a:lnTo>
                  <a:pt x="1721787" y="1330859"/>
                </a:lnTo>
                <a:lnTo>
                  <a:pt x="1727374" y="1332721"/>
                </a:lnTo>
                <a:lnTo>
                  <a:pt x="1739518" y="1338793"/>
                </a:lnTo>
                <a:lnTo>
                  <a:pt x="1748625" y="1341828"/>
                </a:lnTo>
                <a:lnTo>
                  <a:pt x="1763804" y="1350936"/>
                </a:lnTo>
                <a:lnTo>
                  <a:pt x="1775947" y="1363079"/>
                </a:lnTo>
                <a:lnTo>
                  <a:pt x="1788091" y="1369151"/>
                </a:lnTo>
                <a:lnTo>
                  <a:pt x="1788091" y="1396473"/>
                </a:lnTo>
                <a:lnTo>
                  <a:pt x="1778984" y="1411652"/>
                </a:lnTo>
                <a:lnTo>
                  <a:pt x="1772912" y="1414688"/>
                </a:lnTo>
                <a:lnTo>
                  <a:pt x="1769876" y="1408616"/>
                </a:lnTo>
                <a:lnTo>
                  <a:pt x="1763804" y="1411652"/>
                </a:lnTo>
                <a:lnTo>
                  <a:pt x="1760768" y="1414688"/>
                </a:lnTo>
                <a:lnTo>
                  <a:pt x="1769876" y="1438975"/>
                </a:lnTo>
                <a:lnTo>
                  <a:pt x="1778984" y="1451117"/>
                </a:lnTo>
                <a:lnTo>
                  <a:pt x="1788091" y="1466296"/>
                </a:lnTo>
                <a:lnTo>
                  <a:pt x="1788091" y="1478440"/>
                </a:lnTo>
                <a:lnTo>
                  <a:pt x="1785055" y="1490584"/>
                </a:lnTo>
                <a:lnTo>
                  <a:pt x="1775947" y="1493619"/>
                </a:lnTo>
                <a:lnTo>
                  <a:pt x="1769876" y="1502726"/>
                </a:lnTo>
                <a:lnTo>
                  <a:pt x="1766840" y="1505762"/>
                </a:lnTo>
                <a:lnTo>
                  <a:pt x="1751661" y="1517906"/>
                </a:lnTo>
                <a:lnTo>
                  <a:pt x="1739518" y="1520941"/>
                </a:lnTo>
                <a:lnTo>
                  <a:pt x="1739518" y="1533085"/>
                </a:lnTo>
                <a:lnTo>
                  <a:pt x="1733446" y="1533085"/>
                </a:lnTo>
                <a:lnTo>
                  <a:pt x="1721303" y="1527013"/>
                </a:lnTo>
                <a:lnTo>
                  <a:pt x="1721303" y="1530049"/>
                </a:lnTo>
                <a:lnTo>
                  <a:pt x="1706123" y="1523977"/>
                </a:lnTo>
                <a:lnTo>
                  <a:pt x="1703088" y="1517906"/>
                </a:lnTo>
                <a:lnTo>
                  <a:pt x="1693981" y="1514870"/>
                </a:lnTo>
                <a:lnTo>
                  <a:pt x="1681838" y="1514870"/>
                </a:lnTo>
                <a:lnTo>
                  <a:pt x="1675766" y="1517906"/>
                </a:lnTo>
                <a:lnTo>
                  <a:pt x="1678802" y="1527013"/>
                </a:lnTo>
                <a:lnTo>
                  <a:pt x="1687909" y="1530049"/>
                </a:lnTo>
                <a:lnTo>
                  <a:pt x="1693981" y="1533085"/>
                </a:lnTo>
                <a:lnTo>
                  <a:pt x="1690945" y="1542192"/>
                </a:lnTo>
                <a:lnTo>
                  <a:pt x="1684874" y="1548264"/>
                </a:lnTo>
                <a:lnTo>
                  <a:pt x="1678802" y="1557371"/>
                </a:lnTo>
                <a:lnTo>
                  <a:pt x="1672730" y="1566478"/>
                </a:lnTo>
                <a:lnTo>
                  <a:pt x="1666658" y="1572550"/>
                </a:lnTo>
                <a:lnTo>
                  <a:pt x="1666658" y="1578622"/>
                </a:lnTo>
                <a:lnTo>
                  <a:pt x="1669694" y="1590765"/>
                </a:lnTo>
                <a:lnTo>
                  <a:pt x="1660587" y="1612015"/>
                </a:lnTo>
                <a:lnTo>
                  <a:pt x="1654515" y="1624159"/>
                </a:lnTo>
                <a:lnTo>
                  <a:pt x="1651479" y="1630231"/>
                </a:lnTo>
                <a:lnTo>
                  <a:pt x="1636300" y="1642374"/>
                </a:lnTo>
                <a:lnTo>
                  <a:pt x="1624157" y="1639338"/>
                </a:lnTo>
                <a:lnTo>
                  <a:pt x="1618085" y="1636302"/>
                </a:lnTo>
                <a:lnTo>
                  <a:pt x="1612014" y="1645409"/>
                </a:lnTo>
                <a:lnTo>
                  <a:pt x="1608978" y="1651481"/>
                </a:lnTo>
                <a:lnTo>
                  <a:pt x="1602906" y="1657553"/>
                </a:lnTo>
                <a:lnTo>
                  <a:pt x="1596834" y="1666660"/>
                </a:lnTo>
                <a:lnTo>
                  <a:pt x="1593799" y="1678804"/>
                </a:lnTo>
                <a:lnTo>
                  <a:pt x="1593799" y="1687911"/>
                </a:lnTo>
                <a:lnTo>
                  <a:pt x="1587727" y="1690946"/>
                </a:lnTo>
                <a:lnTo>
                  <a:pt x="1575584" y="1693983"/>
                </a:lnTo>
                <a:lnTo>
                  <a:pt x="1560406" y="1693983"/>
                </a:lnTo>
                <a:lnTo>
                  <a:pt x="1554334" y="1703090"/>
                </a:lnTo>
                <a:lnTo>
                  <a:pt x="1551298" y="1715233"/>
                </a:lnTo>
                <a:lnTo>
                  <a:pt x="1551298" y="1724341"/>
                </a:lnTo>
                <a:lnTo>
                  <a:pt x="1542190" y="1733448"/>
                </a:lnTo>
                <a:lnTo>
                  <a:pt x="1533083" y="1748627"/>
                </a:lnTo>
                <a:lnTo>
                  <a:pt x="1527011" y="1754699"/>
                </a:lnTo>
                <a:lnTo>
                  <a:pt x="1527011" y="1757735"/>
                </a:lnTo>
                <a:lnTo>
                  <a:pt x="1523976" y="1760770"/>
                </a:lnTo>
                <a:lnTo>
                  <a:pt x="1517904" y="1782021"/>
                </a:lnTo>
                <a:lnTo>
                  <a:pt x="1511832" y="1797200"/>
                </a:lnTo>
                <a:lnTo>
                  <a:pt x="1514868" y="1800235"/>
                </a:lnTo>
                <a:lnTo>
                  <a:pt x="1511832" y="1812379"/>
                </a:lnTo>
                <a:lnTo>
                  <a:pt x="1508796" y="1824523"/>
                </a:lnTo>
                <a:lnTo>
                  <a:pt x="1511832" y="1845773"/>
                </a:lnTo>
                <a:lnTo>
                  <a:pt x="1508796" y="1854880"/>
                </a:lnTo>
                <a:lnTo>
                  <a:pt x="1517904" y="1860952"/>
                </a:lnTo>
                <a:lnTo>
                  <a:pt x="1520940" y="1867024"/>
                </a:lnTo>
                <a:lnTo>
                  <a:pt x="1530047" y="1863988"/>
                </a:lnTo>
                <a:lnTo>
                  <a:pt x="1542190" y="1867024"/>
                </a:lnTo>
                <a:lnTo>
                  <a:pt x="1545226" y="1879167"/>
                </a:lnTo>
                <a:lnTo>
                  <a:pt x="1551298" y="1900417"/>
                </a:lnTo>
                <a:lnTo>
                  <a:pt x="1554334" y="1909525"/>
                </a:lnTo>
                <a:lnTo>
                  <a:pt x="1557369" y="1915596"/>
                </a:lnTo>
                <a:lnTo>
                  <a:pt x="1560406" y="1921668"/>
                </a:lnTo>
                <a:lnTo>
                  <a:pt x="1563441" y="1927740"/>
                </a:lnTo>
                <a:lnTo>
                  <a:pt x="1566477" y="1930775"/>
                </a:lnTo>
                <a:lnTo>
                  <a:pt x="1593799" y="1924704"/>
                </a:lnTo>
                <a:lnTo>
                  <a:pt x="1615050" y="1936847"/>
                </a:lnTo>
                <a:lnTo>
                  <a:pt x="1630229" y="1939883"/>
                </a:lnTo>
                <a:lnTo>
                  <a:pt x="1642372" y="1948991"/>
                </a:lnTo>
                <a:lnTo>
                  <a:pt x="1651479" y="1955062"/>
                </a:lnTo>
                <a:lnTo>
                  <a:pt x="1660587" y="1970241"/>
                </a:lnTo>
                <a:lnTo>
                  <a:pt x="1681838" y="1979348"/>
                </a:lnTo>
                <a:lnTo>
                  <a:pt x="1697016" y="1985420"/>
                </a:lnTo>
                <a:lnTo>
                  <a:pt x="1706123" y="1994527"/>
                </a:lnTo>
                <a:lnTo>
                  <a:pt x="1730410" y="1997564"/>
                </a:lnTo>
                <a:lnTo>
                  <a:pt x="1742554" y="1997564"/>
                </a:lnTo>
                <a:lnTo>
                  <a:pt x="1751661" y="1997564"/>
                </a:lnTo>
                <a:lnTo>
                  <a:pt x="1754697" y="2000599"/>
                </a:lnTo>
                <a:lnTo>
                  <a:pt x="1763804" y="2003636"/>
                </a:lnTo>
                <a:lnTo>
                  <a:pt x="1769876" y="2009706"/>
                </a:lnTo>
                <a:lnTo>
                  <a:pt x="1769876" y="2018815"/>
                </a:lnTo>
                <a:lnTo>
                  <a:pt x="1769876" y="2040065"/>
                </a:lnTo>
                <a:lnTo>
                  <a:pt x="1769876" y="2049172"/>
                </a:lnTo>
                <a:lnTo>
                  <a:pt x="1772912" y="2058280"/>
                </a:lnTo>
                <a:lnTo>
                  <a:pt x="1772912" y="2067387"/>
                </a:lnTo>
                <a:lnTo>
                  <a:pt x="1769876" y="2070423"/>
                </a:lnTo>
                <a:lnTo>
                  <a:pt x="1769876" y="2079530"/>
                </a:lnTo>
                <a:lnTo>
                  <a:pt x="1775947" y="2088638"/>
                </a:lnTo>
                <a:lnTo>
                  <a:pt x="1782019" y="2094709"/>
                </a:lnTo>
                <a:lnTo>
                  <a:pt x="1785055" y="2097745"/>
                </a:lnTo>
                <a:lnTo>
                  <a:pt x="1785055" y="2103817"/>
                </a:lnTo>
                <a:lnTo>
                  <a:pt x="1791126" y="2109888"/>
                </a:lnTo>
                <a:lnTo>
                  <a:pt x="1800233" y="2118995"/>
                </a:lnTo>
                <a:lnTo>
                  <a:pt x="1803270" y="2125067"/>
                </a:lnTo>
                <a:lnTo>
                  <a:pt x="1812377" y="2134174"/>
                </a:lnTo>
                <a:lnTo>
                  <a:pt x="1818449" y="2137211"/>
                </a:lnTo>
                <a:lnTo>
                  <a:pt x="1824521" y="2146318"/>
                </a:lnTo>
                <a:lnTo>
                  <a:pt x="1824521" y="2131139"/>
                </a:lnTo>
                <a:lnTo>
                  <a:pt x="1824521" y="2128104"/>
                </a:lnTo>
                <a:lnTo>
                  <a:pt x="1827556" y="2122032"/>
                </a:lnTo>
                <a:lnTo>
                  <a:pt x="1833628" y="2128104"/>
                </a:lnTo>
                <a:lnTo>
                  <a:pt x="1839700" y="2140246"/>
                </a:lnTo>
                <a:lnTo>
                  <a:pt x="1842735" y="2128104"/>
                </a:lnTo>
                <a:lnTo>
                  <a:pt x="1839700" y="2122032"/>
                </a:lnTo>
                <a:lnTo>
                  <a:pt x="1836664" y="2115960"/>
                </a:lnTo>
                <a:lnTo>
                  <a:pt x="1848807" y="2103817"/>
                </a:lnTo>
                <a:lnTo>
                  <a:pt x="1839700" y="2085602"/>
                </a:lnTo>
                <a:lnTo>
                  <a:pt x="1836664" y="2061315"/>
                </a:lnTo>
                <a:lnTo>
                  <a:pt x="1827556" y="2037029"/>
                </a:lnTo>
                <a:lnTo>
                  <a:pt x="1824521" y="2030957"/>
                </a:lnTo>
                <a:lnTo>
                  <a:pt x="1821484" y="2018815"/>
                </a:lnTo>
                <a:lnTo>
                  <a:pt x="1833628" y="2012743"/>
                </a:lnTo>
                <a:lnTo>
                  <a:pt x="1845771" y="2006671"/>
                </a:lnTo>
                <a:lnTo>
                  <a:pt x="1857914" y="2000599"/>
                </a:lnTo>
                <a:lnTo>
                  <a:pt x="1870057" y="1988456"/>
                </a:lnTo>
                <a:lnTo>
                  <a:pt x="1879165" y="1979348"/>
                </a:lnTo>
                <a:lnTo>
                  <a:pt x="1885236" y="1970241"/>
                </a:lnTo>
                <a:lnTo>
                  <a:pt x="1885236" y="1964170"/>
                </a:lnTo>
                <a:lnTo>
                  <a:pt x="1888273" y="1961134"/>
                </a:lnTo>
                <a:lnTo>
                  <a:pt x="1888273" y="1952026"/>
                </a:lnTo>
                <a:lnTo>
                  <a:pt x="1888273" y="1939883"/>
                </a:lnTo>
                <a:lnTo>
                  <a:pt x="1888273" y="1930775"/>
                </a:lnTo>
                <a:lnTo>
                  <a:pt x="1885236" y="1915596"/>
                </a:lnTo>
                <a:lnTo>
                  <a:pt x="1876129" y="1897382"/>
                </a:lnTo>
                <a:lnTo>
                  <a:pt x="1867022" y="1888275"/>
                </a:lnTo>
                <a:lnTo>
                  <a:pt x="1857914" y="1882203"/>
                </a:lnTo>
                <a:lnTo>
                  <a:pt x="1848807" y="1876131"/>
                </a:lnTo>
                <a:lnTo>
                  <a:pt x="1845771" y="1870059"/>
                </a:lnTo>
                <a:lnTo>
                  <a:pt x="1845771" y="1860952"/>
                </a:lnTo>
                <a:lnTo>
                  <a:pt x="1848807" y="1857916"/>
                </a:lnTo>
                <a:lnTo>
                  <a:pt x="1851843" y="1851845"/>
                </a:lnTo>
                <a:lnTo>
                  <a:pt x="1860950" y="1830594"/>
                </a:lnTo>
                <a:lnTo>
                  <a:pt x="1867022" y="1827558"/>
                </a:lnTo>
                <a:lnTo>
                  <a:pt x="1870057" y="1824523"/>
                </a:lnTo>
                <a:lnTo>
                  <a:pt x="1873094" y="1815415"/>
                </a:lnTo>
                <a:lnTo>
                  <a:pt x="1863986" y="1809344"/>
                </a:lnTo>
                <a:lnTo>
                  <a:pt x="1857914" y="1782021"/>
                </a:lnTo>
                <a:lnTo>
                  <a:pt x="1851843" y="1782021"/>
                </a:lnTo>
                <a:lnTo>
                  <a:pt x="1854878" y="1775949"/>
                </a:lnTo>
                <a:lnTo>
                  <a:pt x="1860950" y="1769877"/>
                </a:lnTo>
                <a:lnTo>
                  <a:pt x="1860950" y="1757735"/>
                </a:lnTo>
                <a:lnTo>
                  <a:pt x="1860950" y="1745591"/>
                </a:lnTo>
                <a:lnTo>
                  <a:pt x="1857914" y="1742556"/>
                </a:lnTo>
                <a:lnTo>
                  <a:pt x="1851843" y="1721305"/>
                </a:lnTo>
                <a:lnTo>
                  <a:pt x="1860950" y="1709162"/>
                </a:lnTo>
                <a:lnTo>
                  <a:pt x="1867022" y="1706125"/>
                </a:lnTo>
                <a:lnTo>
                  <a:pt x="1873094" y="1706125"/>
                </a:lnTo>
                <a:lnTo>
                  <a:pt x="1885236" y="1709162"/>
                </a:lnTo>
                <a:lnTo>
                  <a:pt x="1894344" y="1712197"/>
                </a:lnTo>
                <a:lnTo>
                  <a:pt x="1900415" y="1715233"/>
                </a:lnTo>
                <a:lnTo>
                  <a:pt x="1900415" y="1724341"/>
                </a:lnTo>
                <a:lnTo>
                  <a:pt x="1918631" y="1718269"/>
                </a:lnTo>
                <a:lnTo>
                  <a:pt x="1936845" y="1715233"/>
                </a:lnTo>
                <a:lnTo>
                  <a:pt x="1945953" y="1709162"/>
                </a:lnTo>
                <a:lnTo>
                  <a:pt x="1952024" y="1715233"/>
                </a:lnTo>
                <a:lnTo>
                  <a:pt x="1967204" y="1724341"/>
                </a:lnTo>
                <a:lnTo>
                  <a:pt x="1967204" y="1733448"/>
                </a:lnTo>
                <a:lnTo>
                  <a:pt x="1976311" y="1736484"/>
                </a:lnTo>
                <a:lnTo>
                  <a:pt x="1979346" y="1742556"/>
                </a:lnTo>
                <a:lnTo>
                  <a:pt x="1982383" y="1742556"/>
                </a:lnTo>
                <a:lnTo>
                  <a:pt x="1988454" y="1748627"/>
                </a:lnTo>
                <a:lnTo>
                  <a:pt x="1982383" y="1754699"/>
                </a:lnTo>
                <a:lnTo>
                  <a:pt x="1994525" y="1766842"/>
                </a:lnTo>
                <a:lnTo>
                  <a:pt x="2006669" y="1769877"/>
                </a:lnTo>
                <a:lnTo>
                  <a:pt x="2021848" y="1775949"/>
                </a:lnTo>
                <a:lnTo>
                  <a:pt x="2027920" y="1775949"/>
                </a:lnTo>
                <a:lnTo>
                  <a:pt x="2033991" y="1782021"/>
                </a:lnTo>
                <a:lnTo>
                  <a:pt x="2027920" y="1800235"/>
                </a:lnTo>
                <a:lnTo>
                  <a:pt x="2024883" y="1818451"/>
                </a:lnTo>
                <a:lnTo>
                  <a:pt x="2027920" y="1836665"/>
                </a:lnTo>
                <a:lnTo>
                  <a:pt x="2030955" y="1854880"/>
                </a:lnTo>
                <a:lnTo>
                  <a:pt x="2030955" y="1860952"/>
                </a:lnTo>
                <a:lnTo>
                  <a:pt x="2037027" y="1860952"/>
                </a:lnTo>
                <a:lnTo>
                  <a:pt x="2046134" y="1860952"/>
                </a:lnTo>
                <a:lnTo>
                  <a:pt x="2055242" y="1863988"/>
                </a:lnTo>
                <a:lnTo>
                  <a:pt x="2061313" y="1876131"/>
                </a:lnTo>
                <a:lnTo>
                  <a:pt x="2070421" y="1879167"/>
                </a:lnTo>
                <a:lnTo>
                  <a:pt x="2073457" y="1885238"/>
                </a:lnTo>
                <a:lnTo>
                  <a:pt x="2082564" y="1879167"/>
                </a:lnTo>
                <a:lnTo>
                  <a:pt x="2088636" y="1876131"/>
                </a:lnTo>
                <a:lnTo>
                  <a:pt x="2091672" y="1867024"/>
                </a:lnTo>
                <a:lnTo>
                  <a:pt x="2097743" y="1863988"/>
                </a:lnTo>
                <a:lnTo>
                  <a:pt x="2103814" y="1870059"/>
                </a:lnTo>
                <a:lnTo>
                  <a:pt x="2106851" y="1863988"/>
                </a:lnTo>
                <a:lnTo>
                  <a:pt x="2109886" y="1857916"/>
                </a:lnTo>
                <a:lnTo>
                  <a:pt x="2112923" y="1842737"/>
                </a:lnTo>
                <a:lnTo>
                  <a:pt x="2115958" y="1824523"/>
                </a:lnTo>
                <a:lnTo>
                  <a:pt x="2122030" y="1815415"/>
                </a:lnTo>
                <a:lnTo>
                  <a:pt x="2128102" y="1800235"/>
                </a:lnTo>
                <a:lnTo>
                  <a:pt x="2131137" y="1803272"/>
                </a:lnTo>
                <a:lnTo>
                  <a:pt x="2128102" y="1815415"/>
                </a:lnTo>
                <a:lnTo>
                  <a:pt x="2137209" y="1815415"/>
                </a:lnTo>
                <a:lnTo>
                  <a:pt x="2143280" y="1815415"/>
                </a:lnTo>
                <a:lnTo>
                  <a:pt x="2143280" y="1824523"/>
                </a:lnTo>
                <a:lnTo>
                  <a:pt x="2146316" y="1833630"/>
                </a:lnTo>
                <a:lnTo>
                  <a:pt x="2158459" y="1851845"/>
                </a:lnTo>
                <a:lnTo>
                  <a:pt x="2164531" y="1857916"/>
                </a:lnTo>
                <a:lnTo>
                  <a:pt x="2164531" y="1867024"/>
                </a:lnTo>
                <a:lnTo>
                  <a:pt x="2167567" y="1870059"/>
                </a:lnTo>
                <a:lnTo>
                  <a:pt x="2173638" y="1876131"/>
                </a:lnTo>
                <a:lnTo>
                  <a:pt x="2173638" y="1882203"/>
                </a:lnTo>
                <a:lnTo>
                  <a:pt x="2179710" y="1891310"/>
                </a:lnTo>
                <a:lnTo>
                  <a:pt x="2185782" y="1903454"/>
                </a:lnTo>
                <a:lnTo>
                  <a:pt x="2188817" y="1906489"/>
                </a:lnTo>
                <a:lnTo>
                  <a:pt x="2188817" y="1912561"/>
                </a:lnTo>
                <a:lnTo>
                  <a:pt x="2191853" y="1921668"/>
                </a:lnTo>
                <a:lnTo>
                  <a:pt x="2185782" y="1924704"/>
                </a:lnTo>
                <a:lnTo>
                  <a:pt x="2191853" y="1927740"/>
                </a:lnTo>
                <a:lnTo>
                  <a:pt x="2197924" y="1933812"/>
                </a:lnTo>
                <a:lnTo>
                  <a:pt x="2191853" y="1942919"/>
                </a:lnTo>
                <a:lnTo>
                  <a:pt x="2191853" y="1955062"/>
                </a:lnTo>
                <a:lnTo>
                  <a:pt x="2191853" y="1958098"/>
                </a:lnTo>
                <a:lnTo>
                  <a:pt x="2191853" y="1961134"/>
                </a:lnTo>
                <a:lnTo>
                  <a:pt x="2200961" y="1964170"/>
                </a:lnTo>
                <a:lnTo>
                  <a:pt x="2203996" y="1976313"/>
                </a:lnTo>
                <a:lnTo>
                  <a:pt x="2213103" y="1976313"/>
                </a:lnTo>
                <a:lnTo>
                  <a:pt x="2216140" y="1985420"/>
                </a:lnTo>
                <a:lnTo>
                  <a:pt x="2219175" y="1985420"/>
                </a:lnTo>
                <a:lnTo>
                  <a:pt x="2222212" y="1988456"/>
                </a:lnTo>
                <a:lnTo>
                  <a:pt x="2225247" y="1994527"/>
                </a:lnTo>
                <a:lnTo>
                  <a:pt x="2231319" y="1997564"/>
                </a:lnTo>
                <a:lnTo>
                  <a:pt x="2234354" y="2000599"/>
                </a:lnTo>
                <a:lnTo>
                  <a:pt x="2240426" y="2000599"/>
                </a:lnTo>
                <a:lnTo>
                  <a:pt x="2249533" y="2003636"/>
                </a:lnTo>
                <a:lnTo>
                  <a:pt x="2252570" y="2012743"/>
                </a:lnTo>
                <a:lnTo>
                  <a:pt x="2255605" y="2015778"/>
                </a:lnTo>
                <a:lnTo>
                  <a:pt x="2270784" y="2018815"/>
                </a:lnTo>
                <a:lnTo>
                  <a:pt x="2279892" y="2021850"/>
                </a:lnTo>
                <a:lnTo>
                  <a:pt x="2282927" y="2024885"/>
                </a:lnTo>
                <a:lnTo>
                  <a:pt x="2282927" y="2037029"/>
                </a:lnTo>
                <a:lnTo>
                  <a:pt x="2285963" y="2046136"/>
                </a:lnTo>
                <a:lnTo>
                  <a:pt x="2288999" y="2052208"/>
                </a:lnTo>
                <a:lnTo>
                  <a:pt x="2295071" y="2052208"/>
                </a:lnTo>
                <a:lnTo>
                  <a:pt x="2307214" y="2058280"/>
                </a:lnTo>
                <a:lnTo>
                  <a:pt x="2313285" y="2061315"/>
                </a:lnTo>
                <a:lnTo>
                  <a:pt x="2313285" y="2073459"/>
                </a:lnTo>
                <a:lnTo>
                  <a:pt x="2316322" y="2091674"/>
                </a:lnTo>
                <a:lnTo>
                  <a:pt x="2316322" y="2109888"/>
                </a:lnTo>
                <a:lnTo>
                  <a:pt x="2307214" y="2115960"/>
                </a:lnTo>
                <a:lnTo>
                  <a:pt x="2295071" y="2128104"/>
                </a:lnTo>
                <a:lnTo>
                  <a:pt x="2288999" y="2131139"/>
                </a:lnTo>
                <a:lnTo>
                  <a:pt x="2285963" y="2128104"/>
                </a:lnTo>
                <a:lnTo>
                  <a:pt x="2270784" y="2131139"/>
                </a:lnTo>
                <a:lnTo>
                  <a:pt x="2261677" y="2137211"/>
                </a:lnTo>
                <a:lnTo>
                  <a:pt x="2255605" y="2140246"/>
                </a:lnTo>
                <a:lnTo>
                  <a:pt x="2252570" y="2146318"/>
                </a:lnTo>
                <a:lnTo>
                  <a:pt x="2240426" y="2155426"/>
                </a:lnTo>
                <a:lnTo>
                  <a:pt x="2231319" y="2167570"/>
                </a:lnTo>
                <a:lnTo>
                  <a:pt x="2203996" y="2170605"/>
                </a:lnTo>
                <a:lnTo>
                  <a:pt x="2191853" y="2170605"/>
                </a:lnTo>
                <a:lnTo>
                  <a:pt x="2179710" y="2170605"/>
                </a:lnTo>
                <a:lnTo>
                  <a:pt x="2152388" y="2167570"/>
                </a:lnTo>
                <a:lnTo>
                  <a:pt x="2140244" y="2167570"/>
                </a:lnTo>
                <a:lnTo>
                  <a:pt x="2137209" y="2167570"/>
                </a:lnTo>
                <a:lnTo>
                  <a:pt x="2131137" y="2167570"/>
                </a:lnTo>
                <a:lnTo>
                  <a:pt x="2118993" y="2167570"/>
                </a:lnTo>
                <a:lnTo>
                  <a:pt x="2106851" y="2170605"/>
                </a:lnTo>
                <a:lnTo>
                  <a:pt x="2094707" y="2173641"/>
                </a:lnTo>
                <a:lnTo>
                  <a:pt x="2088636" y="2173641"/>
                </a:lnTo>
                <a:lnTo>
                  <a:pt x="2085600" y="2179713"/>
                </a:lnTo>
                <a:lnTo>
                  <a:pt x="2079528" y="2182749"/>
                </a:lnTo>
                <a:lnTo>
                  <a:pt x="2079528" y="2191856"/>
                </a:lnTo>
                <a:lnTo>
                  <a:pt x="2073457" y="2197928"/>
                </a:lnTo>
                <a:lnTo>
                  <a:pt x="2067385" y="2200964"/>
                </a:lnTo>
                <a:lnTo>
                  <a:pt x="2055242" y="2203999"/>
                </a:lnTo>
                <a:lnTo>
                  <a:pt x="2052206" y="2207035"/>
                </a:lnTo>
                <a:lnTo>
                  <a:pt x="2043099" y="2216143"/>
                </a:lnTo>
                <a:lnTo>
                  <a:pt x="2037027" y="2222215"/>
                </a:lnTo>
                <a:lnTo>
                  <a:pt x="2033991" y="2231322"/>
                </a:lnTo>
                <a:lnTo>
                  <a:pt x="2027920" y="2234357"/>
                </a:lnTo>
                <a:lnTo>
                  <a:pt x="2024883" y="2243465"/>
                </a:lnTo>
                <a:lnTo>
                  <a:pt x="2021848" y="2249536"/>
                </a:lnTo>
                <a:lnTo>
                  <a:pt x="2009704" y="2261680"/>
                </a:lnTo>
                <a:lnTo>
                  <a:pt x="1994525" y="2276859"/>
                </a:lnTo>
                <a:lnTo>
                  <a:pt x="2006669" y="2270787"/>
                </a:lnTo>
                <a:lnTo>
                  <a:pt x="2015776" y="2264715"/>
                </a:lnTo>
                <a:lnTo>
                  <a:pt x="2024883" y="2252573"/>
                </a:lnTo>
                <a:lnTo>
                  <a:pt x="2033991" y="2240429"/>
                </a:lnTo>
                <a:lnTo>
                  <a:pt x="2052206" y="2225250"/>
                </a:lnTo>
                <a:lnTo>
                  <a:pt x="2067385" y="2216143"/>
                </a:lnTo>
                <a:lnTo>
                  <a:pt x="2079528" y="2210071"/>
                </a:lnTo>
                <a:lnTo>
                  <a:pt x="2128102" y="2203999"/>
                </a:lnTo>
                <a:lnTo>
                  <a:pt x="2140244" y="2225250"/>
                </a:lnTo>
                <a:lnTo>
                  <a:pt x="2137209" y="2228285"/>
                </a:lnTo>
                <a:lnTo>
                  <a:pt x="2128102" y="2234357"/>
                </a:lnTo>
                <a:lnTo>
                  <a:pt x="2118993" y="2240429"/>
                </a:lnTo>
                <a:lnTo>
                  <a:pt x="2106851" y="2234357"/>
                </a:lnTo>
                <a:lnTo>
                  <a:pt x="2106851" y="2243465"/>
                </a:lnTo>
                <a:lnTo>
                  <a:pt x="2109886" y="2243465"/>
                </a:lnTo>
                <a:lnTo>
                  <a:pt x="2112923" y="2252573"/>
                </a:lnTo>
                <a:lnTo>
                  <a:pt x="2118993" y="2246501"/>
                </a:lnTo>
                <a:lnTo>
                  <a:pt x="2128102" y="2246501"/>
                </a:lnTo>
                <a:lnTo>
                  <a:pt x="2128102" y="2255608"/>
                </a:lnTo>
                <a:lnTo>
                  <a:pt x="2125065" y="2267752"/>
                </a:lnTo>
                <a:lnTo>
                  <a:pt x="2128102" y="2270787"/>
                </a:lnTo>
                <a:lnTo>
                  <a:pt x="2128102" y="2273823"/>
                </a:lnTo>
                <a:lnTo>
                  <a:pt x="2131137" y="2285966"/>
                </a:lnTo>
                <a:lnTo>
                  <a:pt x="2137209" y="2292038"/>
                </a:lnTo>
                <a:lnTo>
                  <a:pt x="2143280" y="2295074"/>
                </a:lnTo>
                <a:lnTo>
                  <a:pt x="2149352" y="2298109"/>
                </a:lnTo>
                <a:lnTo>
                  <a:pt x="2146316" y="2301145"/>
                </a:lnTo>
                <a:lnTo>
                  <a:pt x="2164531" y="2307217"/>
                </a:lnTo>
                <a:lnTo>
                  <a:pt x="2173638" y="2310253"/>
                </a:lnTo>
                <a:lnTo>
                  <a:pt x="2185782" y="2307217"/>
                </a:lnTo>
                <a:lnTo>
                  <a:pt x="2203996" y="2316325"/>
                </a:lnTo>
                <a:lnTo>
                  <a:pt x="2207033" y="2322396"/>
                </a:lnTo>
                <a:lnTo>
                  <a:pt x="2200961" y="2325432"/>
                </a:lnTo>
                <a:lnTo>
                  <a:pt x="2194889" y="2325432"/>
                </a:lnTo>
                <a:lnTo>
                  <a:pt x="2191853" y="2328467"/>
                </a:lnTo>
                <a:lnTo>
                  <a:pt x="2185782" y="2331504"/>
                </a:lnTo>
                <a:lnTo>
                  <a:pt x="2173638" y="2334539"/>
                </a:lnTo>
                <a:lnTo>
                  <a:pt x="2161495" y="2340611"/>
                </a:lnTo>
                <a:lnTo>
                  <a:pt x="2158459" y="2340611"/>
                </a:lnTo>
                <a:lnTo>
                  <a:pt x="2155423" y="2343646"/>
                </a:lnTo>
                <a:lnTo>
                  <a:pt x="2143280" y="2343646"/>
                </a:lnTo>
                <a:lnTo>
                  <a:pt x="2140244" y="2343646"/>
                </a:lnTo>
                <a:lnTo>
                  <a:pt x="2137209" y="2349718"/>
                </a:lnTo>
                <a:lnTo>
                  <a:pt x="2128102" y="2361862"/>
                </a:lnTo>
                <a:lnTo>
                  <a:pt x="2125065" y="2367933"/>
                </a:lnTo>
                <a:lnTo>
                  <a:pt x="2118993" y="2367933"/>
                </a:lnTo>
                <a:lnTo>
                  <a:pt x="2115958" y="2374005"/>
                </a:lnTo>
                <a:lnTo>
                  <a:pt x="2109886" y="2370969"/>
                </a:lnTo>
                <a:lnTo>
                  <a:pt x="2106851" y="2364897"/>
                </a:lnTo>
                <a:lnTo>
                  <a:pt x="2103814" y="2367933"/>
                </a:lnTo>
                <a:lnTo>
                  <a:pt x="2100779" y="2361862"/>
                </a:lnTo>
                <a:lnTo>
                  <a:pt x="2100779" y="2346683"/>
                </a:lnTo>
                <a:lnTo>
                  <a:pt x="2112923" y="2337575"/>
                </a:lnTo>
                <a:lnTo>
                  <a:pt x="2134172" y="2322396"/>
                </a:lnTo>
                <a:lnTo>
                  <a:pt x="2146316" y="2322396"/>
                </a:lnTo>
                <a:lnTo>
                  <a:pt x="2158459" y="2319360"/>
                </a:lnTo>
                <a:lnTo>
                  <a:pt x="2152388" y="2319360"/>
                </a:lnTo>
                <a:lnTo>
                  <a:pt x="2146316" y="2319360"/>
                </a:lnTo>
                <a:lnTo>
                  <a:pt x="2134172" y="2319360"/>
                </a:lnTo>
                <a:lnTo>
                  <a:pt x="2125065" y="2319360"/>
                </a:lnTo>
                <a:lnTo>
                  <a:pt x="2131137" y="2313288"/>
                </a:lnTo>
                <a:lnTo>
                  <a:pt x="2140244" y="2304181"/>
                </a:lnTo>
                <a:lnTo>
                  <a:pt x="2134172" y="2304181"/>
                </a:lnTo>
                <a:lnTo>
                  <a:pt x="2128102" y="2313288"/>
                </a:lnTo>
                <a:lnTo>
                  <a:pt x="2106851" y="2322396"/>
                </a:lnTo>
                <a:lnTo>
                  <a:pt x="2103814" y="2322396"/>
                </a:lnTo>
                <a:lnTo>
                  <a:pt x="2094707" y="2328467"/>
                </a:lnTo>
                <a:lnTo>
                  <a:pt x="2085600" y="2328467"/>
                </a:lnTo>
                <a:lnTo>
                  <a:pt x="2082564" y="2325432"/>
                </a:lnTo>
                <a:lnTo>
                  <a:pt x="2079528" y="2325432"/>
                </a:lnTo>
                <a:lnTo>
                  <a:pt x="2085600" y="2334539"/>
                </a:lnTo>
                <a:lnTo>
                  <a:pt x="2079528" y="2340611"/>
                </a:lnTo>
                <a:lnTo>
                  <a:pt x="2067385" y="2343646"/>
                </a:lnTo>
                <a:lnTo>
                  <a:pt x="2061313" y="2349718"/>
                </a:lnTo>
                <a:lnTo>
                  <a:pt x="2058278" y="2343646"/>
                </a:lnTo>
                <a:lnTo>
                  <a:pt x="2043099" y="2355790"/>
                </a:lnTo>
                <a:lnTo>
                  <a:pt x="2037027" y="2361862"/>
                </a:lnTo>
                <a:lnTo>
                  <a:pt x="2027920" y="2364897"/>
                </a:lnTo>
                <a:lnTo>
                  <a:pt x="2024883" y="2367933"/>
                </a:lnTo>
                <a:lnTo>
                  <a:pt x="2021848" y="2364897"/>
                </a:lnTo>
                <a:lnTo>
                  <a:pt x="2015776" y="2377041"/>
                </a:lnTo>
                <a:lnTo>
                  <a:pt x="2006669" y="2383112"/>
                </a:lnTo>
                <a:lnTo>
                  <a:pt x="2006669" y="2386148"/>
                </a:lnTo>
                <a:lnTo>
                  <a:pt x="2003634" y="2392220"/>
                </a:lnTo>
                <a:lnTo>
                  <a:pt x="2009704" y="2398291"/>
                </a:lnTo>
                <a:lnTo>
                  <a:pt x="2003634" y="2401327"/>
                </a:lnTo>
                <a:lnTo>
                  <a:pt x="2000597" y="2407398"/>
                </a:lnTo>
                <a:lnTo>
                  <a:pt x="2006669" y="2414988"/>
                </a:lnTo>
                <a:lnTo>
                  <a:pt x="2018813" y="2421060"/>
                </a:lnTo>
                <a:lnTo>
                  <a:pt x="2018813" y="2411953"/>
                </a:lnTo>
                <a:lnTo>
                  <a:pt x="2021848" y="2411953"/>
                </a:lnTo>
                <a:lnTo>
                  <a:pt x="2021848" y="2421060"/>
                </a:lnTo>
                <a:lnTo>
                  <a:pt x="2018813" y="2424096"/>
                </a:lnTo>
                <a:lnTo>
                  <a:pt x="2012741" y="2424096"/>
                </a:lnTo>
                <a:lnTo>
                  <a:pt x="2006669" y="2424096"/>
                </a:lnTo>
                <a:lnTo>
                  <a:pt x="2006669" y="2421060"/>
                </a:lnTo>
                <a:lnTo>
                  <a:pt x="2003634" y="2424096"/>
                </a:lnTo>
                <a:lnTo>
                  <a:pt x="2000597" y="2427132"/>
                </a:lnTo>
                <a:lnTo>
                  <a:pt x="1994525" y="2421060"/>
                </a:lnTo>
                <a:lnTo>
                  <a:pt x="1991490" y="2427132"/>
                </a:lnTo>
                <a:lnTo>
                  <a:pt x="1988454" y="2430167"/>
                </a:lnTo>
                <a:lnTo>
                  <a:pt x="1973275" y="2430167"/>
                </a:lnTo>
                <a:lnTo>
                  <a:pt x="1964168" y="2433204"/>
                </a:lnTo>
                <a:lnTo>
                  <a:pt x="1952024" y="2439276"/>
                </a:lnTo>
                <a:lnTo>
                  <a:pt x="1945953" y="2439276"/>
                </a:lnTo>
                <a:lnTo>
                  <a:pt x="1943524" y="2444132"/>
                </a:lnTo>
                <a:lnTo>
                  <a:pt x="1948989" y="2442311"/>
                </a:lnTo>
                <a:lnTo>
                  <a:pt x="1955060" y="2442311"/>
                </a:lnTo>
                <a:lnTo>
                  <a:pt x="1964168" y="2442311"/>
                </a:lnTo>
                <a:lnTo>
                  <a:pt x="1976311" y="2436239"/>
                </a:lnTo>
                <a:lnTo>
                  <a:pt x="1982383" y="2439276"/>
                </a:lnTo>
                <a:lnTo>
                  <a:pt x="1967204" y="2445346"/>
                </a:lnTo>
                <a:lnTo>
                  <a:pt x="1961132" y="2448383"/>
                </a:lnTo>
                <a:lnTo>
                  <a:pt x="1948989" y="2451418"/>
                </a:lnTo>
                <a:lnTo>
                  <a:pt x="1939881" y="2451418"/>
                </a:lnTo>
                <a:lnTo>
                  <a:pt x="1939881" y="2448383"/>
                </a:lnTo>
                <a:lnTo>
                  <a:pt x="1933810" y="2454455"/>
                </a:lnTo>
                <a:lnTo>
                  <a:pt x="1939881" y="2460525"/>
                </a:lnTo>
                <a:lnTo>
                  <a:pt x="1936845" y="2475705"/>
                </a:lnTo>
                <a:lnTo>
                  <a:pt x="1927738" y="2484812"/>
                </a:lnTo>
                <a:lnTo>
                  <a:pt x="1921666" y="2496955"/>
                </a:lnTo>
                <a:lnTo>
                  <a:pt x="1921666" y="2490884"/>
                </a:lnTo>
                <a:lnTo>
                  <a:pt x="1912559" y="2484812"/>
                </a:lnTo>
                <a:lnTo>
                  <a:pt x="1909524" y="2487848"/>
                </a:lnTo>
                <a:lnTo>
                  <a:pt x="1912559" y="2493920"/>
                </a:lnTo>
                <a:lnTo>
                  <a:pt x="1918631" y="2509099"/>
                </a:lnTo>
                <a:lnTo>
                  <a:pt x="1912559" y="2521242"/>
                </a:lnTo>
                <a:lnTo>
                  <a:pt x="1906487" y="2533385"/>
                </a:lnTo>
                <a:lnTo>
                  <a:pt x="1900415" y="2542493"/>
                </a:lnTo>
                <a:lnTo>
                  <a:pt x="1897380" y="2539456"/>
                </a:lnTo>
                <a:lnTo>
                  <a:pt x="1900415" y="2533385"/>
                </a:lnTo>
                <a:lnTo>
                  <a:pt x="1903452" y="2524278"/>
                </a:lnTo>
                <a:lnTo>
                  <a:pt x="1903452" y="2518206"/>
                </a:lnTo>
                <a:lnTo>
                  <a:pt x="1897380" y="2512135"/>
                </a:lnTo>
                <a:lnTo>
                  <a:pt x="1894344" y="2509099"/>
                </a:lnTo>
                <a:lnTo>
                  <a:pt x="1894344" y="2506063"/>
                </a:lnTo>
                <a:lnTo>
                  <a:pt x="1891308" y="2493920"/>
                </a:lnTo>
                <a:lnTo>
                  <a:pt x="1894344" y="2484812"/>
                </a:lnTo>
                <a:lnTo>
                  <a:pt x="1897380" y="2484812"/>
                </a:lnTo>
                <a:lnTo>
                  <a:pt x="1897380" y="2478741"/>
                </a:lnTo>
                <a:lnTo>
                  <a:pt x="1891308" y="2484812"/>
                </a:lnTo>
                <a:lnTo>
                  <a:pt x="1888273" y="2490884"/>
                </a:lnTo>
                <a:lnTo>
                  <a:pt x="1888273" y="2503027"/>
                </a:lnTo>
                <a:lnTo>
                  <a:pt x="1885236" y="2506063"/>
                </a:lnTo>
                <a:lnTo>
                  <a:pt x="1891308" y="2518206"/>
                </a:lnTo>
                <a:lnTo>
                  <a:pt x="1891308" y="2524278"/>
                </a:lnTo>
                <a:lnTo>
                  <a:pt x="1888273" y="2530349"/>
                </a:lnTo>
                <a:lnTo>
                  <a:pt x="1891308" y="2542493"/>
                </a:lnTo>
                <a:lnTo>
                  <a:pt x="1891308" y="2548565"/>
                </a:lnTo>
                <a:lnTo>
                  <a:pt x="1897380" y="2548565"/>
                </a:lnTo>
                <a:lnTo>
                  <a:pt x="1900415" y="2560707"/>
                </a:lnTo>
                <a:lnTo>
                  <a:pt x="1906487" y="2575886"/>
                </a:lnTo>
                <a:lnTo>
                  <a:pt x="1900415" y="2572851"/>
                </a:lnTo>
                <a:lnTo>
                  <a:pt x="1894344" y="2569815"/>
                </a:lnTo>
                <a:lnTo>
                  <a:pt x="1882201" y="2572851"/>
                </a:lnTo>
                <a:lnTo>
                  <a:pt x="1894344" y="2575886"/>
                </a:lnTo>
                <a:lnTo>
                  <a:pt x="1900415" y="2572851"/>
                </a:lnTo>
                <a:lnTo>
                  <a:pt x="1903452" y="2575886"/>
                </a:lnTo>
                <a:lnTo>
                  <a:pt x="1900415" y="2584994"/>
                </a:lnTo>
                <a:lnTo>
                  <a:pt x="1894344" y="2588030"/>
                </a:lnTo>
                <a:lnTo>
                  <a:pt x="1891308" y="2597137"/>
                </a:lnTo>
                <a:lnTo>
                  <a:pt x="1885236" y="2603209"/>
                </a:lnTo>
                <a:lnTo>
                  <a:pt x="1870057" y="2609280"/>
                </a:lnTo>
                <a:lnTo>
                  <a:pt x="1857914" y="2615352"/>
                </a:lnTo>
                <a:lnTo>
                  <a:pt x="1851843" y="2624459"/>
                </a:lnTo>
                <a:lnTo>
                  <a:pt x="1845771" y="2624459"/>
                </a:lnTo>
                <a:lnTo>
                  <a:pt x="1836664" y="2630531"/>
                </a:lnTo>
                <a:lnTo>
                  <a:pt x="1833628" y="2636603"/>
                </a:lnTo>
                <a:lnTo>
                  <a:pt x="1827556" y="2642675"/>
                </a:lnTo>
                <a:lnTo>
                  <a:pt x="1821484" y="2648746"/>
                </a:lnTo>
                <a:lnTo>
                  <a:pt x="1815413" y="2654817"/>
                </a:lnTo>
                <a:lnTo>
                  <a:pt x="1800233" y="2660889"/>
                </a:lnTo>
                <a:lnTo>
                  <a:pt x="1794163" y="2673033"/>
                </a:lnTo>
                <a:lnTo>
                  <a:pt x="1791126" y="2679104"/>
                </a:lnTo>
                <a:lnTo>
                  <a:pt x="1788091" y="2688212"/>
                </a:lnTo>
                <a:lnTo>
                  <a:pt x="1788091" y="2691247"/>
                </a:lnTo>
                <a:lnTo>
                  <a:pt x="1785055" y="2697319"/>
                </a:lnTo>
                <a:lnTo>
                  <a:pt x="1788091" y="2712498"/>
                </a:lnTo>
                <a:lnTo>
                  <a:pt x="1788091" y="2724641"/>
                </a:lnTo>
                <a:lnTo>
                  <a:pt x="1794163" y="2739820"/>
                </a:lnTo>
                <a:lnTo>
                  <a:pt x="1797198" y="2745892"/>
                </a:lnTo>
                <a:lnTo>
                  <a:pt x="1797198" y="2751964"/>
                </a:lnTo>
                <a:lnTo>
                  <a:pt x="1809342" y="2776250"/>
                </a:lnTo>
                <a:lnTo>
                  <a:pt x="1815413" y="2800536"/>
                </a:lnTo>
                <a:lnTo>
                  <a:pt x="1812377" y="2815715"/>
                </a:lnTo>
                <a:lnTo>
                  <a:pt x="1809342" y="2821787"/>
                </a:lnTo>
                <a:lnTo>
                  <a:pt x="1809342" y="2827859"/>
                </a:lnTo>
                <a:lnTo>
                  <a:pt x="1803270" y="2830895"/>
                </a:lnTo>
                <a:lnTo>
                  <a:pt x="1797198" y="2830895"/>
                </a:lnTo>
                <a:lnTo>
                  <a:pt x="1791126" y="2830895"/>
                </a:lnTo>
                <a:lnTo>
                  <a:pt x="1788091" y="2821787"/>
                </a:lnTo>
                <a:lnTo>
                  <a:pt x="1785055" y="2815715"/>
                </a:lnTo>
                <a:lnTo>
                  <a:pt x="1782019" y="2812680"/>
                </a:lnTo>
                <a:lnTo>
                  <a:pt x="1778984" y="2812680"/>
                </a:lnTo>
                <a:lnTo>
                  <a:pt x="1778984" y="2806608"/>
                </a:lnTo>
                <a:lnTo>
                  <a:pt x="1778984" y="2794465"/>
                </a:lnTo>
                <a:lnTo>
                  <a:pt x="1775947" y="2800536"/>
                </a:lnTo>
                <a:lnTo>
                  <a:pt x="1772912" y="2797501"/>
                </a:lnTo>
                <a:lnTo>
                  <a:pt x="1772912" y="2794465"/>
                </a:lnTo>
                <a:lnTo>
                  <a:pt x="1772912" y="2791429"/>
                </a:lnTo>
                <a:lnTo>
                  <a:pt x="1769876" y="2791429"/>
                </a:lnTo>
                <a:lnTo>
                  <a:pt x="1766840" y="2791429"/>
                </a:lnTo>
                <a:lnTo>
                  <a:pt x="1760768" y="2776250"/>
                </a:lnTo>
                <a:lnTo>
                  <a:pt x="1757733" y="2767143"/>
                </a:lnTo>
                <a:lnTo>
                  <a:pt x="1757733" y="2764106"/>
                </a:lnTo>
                <a:lnTo>
                  <a:pt x="1757733" y="2761071"/>
                </a:lnTo>
                <a:lnTo>
                  <a:pt x="1760768" y="2748927"/>
                </a:lnTo>
                <a:lnTo>
                  <a:pt x="1760768" y="2742856"/>
                </a:lnTo>
                <a:lnTo>
                  <a:pt x="1754697" y="2739820"/>
                </a:lnTo>
                <a:lnTo>
                  <a:pt x="1751661" y="2736785"/>
                </a:lnTo>
                <a:lnTo>
                  <a:pt x="1748625" y="2733749"/>
                </a:lnTo>
                <a:lnTo>
                  <a:pt x="1739518" y="2721605"/>
                </a:lnTo>
                <a:lnTo>
                  <a:pt x="1724339" y="2718570"/>
                </a:lnTo>
                <a:lnTo>
                  <a:pt x="1715232" y="2724641"/>
                </a:lnTo>
                <a:lnTo>
                  <a:pt x="1712195" y="2727677"/>
                </a:lnTo>
                <a:lnTo>
                  <a:pt x="1706123" y="2727677"/>
                </a:lnTo>
                <a:lnTo>
                  <a:pt x="1703088" y="2724641"/>
                </a:lnTo>
                <a:lnTo>
                  <a:pt x="1703088" y="2721605"/>
                </a:lnTo>
                <a:lnTo>
                  <a:pt x="1697016" y="2715534"/>
                </a:lnTo>
                <a:lnTo>
                  <a:pt x="1687909" y="2712498"/>
                </a:lnTo>
                <a:lnTo>
                  <a:pt x="1681838" y="2706426"/>
                </a:lnTo>
                <a:lnTo>
                  <a:pt x="1672730" y="2709462"/>
                </a:lnTo>
                <a:lnTo>
                  <a:pt x="1660587" y="2712498"/>
                </a:lnTo>
                <a:lnTo>
                  <a:pt x="1654515" y="2712498"/>
                </a:lnTo>
                <a:lnTo>
                  <a:pt x="1651479" y="2709462"/>
                </a:lnTo>
                <a:lnTo>
                  <a:pt x="1651479" y="2703391"/>
                </a:lnTo>
                <a:lnTo>
                  <a:pt x="1651479" y="2700355"/>
                </a:lnTo>
                <a:lnTo>
                  <a:pt x="1642372" y="2709462"/>
                </a:lnTo>
                <a:lnTo>
                  <a:pt x="1639336" y="2712498"/>
                </a:lnTo>
                <a:lnTo>
                  <a:pt x="1633264" y="2709462"/>
                </a:lnTo>
                <a:lnTo>
                  <a:pt x="1624157" y="2712498"/>
                </a:lnTo>
                <a:lnTo>
                  <a:pt x="1621121" y="2718570"/>
                </a:lnTo>
                <a:lnTo>
                  <a:pt x="1615050" y="2727677"/>
                </a:lnTo>
                <a:lnTo>
                  <a:pt x="1630229" y="2739820"/>
                </a:lnTo>
                <a:lnTo>
                  <a:pt x="1621121" y="2739820"/>
                </a:lnTo>
                <a:lnTo>
                  <a:pt x="1615050" y="2733749"/>
                </a:lnTo>
                <a:lnTo>
                  <a:pt x="1605943" y="2730713"/>
                </a:lnTo>
                <a:lnTo>
                  <a:pt x="1605943" y="2739820"/>
                </a:lnTo>
                <a:lnTo>
                  <a:pt x="1599871" y="2736785"/>
                </a:lnTo>
                <a:lnTo>
                  <a:pt x="1593799" y="2739820"/>
                </a:lnTo>
                <a:lnTo>
                  <a:pt x="1581656" y="2736785"/>
                </a:lnTo>
                <a:lnTo>
                  <a:pt x="1578620" y="2730713"/>
                </a:lnTo>
                <a:lnTo>
                  <a:pt x="1572549" y="2724641"/>
                </a:lnTo>
                <a:lnTo>
                  <a:pt x="1566477" y="2724641"/>
                </a:lnTo>
                <a:lnTo>
                  <a:pt x="1566477" y="2727677"/>
                </a:lnTo>
                <a:lnTo>
                  <a:pt x="1545226" y="2724641"/>
                </a:lnTo>
                <a:lnTo>
                  <a:pt x="1533083" y="2724641"/>
                </a:lnTo>
                <a:lnTo>
                  <a:pt x="1520940" y="2727677"/>
                </a:lnTo>
                <a:lnTo>
                  <a:pt x="1508796" y="2736785"/>
                </a:lnTo>
                <a:lnTo>
                  <a:pt x="1502725" y="2739820"/>
                </a:lnTo>
                <a:lnTo>
                  <a:pt x="1499689" y="2745892"/>
                </a:lnTo>
                <a:lnTo>
                  <a:pt x="1487546" y="2751964"/>
                </a:lnTo>
                <a:lnTo>
                  <a:pt x="1481475" y="2751964"/>
                </a:lnTo>
                <a:lnTo>
                  <a:pt x="1472366" y="2751964"/>
                </a:lnTo>
                <a:lnTo>
                  <a:pt x="1469331" y="2754999"/>
                </a:lnTo>
                <a:lnTo>
                  <a:pt x="1469331" y="2761071"/>
                </a:lnTo>
                <a:lnTo>
                  <a:pt x="1463260" y="2764106"/>
                </a:lnTo>
                <a:lnTo>
                  <a:pt x="1463260" y="2767143"/>
                </a:lnTo>
                <a:lnTo>
                  <a:pt x="1457188" y="2770178"/>
                </a:lnTo>
                <a:lnTo>
                  <a:pt x="1457188" y="2779285"/>
                </a:lnTo>
                <a:lnTo>
                  <a:pt x="1454152" y="2782322"/>
                </a:lnTo>
                <a:lnTo>
                  <a:pt x="1454152" y="2785357"/>
                </a:lnTo>
                <a:lnTo>
                  <a:pt x="1454152" y="2794465"/>
                </a:lnTo>
                <a:lnTo>
                  <a:pt x="1455396" y="2799441"/>
                </a:lnTo>
                <a:cubicBezTo>
                  <a:pt x="1458712" y="2801465"/>
                  <a:pt x="1460914" y="2803856"/>
                  <a:pt x="1461742" y="2809644"/>
                </a:cubicBezTo>
                <a:cubicBezTo>
                  <a:pt x="1462082" y="2812020"/>
                  <a:pt x="1460225" y="2814198"/>
                  <a:pt x="1459466" y="2816475"/>
                </a:cubicBezTo>
                <a:cubicBezTo>
                  <a:pt x="1459389" y="2816526"/>
                  <a:pt x="1459312" y="2816577"/>
                  <a:pt x="1459236" y="2816628"/>
                </a:cubicBezTo>
                <a:lnTo>
                  <a:pt x="1454151" y="2836966"/>
                </a:lnTo>
                <a:lnTo>
                  <a:pt x="1451115" y="2849109"/>
                </a:lnTo>
                <a:lnTo>
                  <a:pt x="1448079" y="2855181"/>
                </a:lnTo>
                <a:lnTo>
                  <a:pt x="1448079" y="2861253"/>
                </a:lnTo>
                <a:lnTo>
                  <a:pt x="1448079" y="2876432"/>
                </a:lnTo>
                <a:lnTo>
                  <a:pt x="1448079" y="2882504"/>
                </a:lnTo>
                <a:lnTo>
                  <a:pt x="1445044" y="2888574"/>
                </a:lnTo>
                <a:lnTo>
                  <a:pt x="1448079" y="2897683"/>
                </a:lnTo>
                <a:lnTo>
                  <a:pt x="1451115" y="2909825"/>
                </a:lnTo>
                <a:lnTo>
                  <a:pt x="1454151" y="2918933"/>
                </a:lnTo>
                <a:lnTo>
                  <a:pt x="1460223" y="2931076"/>
                </a:lnTo>
                <a:lnTo>
                  <a:pt x="1469330" y="2940184"/>
                </a:lnTo>
                <a:lnTo>
                  <a:pt x="1478437" y="2952327"/>
                </a:lnTo>
                <a:lnTo>
                  <a:pt x="1478437" y="2958398"/>
                </a:lnTo>
                <a:lnTo>
                  <a:pt x="1481474" y="2961435"/>
                </a:lnTo>
                <a:lnTo>
                  <a:pt x="1490581" y="2973577"/>
                </a:lnTo>
                <a:lnTo>
                  <a:pt x="1502724" y="2973577"/>
                </a:lnTo>
                <a:lnTo>
                  <a:pt x="1511831" y="2979649"/>
                </a:lnTo>
                <a:lnTo>
                  <a:pt x="1514867" y="2985721"/>
                </a:lnTo>
                <a:lnTo>
                  <a:pt x="1523975" y="2985721"/>
                </a:lnTo>
                <a:lnTo>
                  <a:pt x="1533082" y="2979649"/>
                </a:lnTo>
                <a:lnTo>
                  <a:pt x="1542189" y="2979649"/>
                </a:lnTo>
                <a:lnTo>
                  <a:pt x="1551297" y="2976614"/>
                </a:lnTo>
                <a:lnTo>
                  <a:pt x="1560405" y="2973577"/>
                </a:lnTo>
                <a:lnTo>
                  <a:pt x="1569512" y="2973577"/>
                </a:lnTo>
                <a:lnTo>
                  <a:pt x="1569512" y="2979649"/>
                </a:lnTo>
                <a:lnTo>
                  <a:pt x="1581655" y="2976614"/>
                </a:lnTo>
                <a:lnTo>
                  <a:pt x="1584691" y="2973577"/>
                </a:lnTo>
                <a:lnTo>
                  <a:pt x="1587727" y="2967506"/>
                </a:lnTo>
                <a:lnTo>
                  <a:pt x="1593798" y="2958398"/>
                </a:lnTo>
                <a:lnTo>
                  <a:pt x="1596834" y="2949291"/>
                </a:lnTo>
                <a:lnTo>
                  <a:pt x="1599870" y="2949291"/>
                </a:lnTo>
                <a:lnTo>
                  <a:pt x="1599870" y="2943219"/>
                </a:lnTo>
                <a:lnTo>
                  <a:pt x="1599870" y="2940184"/>
                </a:lnTo>
                <a:lnTo>
                  <a:pt x="1599870" y="2931076"/>
                </a:lnTo>
                <a:lnTo>
                  <a:pt x="1602905" y="2921969"/>
                </a:lnTo>
                <a:lnTo>
                  <a:pt x="1615049" y="2918933"/>
                </a:lnTo>
                <a:lnTo>
                  <a:pt x="1627192" y="2915897"/>
                </a:lnTo>
                <a:lnTo>
                  <a:pt x="1645407" y="2912862"/>
                </a:lnTo>
                <a:lnTo>
                  <a:pt x="1651479" y="2909825"/>
                </a:lnTo>
                <a:lnTo>
                  <a:pt x="1657550" y="2912862"/>
                </a:lnTo>
                <a:lnTo>
                  <a:pt x="1666657" y="2915897"/>
                </a:lnTo>
                <a:lnTo>
                  <a:pt x="1669693" y="2909825"/>
                </a:lnTo>
                <a:lnTo>
                  <a:pt x="1675765" y="2915897"/>
                </a:lnTo>
                <a:lnTo>
                  <a:pt x="1672730" y="2928041"/>
                </a:lnTo>
                <a:lnTo>
                  <a:pt x="1666657" y="2934112"/>
                </a:lnTo>
                <a:lnTo>
                  <a:pt x="1663622" y="2940184"/>
                </a:lnTo>
                <a:lnTo>
                  <a:pt x="1660586" y="2949291"/>
                </a:lnTo>
                <a:lnTo>
                  <a:pt x="1660586" y="2952327"/>
                </a:lnTo>
                <a:lnTo>
                  <a:pt x="1660586" y="2958398"/>
                </a:lnTo>
                <a:lnTo>
                  <a:pt x="1657550" y="2970542"/>
                </a:lnTo>
                <a:lnTo>
                  <a:pt x="1654514" y="2979649"/>
                </a:lnTo>
                <a:lnTo>
                  <a:pt x="1648443" y="2976614"/>
                </a:lnTo>
                <a:lnTo>
                  <a:pt x="1645407" y="2973577"/>
                </a:lnTo>
                <a:lnTo>
                  <a:pt x="1645407" y="2974325"/>
                </a:lnTo>
                <a:lnTo>
                  <a:pt x="1646167" y="2980408"/>
                </a:lnTo>
                <a:lnTo>
                  <a:pt x="1646167" y="2980409"/>
                </a:lnTo>
                <a:lnTo>
                  <a:pt x="1648444" y="2982685"/>
                </a:lnTo>
                <a:lnTo>
                  <a:pt x="1648444" y="2985721"/>
                </a:lnTo>
                <a:lnTo>
                  <a:pt x="1645408" y="2994828"/>
                </a:lnTo>
                <a:lnTo>
                  <a:pt x="1645408" y="3000900"/>
                </a:lnTo>
                <a:lnTo>
                  <a:pt x="1645408" y="3010007"/>
                </a:lnTo>
                <a:lnTo>
                  <a:pt x="1642372" y="3019114"/>
                </a:lnTo>
                <a:lnTo>
                  <a:pt x="1639336" y="3025186"/>
                </a:lnTo>
                <a:lnTo>
                  <a:pt x="1633264" y="3028222"/>
                </a:lnTo>
                <a:lnTo>
                  <a:pt x="1633264" y="3031258"/>
                </a:lnTo>
                <a:lnTo>
                  <a:pt x="1630229" y="3034294"/>
                </a:lnTo>
                <a:lnTo>
                  <a:pt x="1639336" y="3037330"/>
                </a:lnTo>
                <a:lnTo>
                  <a:pt x="1645408" y="3037330"/>
                </a:lnTo>
                <a:lnTo>
                  <a:pt x="1654515" y="3034294"/>
                </a:lnTo>
                <a:lnTo>
                  <a:pt x="1660587" y="3037330"/>
                </a:lnTo>
                <a:lnTo>
                  <a:pt x="1666658" y="3037330"/>
                </a:lnTo>
                <a:lnTo>
                  <a:pt x="1678802" y="3037330"/>
                </a:lnTo>
                <a:lnTo>
                  <a:pt x="1690945" y="3034294"/>
                </a:lnTo>
                <a:lnTo>
                  <a:pt x="1715232" y="3034294"/>
                </a:lnTo>
                <a:lnTo>
                  <a:pt x="1727374" y="3037330"/>
                </a:lnTo>
                <a:lnTo>
                  <a:pt x="1733446" y="3043401"/>
                </a:lnTo>
                <a:lnTo>
                  <a:pt x="1730410" y="3043401"/>
                </a:lnTo>
                <a:lnTo>
                  <a:pt x="1733446" y="3046437"/>
                </a:lnTo>
                <a:lnTo>
                  <a:pt x="1736482" y="3049473"/>
                </a:lnTo>
                <a:lnTo>
                  <a:pt x="1739518" y="3046437"/>
                </a:lnTo>
                <a:lnTo>
                  <a:pt x="1742554" y="3046437"/>
                </a:lnTo>
                <a:lnTo>
                  <a:pt x="1751661" y="3052509"/>
                </a:lnTo>
                <a:lnTo>
                  <a:pt x="1745589" y="3055545"/>
                </a:lnTo>
                <a:lnTo>
                  <a:pt x="1748625" y="3061616"/>
                </a:lnTo>
                <a:lnTo>
                  <a:pt x="1748625" y="3070724"/>
                </a:lnTo>
                <a:lnTo>
                  <a:pt x="1745589" y="3076795"/>
                </a:lnTo>
                <a:lnTo>
                  <a:pt x="1742554" y="3082866"/>
                </a:lnTo>
                <a:lnTo>
                  <a:pt x="1742554" y="3085903"/>
                </a:lnTo>
                <a:lnTo>
                  <a:pt x="1742554" y="3095010"/>
                </a:lnTo>
                <a:lnTo>
                  <a:pt x="1742554" y="3104117"/>
                </a:lnTo>
                <a:lnTo>
                  <a:pt x="1739518" y="3116261"/>
                </a:lnTo>
                <a:lnTo>
                  <a:pt x="1739518" y="3122333"/>
                </a:lnTo>
                <a:lnTo>
                  <a:pt x="1739518" y="3125368"/>
                </a:lnTo>
                <a:lnTo>
                  <a:pt x="1736482" y="3128404"/>
                </a:lnTo>
                <a:lnTo>
                  <a:pt x="1739518" y="3140547"/>
                </a:lnTo>
                <a:lnTo>
                  <a:pt x="1739518" y="3143583"/>
                </a:lnTo>
                <a:lnTo>
                  <a:pt x="1742554" y="3146619"/>
                </a:lnTo>
                <a:lnTo>
                  <a:pt x="1748625" y="3155726"/>
                </a:lnTo>
                <a:lnTo>
                  <a:pt x="1760768" y="3167869"/>
                </a:lnTo>
                <a:lnTo>
                  <a:pt x="1763804" y="3167869"/>
                </a:lnTo>
                <a:lnTo>
                  <a:pt x="1766840" y="3173941"/>
                </a:lnTo>
                <a:lnTo>
                  <a:pt x="1772912" y="3180013"/>
                </a:lnTo>
                <a:lnTo>
                  <a:pt x="1785055" y="3183048"/>
                </a:lnTo>
                <a:lnTo>
                  <a:pt x="1800233" y="3180013"/>
                </a:lnTo>
                <a:lnTo>
                  <a:pt x="1815413" y="3173941"/>
                </a:lnTo>
                <a:lnTo>
                  <a:pt x="1818449" y="3170905"/>
                </a:lnTo>
                <a:lnTo>
                  <a:pt x="1833628" y="3167869"/>
                </a:lnTo>
                <a:lnTo>
                  <a:pt x="1845771" y="3170905"/>
                </a:lnTo>
                <a:lnTo>
                  <a:pt x="1854878" y="3173941"/>
                </a:lnTo>
                <a:lnTo>
                  <a:pt x="1860950" y="3180013"/>
                </a:lnTo>
                <a:lnTo>
                  <a:pt x="1870057" y="3186085"/>
                </a:lnTo>
                <a:lnTo>
                  <a:pt x="1879165" y="3198227"/>
                </a:lnTo>
                <a:lnTo>
                  <a:pt x="1885236" y="3186085"/>
                </a:lnTo>
                <a:lnTo>
                  <a:pt x="1891308" y="3180013"/>
                </a:lnTo>
                <a:lnTo>
                  <a:pt x="1891308" y="3176977"/>
                </a:lnTo>
                <a:lnTo>
                  <a:pt x="1900415" y="3170905"/>
                </a:lnTo>
                <a:lnTo>
                  <a:pt x="1906487" y="3167869"/>
                </a:lnTo>
                <a:lnTo>
                  <a:pt x="1906487" y="3152690"/>
                </a:lnTo>
                <a:lnTo>
                  <a:pt x="1909524" y="3143583"/>
                </a:lnTo>
                <a:lnTo>
                  <a:pt x="1921666" y="3134475"/>
                </a:lnTo>
                <a:lnTo>
                  <a:pt x="1930773" y="3137512"/>
                </a:lnTo>
                <a:lnTo>
                  <a:pt x="1936845" y="3131440"/>
                </a:lnTo>
                <a:lnTo>
                  <a:pt x="1945953" y="3131440"/>
                </a:lnTo>
                <a:lnTo>
                  <a:pt x="1952024" y="3131440"/>
                </a:lnTo>
                <a:lnTo>
                  <a:pt x="1961132" y="3128404"/>
                </a:lnTo>
                <a:lnTo>
                  <a:pt x="1967204" y="3122333"/>
                </a:lnTo>
                <a:lnTo>
                  <a:pt x="1976311" y="3119296"/>
                </a:lnTo>
                <a:lnTo>
                  <a:pt x="1988454" y="3110189"/>
                </a:lnTo>
                <a:lnTo>
                  <a:pt x="1994525" y="3110189"/>
                </a:lnTo>
                <a:lnTo>
                  <a:pt x="1997562" y="3116261"/>
                </a:lnTo>
                <a:lnTo>
                  <a:pt x="1994525" y="3119296"/>
                </a:lnTo>
                <a:lnTo>
                  <a:pt x="1982383" y="3125368"/>
                </a:lnTo>
                <a:lnTo>
                  <a:pt x="1982383" y="3134475"/>
                </a:lnTo>
                <a:lnTo>
                  <a:pt x="1988454" y="3143583"/>
                </a:lnTo>
                <a:lnTo>
                  <a:pt x="1985418" y="3152690"/>
                </a:lnTo>
                <a:lnTo>
                  <a:pt x="1979346" y="3161798"/>
                </a:lnTo>
                <a:lnTo>
                  <a:pt x="1979346" y="3167869"/>
                </a:lnTo>
                <a:lnTo>
                  <a:pt x="1982383" y="3170905"/>
                </a:lnTo>
                <a:lnTo>
                  <a:pt x="1985418" y="3173941"/>
                </a:lnTo>
                <a:lnTo>
                  <a:pt x="1985418" y="3176977"/>
                </a:lnTo>
                <a:lnTo>
                  <a:pt x="1994525" y="3176977"/>
                </a:lnTo>
                <a:lnTo>
                  <a:pt x="2000597" y="3167869"/>
                </a:lnTo>
                <a:lnTo>
                  <a:pt x="1991490" y="3146619"/>
                </a:lnTo>
                <a:lnTo>
                  <a:pt x="1994525" y="3137512"/>
                </a:lnTo>
                <a:lnTo>
                  <a:pt x="2003634" y="3134475"/>
                </a:lnTo>
                <a:lnTo>
                  <a:pt x="2015776" y="3128404"/>
                </a:lnTo>
                <a:lnTo>
                  <a:pt x="2021848" y="3128404"/>
                </a:lnTo>
                <a:lnTo>
                  <a:pt x="2024883" y="3128404"/>
                </a:lnTo>
                <a:lnTo>
                  <a:pt x="2024883" y="3125368"/>
                </a:lnTo>
                <a:lnTo>
                  <a:pt x="2021848" y="3125368"/>
                </a:lnTo>
                <a:lnTo>
                  <a:pt x="2015776" y="3122333"/>
                </a:lnTo>
                <a:lnTo>
                  <a:pt x="2021848" y="3113224"/>
                </a:lnTo>
                <a:lnTo>
                  <a:pt x="2027920" y="3119296"/>
                </a:lnTo>
                <a:lnTo>
                  <a:pt x="2030955" y="3128404"/>
                </a:lnTo>
                <a:lnTo>
                  <a:pt x="2037027" y="3128404"/>
                </a:lnTo>
                <a:lnTo>
                  <a:pt x="2049170" y="3131440"/>
                </a:lnTo>
                <a:lnTo>
                  <a:pt x="2055242" y="3140547"/>
                </a:lnTo>
                <a:lnTo>
                  <a:pt x="2061313" y="3149654"/>
                </a:lnTo>
                <a:lnTo>
                  <a:pt x="2070421" y="3149654"/>
                </a:lnTo>
                <a:lnTo>
                  <a:pt x="2085600" y="3146619"/>
                </a:lnTo>
                <a:lnTo>
                  <a:pt x="2091672" y="3146619"/>
                </a:lnTo>
                <a:lnTo>
                  <a:pt x="2097743" y="3146619"/>
                </a:lnTo>
                <a:lnTo>
                  <a:pt x="2103814" y="3149654"/>
                </a:lnTo>
                <a:lnTo>
                  <a:pt x="2106851" y="3152690"/>
                </a:lnTo>
                <a:lnTo>
                  <a:pt x="2118993" y="3155726"/>
                </a:lnTo>
                <a:lnTo>
                  <a:pt x="2131137" y="3155726"/>
                </a:lnTo>
                <a:lnTo>
                  <a:pt x="2143280" y="3149654"/>
                </a:lnTo>
                <a:lnTo>
                  <a:pt x="2152388" y="3149654"/>
                </a:lnTo>
                <a:lnTo>
                  <a:pt x="2140244" y="3146619"/>
                </a:lnTo>
                <a:lnTo>
                  <a:pt x="2161495" y="3143583"/>
                </a:lnTo>
                <a:lnTo>
                  <a:pt x="2173638" y="3143583"/>
                </a:lnTo>
                <a:lnTo>
                  <a:pt x="2182746" y="3146619"/>
                </a:lnTo>
                <a:lnTo>
                  <a:pt x="2179710" y="3146619"/>
                </a:lnTo>
                <a:lnTo>
                  <a:pt x="2176674" y="3146619"/>
                </a:lnTo>
                <a:lnTo>
                  <a:pt x="2170602" y="3146619"/>
                </a:lnTo>
                <a:lnTo>
                  <a:pt x="2170602" y="3149654"/>
                </a:lnTo>
                <a:lnTo>
                  <a:pt x="2176674" y="3158762"/>
                </a:lnTo>
                <a:lnTo>
                  <a:pt x="2176674" y="3161798"/>
                </a:lnTo>
                <a:lnTo>
                  <a:pt x="2179710" y="3164834"/>
                </a:lnTo>
                <a:lnTo>
                  <a:pt x="2182746" y="3167869"/>
                </a:lnTo>
                <a:lnTo>
                  <a:pt x="2185782" y="3161798"/>
                </a:lnTo>
                <a:lnTo>
                  <a:pt x="2188817" y="3161798"/>
                </a:lnTo>
                <a:lnTo>
                  <a:pt x="2191853" y="3164834"/>
                </a:lnTo>
                <a:lnTo>
                  <a:pt x="2191853" y="3167869"/>
                </a:lnTo>
                <a:lnTo>
                  <a:pt x="2194889" y="3164834"/>
                </a:lnTo>
                <a:lnTo>
                  <a:pt x="2197924" y="3164834"/>
                </a:lnTo>
                <a:lnTo>
                  <a:pt x="2203996" y="3167869"/>
                </a:lnTo>
                <a:lnTo>
                  <a:pt x="2213103" y="3173941"/>
                </a:lnTo>
                <a:lnTo>
                  <a:pt x="2207033" y="3176977"/>
                </a:lnTo>
                <a:lnTo>
                  <a:pt x="2203996" y="3183048"/>
                </a:lnTo>
                <a:lnTo>
                  <a:pt x="2197924" y="3186085"/>
                </a:lnTo>
                <a:lnTo>
                  <a:pt x="2194889" y="3189120"/>
                </a:lnTo>
                <a:lnTo>
                  <a:pt x="2200961" y="3192156"/>
                </a:lnTo>
                <a:lnTo>
                  <a:pt x="2203996" y="3192156"/>
                </a:lnTo>
                <a:lnTo>
                  <a:pt x="2210068" y="3189120"/>
                </a:lnTo>
                <a:lnTo>
                  <a:pt x="2216140" y="3189120"/>
                </a:lnTo>
                <a:lnTo>
                  <a:pt x="2222212" y="3189120"/>
                </a:lnTo>
                <a:lnTo>
                  <a:pt x="2228282" y="3189120"/>
                </a:lnTo>
                <a:lnTo>
                  <a:pt x="2249533" y="3201264"/>
                </a:lnTo>
                <a:lnTo>
                  <a:pt x="2258641" y="3210371"/>
                </a:lnTo>
                <a:lnTo>
                  <a:pt x="2258641" y="3219478"/>
                </a:lnTo>
                <a:lnTo>
                  <a:pt x="2261677" y="3222514"/>
                </a:lnTo>
                <a:lnTo>
                  <a:pt x="2264712" y="3225550"/>
                </a:lnTo>
                <a:lnTo>
                  <a:pt x="2267748" y="3225550"/>
                </a:lnTo>
                <a:lnTo>
                  <a:pt x="2270784" y="3228585"/>
                </a:lnTo>
                <a:lnTo>
                  <a:pt x="2276856" y="3231622"/>
                </a:lnTo>
                <a:lnTo>
                  <a:pt x="2279892" y="3234657"/>
                </a:lnTo>
                <a:lnTo>
                  <a:pt x="2288999" y="3243764"/>
                </a:lnTo>
                <a:lnTo>
                  <a:pt x="2292035" y="3240729"/>
                </a:lnTo>
                <a:lnTo>
                  <a:pt x="2295071" y="3240729"/>
                </a:lnTo>
                <a:lnTo>
                  <a:pt x="2304178" y="3243764"/>
                </a:lnTo>
                <a:lnTo>
                  <a:pt x="2313285" y="3243764"/>
                </a:lnTo>
                <a:lnTo>
                  <a:pt x="2319357" y="3240729"/>
                </a:lnTo>
                <a:lnTo>
                  <a:pt x="2328464" y="3243764"/>
                </a:lnTo>
                <a:lnTo>
                  <a:pt x="2331501" y="3240729"/>
                </a:lnTo>
                <a:lnTo>
                  <a:pt x="2334536" y="3240729"/>
                </a:lnTo>
                <a:lnTo>
                  <a:pt x="2352751" y="3246801"/>
                </a:lnTo>
                <a:lnTo>
                  <a:pt x="2374002" y="3252872"/>
                </a:lnTo>
                <a:lnTo>
                  <a:pt x="2392216" y="3268051"/>
                </a:lnTo>
                <a:lnTo>
                  <a:pt x="2395252" y="3268051"/>
                </a:lnTo>
                <a:lnTo>
                  <a:pt x="2398288" y="3274123"/>
                </a:lnTo>
                <a:lnTo>
                  <a:pt x="2401323" y="3283228"/>
                </a:lnTo>
                <a:lnTo>
                  <a:pt x="2404359" y="3277158"/>
                </a:lnTo>
                <a:lnTo>
                  <a:pt x="2407394" y="3280193"/>
                </a:lnTo>
                <a:lnTo>
                  <a:pt x="2413466" y="3289301"/>
                </a:lnTo>
                <a:lnTo>
                  <a:pt x="2416502" y="3310552"/>
                </a:lnTo>
                <a:lnTo>
                  <a:pt x="2419538" y="3319659"/>
                </a:lnTo>
                <a:lnTo>
                  <a:pt x="2422573" y="3322694"/>
                </a:lnTo>
                <a:lnTo>
                  <a:pt x="2422573" y="3325731"/>
                </a:lnTo>
                <a:lnTo>
                  <a:pt x="2425610" y="3328766"/>
                </a:lnTo>
                <a:lnTo>
                  <a:pt x="2428645" y="3328766"/>
                </a:lnTo>
                <a:lnTo>
                  <a:pt x="2434717" y="3328766"/>
                </a:lnTo>
                <a:lnTo>
                  <a:pt x="2437752" y="3337873"/>
                </a:lnTo>
                <a:lnTo>
                  <a:pt x="2434717" y="3340910"/>
                </a:lnTo>
                <a:lnTo>
                  <a:pt x="2437752" y="3340910"/>
                </a:lnTo>
                <a:lnTo>
                  <a:pt x="2434717" y="3343945"/>
                </a:lnTo>
                <a:lnTo>
                  <a:pt x="2422573" y="3356089"/>
                </a:lnTo>
                <a:lnTo>
                  <a:pt x="2413466" y="3362160"/>
                </a:lnTo>
                <a:lnTo>
                  <a:pt x="2404359" y="3371268"/>
                </a:lnTo>
                <a:lnTo>
                  <a:pt x="2398287" y="3383411"/>
                </a:lnTo>
                <a:lnTo>
                  <a:pt x="2398287" y="3386447"/>
                </a:lnTo>
                <a:lnTo>
                  <a:pt x="2392215" y="3389483"/>
                </a:lnTo>
                <a:lnTo>
                  <a:pt x="2389180" y="3395554"/>
                </a:lnTo>
                <a:lnTo>
                  <a:pt x="2380072" y="3395554"/>
                </a:lnTo>
                <a:lnTo>
                  <a:pt x="2380072" y="3398590"/>
                </a:lnTo>
                <a:lnTo>
                  <a:pt x="2389180" y="3398590"/>
                </a:lnTo>
                <a:lnTo>
                  <a:pt x="2395251" y="3395554"/>
                </a:lnTo>
                <a:lnTo>
                  <a:pt x="2413466" y="3386447"/>
                </a:lnTo>
                <a:lnTo>
                  <a:pt x="2419538" y="3398590"/>
                </a:lnTo>
                <a:lnTo>
                  <a:pt x="2422573" y="3404662"/>
                </a:lnTo>
                <a:lnTo>
                  <a:pt x="2431682" y="3401626"/>
                </a:lnTo>
                <a:lnTo>
                  <a:pt x="2428645" y="3401626"/>
                </a:lnTo>
                <a:lnTo>
                  <a:pt x="2422573" y="3401626"/>
                </a:lnTo>
                <a:lnTo>
                  <a:pt x="2419538" y="3398590"/>
                </a:lnTo>
                <a:lnTo>
                  <a:pt x="2419538" y="3392518"/>
                </a:lnTo>
                <a:lnTo>
                  <a:pt x="2422573" y="3389483"/>
                </a:lnTo>
                <a:lnTo>
                  <a:pt x="2419538" y="3386447"/>
                </a:lnTo>
                <a:lnTo>
                  <a:pt x="2419538" y="3383411"/>
                </a:lnTo>
                <a:lnTo>
                  <a:pt x="2419538" y="3377339"/>
                </a:lnTo>
                <a:lnTo>
                  <a:pt x="2422573" y="3368232"/>
                </a:lnTo>
                <a:lnTo>
                  <a:pt x="2437752" y="3368232"/>
                </a:lnTo>
                <a:lnTo>
                  <a:pt x="2440789" y="3365196"/>
                </a:lnTo>
                <a:lnTo>
                  <a:pt x="2446861" y="3362160"/>
                </a:lnTo>
                <a:lnTo>
                  <a:pt x="2446861" y="3368232"/>
                </a:lnTo>
                <a:lnTo>
                  <a:pt x="2459003" y="3368232"/>
                </a:lnTo>
                <a:lnTo>
                  <a:pt x="2462039" y="3371268"/>
                </a:lnTo>
                <a:lnTo>
                  <a:pt x="2465075" y="3374303"/>
                </a:lnTo>
                <a:lnTo>
                  <a:pt x="2462039" y="3383411"/>
                </a:lnTo>
                <a:lnTo>
                  <a:pt x="2459003" y="3389483"/>
                </a:lnTo>
                <a:lnTo>
                  <a:pt x="2459003" y="3392518"/>
                </a:lnTo>
                <a:lnTo>
                  <a:pt x="2455968" y="3392518"/>
                </a:lnTo>
                <a:lnTo>
                  <a:pt x="2449896" y="3392518"/>
                </a:lnTo>
                <a:lnTo>
                  <a:pt x="2440789" y="3401626"/>
                </a:lnTo>
                <a:lnTo>
                  <a:pt x="2446861" y="3401626"/>
                </a:lnTo>
                <a:lnTo>
                  <a:pt x="2459003" y="3395554"/>
                </a:lnTo>
                <a:lnTo>
                  <a:pt x="2462039" y="3395554"/>
                </a:lnTo>
                <a:lnTo>
                  <a:pt x="2465075" y="3395554"/>
                </a:lnTo>
                <a:lnTo>
                  <a:pt x="2465075" y="3392518"/>
                </a:lnTo>
                <a:lnTo>
                  <a:pt x="2468111" y="3389483"/>
                </a:lnTo>
                <a:lnTo>
                  <a:pt x="2471147" y="3383411"/>
                </a:lnTo>
                <a:lnTo>
                  <a:pt x="2471147" y="3380375"/>
                </a:lnTo>
                <a:lnTo>
                  <a:pt x="2480254" y="3377339"/>
                </a:lnTo>
                <a:lnTo>
                  <a:pt x="2483290" y="3380375"/>
                </a:lnTo>
                <a:lnTo>
                  <a:pt x="2492397" y="3380375"/>
                </a:lnTo>
                <a:lnTo>
                  <a:pt x="2504541" y="3383411"/>
                </a:lnTo>
                <a:lnTo>
                  <a:pt x="2516683" y="3386447"/>
                </a:lnTo>
                <a:lnTo>
                  <a:pt x="2528827" y="3392518"/>
                </a:lnTo>
                <a:lnTo>
                  <a:pt x="2531862" y="3395554"/>
                </a:lnTo>
                <a:lnTo>
                  <a:pt x="2534899" y="3395554"/>
                </a:lnTo>
                <a:lnTo>
                  <a:pt x="2537934" y="3395554"/>
                </a:lnTo>
                <a:lnTo>
                  <a:pt x="2544006" y="3401626"/>
                </a:lnTo>
                <a:lnTo>
                  <a:pt x="2547041" y="3401626"/>
                </a:lnTo>
                <a:lnTo>
                  <a:pt x="2547041" y="3407697"/>
                </a:lnTo>
                <a:lnTo>
                  <a:pt x="2550078" y="3410733"/>
                </a:lnTo>
                <a:lnTo>
                  <a:pt x="2547041" y="3416805"/>
                </a:lnTo>
                <a:lnTo>
                  <a:pt x="2544006" y="3422876"/>
                </a:lnTo>
                <a:lnTo>
                  <a:pt x="2540971" y="3431983"/>
                </a:lnTo>
                <a:lnTo>
                  <a:pt x="2547041" y="3425913"/>
                </a:lnTo>
                <a:lnTo>
                  <a:pt x="2550078" y="3416805"/>
                </a:lnTo>
                <a:lnTo>
                  <a:pt x="2559185" y="3416805"/>
                </a:lnTo>
                <a:lnTo>
                  <a:pt x="2562221" y="3416805"/>
                </a:lnTo>
                <a:lnTo>
                  <a:pt x="2571329" y="3413769"/>
                </a:lnTo>
                <a:lnTo>
                  <a:pt x="2583471" y="3416805"/>
                </a:lnTo>
                <a:lnTo>
                  <a:pt x="2601686" y="3422876"/>
                </a:lnTo>
                <a:lnTo>
                  <a:pt x="2619901" y="3422876"/>
                </a:lnTo>
                <a:lnTo>
                  <a:pt x="2625973" y="3422876"/>
                </a:lnTo>
                <a:lnTo>
                  <a:pt x="2638116" y="3422876"/>
                </a:lnTo>
                <a:lnTo>
                  <a:pt x="2659367" y="3435020"/>
                </a:lnTo>
                <a:lnTo>
                  <a:pt x="2671510" y="3441092"/>
                </a:lnTo>
                <a:lnTo>
                  <a:pt x="2680618" y="3450199"/>
                </a:lnTo>
                <a:lnTo>
                  <a:pt x="2723119" y="3468413"/>
                </a:lnTo>
                <a:lnTo>
                  <a:pt x="2732226" y="3468413"/>
                </a:lnTo>
                <a:lnTo>
                  <a:pt x="2744370" y="3492700"/>
                </a:lnTo>
                <a:lnTo>
                  <a:pt x="2747405" y="3504843"/>
                </a:lnTo>
                <a:lnTo>
                  <a:pt x="2747405" y="3513951"/>
                </a:lnTo>
                <a:lnTo>
                  <a:pt x="2747405" y="3526094"/>
                </a:lnTo>
                <a:lnTo>
                  <a:pt x="2747405" y="3532165"/>
                </a:lnTo>
                <a:lnTo>
                  <a:pt x="2744370" y="3538237"/>
                </a:lnTo>
                <a:lnTo>
                  <a:pt x="2744370" y="3541273"/>
                </a:lnTo>
                <a:lnTo>
                  <a:pt x="2741333" y="3547344"/>
                </a:lnTo>
                <a:lnTo>
                  <a:pt x="2735262" y="3556453"/>
                </a:lnTo>
                <a:lnTo>
                  <a:pt x="2726154" y="3565560"/>
                </a:lnTo>
                <a:lnTo>
                  <a:pt x="2720083" y="3574667"/>
                </a:lnTo>
                <a:lnTo>
                  <a:pt x="2714011" y="3580739"/>
                </a:lnTo>
                <a:lnTo>
                  <a:pt x="2710975" y="3583774"/>
                </a:lnTo>
                <a:lnTo>
                  <a:pt x="2701868" y="3589846"/>
                </a:lnTo>
                <a:lnTo>
                  <a:pt x="2698832" y="3592882"/>
                </a:lnTo>
                <a:lnTo>
                  <a:pt x="2698832" y="3595918"/>
                </a:lnTo>
                <a:lnTo>
                  <a:pt x="2695796" y="3601989"/>
                </a:lnTo>
                <a:lnTo>
                  <a:pt x="2689725" y="3614133"/>
                </a:lnTo>
                <a:lnTo>
                  <a:pt x="2674546" y="3632347"/>
                </a:lnTo>
                <a:lnTo>
                  <a:pt x="2671510" y="3635383"/>
                </a:lnTo>
                <a:lnTo>
                  <a:pt x="2665439" y="3635383"/>
                </a:lnTo>
                <a:lnTo>
                  <a:pt x="2662402" y="3641454"/>
                </a:lnTo>
                <a:lnTo>
                  <a:pt x="2662402" y="3644491"/>
                </a:lnTo>
                <a:lnTo>
                  <a:pt x="2662402" y="3653598"/>
                </a:lnTo>
                <a:lnTo>
                  <a:pt x="2662402" y="3665742"/>
                </a:lnTo>
                <a:lnTo>
                  <a:pt x="2662402" y="3677884"/>
                </a:lnTo>
                <a:lnTo>
                  <a:pt x="2662402" y="3690028"/>
                </a:lnTo>
                <a:lnTo>
                  <a:pt x="2662402" y="3699135"/>
                </a:lnTo>
                <a:lnTo>
                  <a:pt x="2662402" y="3702171"/>
                </a:lnTo>
                <a:lnTo>
                  <a:pt x="2659367" y="3717350"/>
                </a:lnTo>
                <a:lnTo>
                  <a:pt x="2656330" y="3729493"/>
                </a:lnTo>
                <a:lnTo>
                  <a:pt x="2656330" y="3732529"/>
                </a:lnTo>
                <a:lnTo>
                  <a:pt x="2653295" y="3741636"/>
                </a:lnTo>
                <a:lnTo>
                  <a:pt x="2647223" y="3759852"/>
                </a:lnTo>
                <a:lnTo>
                  <a:pt x="2647223" y="3771994"/>
                </a:lnTo>
                <a:lnTo>
                  <a:pt x="2644188" y="3775031"/>
                </a:lnTo>
                <a:lnTo>
                  <a:pt x="2641151" y="3778066"/>
                </a:lnTo>
                <a:lnTo>
                  <a:pt x="2638116" y="3784138"/>
                </a:lnTo>
                <a:lnTo>
                  <a:pt x="2635081" y="3790210"/>
                </a:lnTo>
                <a:lnTo>
                  <a:pt x="2629009" y="3799317"/>
                </a:lnTo>
                <a:lnTo>
                  <a:pt x="2625973" y="3802353"/>
                </a:lnTo>
                <a:lnTo>
                  <a:pt x="2622937" y="3805389"/>
                </a:lnTo>
                <a:lnTo>
                  <a:pt x="2619901" y="3820568"/>
                </a:lnTo>
                <a:lnTo>
                  <a:pt x="2619901" y="3829675"/>
                </a:lnTo>
                <a:lnTo>
                  <a:pt x="2607758" y="3832711"/>
                </a:lnTo>
                <a:lnTo>
                  <a:pt x="2598651" y="3841818"/>
                </a:lnTo>
                <a:lnTo>
                  <a:pt x="2598651" y="3844854"/>
                </a:lnTo>
                <a:lnTo>
                  <a:pt x="2595615" y="3847890"/>
                </a:lnTo>
                <a:lnTo>
                  <a:pt x="2568292" y="3850925"/>
                </a:lnTo>
                <a:lnTo>
                  <a:pt x="2559185" y="3847890"/>
                </a:lnTo>
                <a:lnTo>
                  <a:pt x="2553113" y="3847890"/>
                </a:lnTo>
                <a:lnTo>
                  <a:pt x="2547041" y="3847890"/>
                </a:lnTo>
                <a:lnTo>
                  <a:pt x="2544006" y="3850925"/>
                </a:lnTo>
                <a:lnTo>
                  <a:pt x="2544006" y="3856997"/>
                </a:lnTo>
                <a:lnTo>
                  <a:pt x="2531862" y="3863069"/>
                </a:lnTo>
                <a:lnTo>
                  <a:pt x="2519720" y="3866104"/>
                </a:lnTo>
                <a:lnTo>
                  <a:pt x="2507576" y="3872176"/>
                </a:lnTo>
                <a:lnTo>
                  <a:pt x="2495433" y="3878248"/>
                </a:lnTo>
                <a:lnTo>
                  <a:pt x="2495433" y="3881283"/>
                </a:lnTo>
                <a:lnTo>
                  <a:pt x="2492397" y="3884320"/>
                </a:lnTo>
                <a:lnTo>
                  <a:pt x="2489361" y="3887355"/>
                </a:lnTo>
                <a:lnTo>
                  <a:pt x="2477218" y="3896462"/>
                </a:lnTo>
                <a:lnTo>
                  <a:pt x="2468111" y="3902534"/>
                </a:lnTo>
                <a:lnTo>
                  <a:pt x="2465075" y="3908606"/>
                </a:lnTo>
                <a:lnTo>
                  <a:pt x="2465075" y="3914678"/>
                </a:lnTo>
                <a:lnTo>
                  <a:pt x="2462039" y="3923785"/>
                </a:lnTo>
                <a:lnTo>
                  <a:pt x="2462039" y="3926821"/>
                </a:lnTo>
                <a:lnTo>
                  <a:pt x="2462039" y="3942000"/>
                </a:lnTo>
                <a:lnTo>
                  <a:pt x="2462039" y="3954143"/>
                </a:lnTo>
                <a:lnTo>
                  <a:pt x="2462039" y="3966286"/>
                </a:lnTo>
                <a:lnTo>
                  <a:pt x="2462039" y="3972358"/>
                </a:lnTo>
                <a:lnTo>
                  <a:pt x="2459003" y="3978430"/>
                </a:lnTo>
                <a:lnTo>
                  <a:pt x="2440789" y="3996644"/>
                </a:lnTo>
                <a:lnTo>
                  <a:pt x="2431682" y="4008788"/>
                </a:lnTo>
                <a:lnTo>
                  <a:pt x="2428645" y="4017895"/>
                </a:lnTo>
                <a:lnTo>
                  <a:pt x="2413466" y="4042182"/>
                </a:lnTo>
                <a:lnTo>
                  <a:pt x="2392215" y="4060396"/>
                </a:lnTo>
                <a:lnTo>
                  <a:pt x="2392215" y="4054325"/>
                </a:lnTo>
                <a:lnTo>
                  <a:pt x="2395251" y="4054325"/>
                </a:lnTo>
                <a:lnTo>
                  <a:pt x="2401323" y="4051289"/>
                </a:lnTo>
                <a:lnTo>
                  <a:pt x="2410431" y="4042182"/>
                </a:lnTo>
                <a:lnTo>
                  <a:pt x="2413466" y="4036110"/>
                </a:lnTo>
                <a:lnTo>
                  <a:pt x="2419538" y="4027002"/>
                </a:lnTo>
                <a:lnTo>
                  <a:pt x="2422573" y="4017895"/>
                </a:lnTo>
                <a:lnTo>
                  <a:pt x="2419538" y="4014860"/>
                </a:lnTo>
                <a:lnTo>
                  <a:pt x="2416502" y="4017895"/>
                </a:lnTo>
                <a:lnTo>
                  <a:pt x="2407394" y="4011823"/>
                </a:lnTo>
                <a:lnTo>
                  <a:pt x="2401323" y="4039146"/>
                </a:lnTo>
                <a:lnTo>
                  <a:pt x="2392215" y="4042182"/>
                </a:lnTo>
                <a:lnTo>
                  <a:pt x="2389180" y="4051289"/>
                </a:lnTo>
                <a:lnTo>
                  <a:pt x="2389180" y="4057361"/>
                </a:lnTo>
                <a:lnTo>
                  <a:pt x="2389180" y="4063433"/>
                </a:lnTo>
                <a:lnTo>
                  <a:pt x="2386144" y="4069504"/>
                </a:lnTo>
                <a:lnTo>
                  <a:pt x="2380072" y="4084683"/>
                </a:lnTo>
                <a:lnTo>
                  <a:pt x="2374001" y="4090754"/>
                </a:lnTo>
                <a:lnTo>
                  <a:pt x="2364893" y="4099862"/>
                </a:lnTo>
                <a:lnTo>
                  <a:pt x="2364894" y="4099863"/>
                </a:lnTo>
                <a:lnTo>
                  <a:pt x="2358822" y="4112006"/>
                </a:lnTo>
                <a:lnTo>
                  <a:pt x="2355787" y="4118078"/>
                </a:lnTo>
                <a:lnTo>
                  <a:pt x="2349715" y="4124150"/>
                </a:lnTo>
                <a:lnTo>
                  <a:pt x="2337572" y="4130221"/>
                </a:lnTo>
                <a:lnTo>
                  <a:pt x="2331501" y="4130221"/>
                </a:lnTo>
                <a:lnTo>
                  <a:pt x="2328464" y="4130221"/>
                </a:lnTo>
                <a:lnTo>
                  <a:pt x="2316322" y="4127185"/>
                </a:lnTo>
                <a:lnTo>
                  <a:pt x="2307214" y="4130221"/>
                </a:lnTo>
                <a:lnTo>
                  <a:pt x="2295071" y="4124150"/>
                </a:lnTo>
                <a:lnTo>
                  <a:pt x="2292035" y="4121113"/>
                </a:lnTo>
                <a:lnTo>
                  <a:pt x="2285963" y="4118078"/>
                </a:lnTo>
                <a:lnTo>
                  <a:pt x="2279892" y="4118078"/>
                </a:lnTo>
                <a:lnTo>
                  <a:pt x="2273820" y="4118078"/>
                </a:lnTo>
                <a:lnTo>
                  <a:pt x="2267748" y="4112006"/>
                </a:lnTo>
                <a:lnTo>
                  <a:pt x="2261677" y="4112006"/>
                </a:lnTo>
                <a:lnTo>
                  <a:pt x="2261677" y="4115042"/>
                </a:lnTo>
                <a:lnTo>
                  <a:pt x="2258641" y="4115042"/>
                </a:lnTo>
                <a:lnTo>
                  <a:pt x="2261677" y="4121113"/>
                </a:lnTo>
                <a:lnTo>
                  <a:pt x="2270784" y="4127185"/>
                </a:lnTo>
                <a:lnTo>
                  <a:pt x="2282927" y="4136293"/>
                </a:lnTo>
                <a:lnTo>
                  <a:pt x="2285963" y="4142364"/>
                </a:lnTo>
                <a:lnTo>
                  <a:pt x="2285963" y="4148436"/>
                </a:lnTo>
                <a:lnTo>
                  <a:pt x="2282927" y="4157543"/>
                </a:lnTo>
                <a:lnTo>
                  <a:pt x="2292035" y="4166651"/>
                </a:lnTo>
                <a:lnTo>
                  <a:pt x="2295071" y="4169686"/>
                </a:lnTo>
                <a:lnTo>
                  <a:pt x="2295071" y="4181830"/>
                </a:lnTo>
                <a:lnTo>
                  <a:pt x="2285963" y="4197009"/>
                </a:lnTo>
                <a:lnTo>
                  <a:pt x="2279892" y="4209153"/>
                </a:lnTo>
                <a:lnTo>
                  <a:pt x="2279892" y="4212188"/>
                </a:lnTo>
                <a:lnTo>
                  <a:pt x="2273820" y="4215224"/>
                </a:lnTo>
                <a:lnTo>
                  <a:pt x="2261677" y="4221295"/>
                </a:lnTo>
                <a:lnTo>
                  <a:pt x="2213103" y="4233439"/>
                </a:lnTo>
                <a:lnTo>
                  <a:pt x="2188817" y="4233439"/>
                </a:lnTo>
                <a:lnTo>
                  <a:pt x="2185782" y="4233439"/>
                </a:lnTo>
                <a:lnTo>
                  <a:pt x="2185782" y="4230403"/>
                </a:lnTo>
                <a:lnTo>
                  <a:pt x="2179710" y="4230403"/>
                </a:lnTo>
                <a:lnTo>
                  <a:pt x="2179710" y="4233439"/>
                </a:lnTo>
                <a:lnTo>
                  <a:pt x="2179710" y="4242546"/>
                </a:lnTo>
                <a:lnTo>
                  <a:pt x="2182746" y="4242546"/>
                </a:lnTo>
                <a:lnTo>
                  <a:pt x="2185782" y="4245582"/>
                </a:lnTo>
                <a:lnTo>
                  <a:pt x="2185782" y="4251654"/>
                </a:lnTo>
                <a:lnTo>
                  <a:pt x="2182746" y="4257725"/>
                </a:lnTo>
                <a:lnTo>
                  <a:pt x="2179710" y="4257725"/>
                </a:lnTo>
                <a:lnTo>
                  <a:pt x="2179710" y="4260761"/>
                </a:lnTo>
                <a:lnTo>
                  <a:pt x="2179710" y="4266833"/>
                </a:lnTo>
                <a:lnTo>
                  <a:pt x="2176674" y="4269868"/>
                </a:lnTo>
                <a:lnTo>
                  <a:pt x="2179710" y="4275940"/>
                </a:lnTo>
                <a:lnTo>
                  <a:pt x="2182746" y="4278976"/>
                </a:lnTo>
                <a:lnTo>
                  <a:pt x="2179710" y="4285047"/>
                </a:lnTo>
                <a:lnTo>
                  <a:pt x="2170602" y="4291119"/>
                </a:lnTo>
                <a:lnTo>
                  <a:pt x="2161495" y="4294155"/>
                </a:lnTo>
                <a:lnTo>
                  <a:pt x="2149352" y="4294155"/>
                </a:lnTo>
                <a:lnTo>
                  <a:pt x="2134172" y="4285047"/>
                </a:lnTo>
                <a:lnTo>
                  <a:pt x="2131137" y="4282012"/>
                </a:lnTo>
                <a:lnTo>
                  <a:pt x="2128102" y="4282012"/>
                </a:lnTo>
                <a:lnTo>
                  <a:pt x="2122030" y="4291119"/>
                </a:lnTo>
                <a:lnTo>
                  <a:pt x="2125065" y="4303263"/>
                </a:lnTo>
                <a:lnTo>
                  <a:pt x="2125065" y="4312370"/>
                </a:lnTo>
                <a:lnTo>
                  <a:pt x="2122030" y="4315405"/>
                </a:lnTo>
                <a:lnTo>
                  <a:pt x="2134172" y="4327549"/>
                </a:lnTo>
                <a:lnTo>
                  <a:pt x="2143280" y="4327549"/>
                </a:lnTo>
                <a:lnTo>
                  <a:pt x="2140244" y="4321477"/>
                </a:lnTo>
                <a:lnTo>
                  <a:pt x="2152388" y="4318442"/>
                </a:lnTo>
                <a:lnTo>
                  <a:pt x="2155423" y="4330584"/>
                </a:lnTo>
                <a:lnTo>
                  <a:pt x="2152388" y="4339692"/>
                </a:lnTo>
                <a:lnTo>
                  <a:pt x="2143280" y="4339692"/>
                </a:lnTo>
                <a:lnTo>
                  <a:pt x="2140244" y="4336656"/>
                </a:lnTo>
                <a:lnTo>
                  <a:pt x="2140244" y="4333621"/>
                </a:lnTo>
                <a:lnTo>
                  <a:pt x="2131137" y="4330584"/>
                </a:lnTo>
                <a:lnTo>
                  <a:pt x="2125065" y="4336656"/>
                </a:lnTo>
                <a:lnTo>
                  <a:pt x="2134172" y="4342728"/>
                </a:lnTo>
                <a:lnTo>
                  <a:pt x="2125065" y="4351835"/>
                </a:lnTo>
                <a:lnTo>
                  <a:pt x="2122030" y="4354871"/>
                </a:lnTo>
                <a:lnTo>
                  <a:pt x="2122030" y="4357907"/>
                </a:lnTo>
                <a:lnTo>
                  <a:pt x="2118993" y="4363979"/>
                </a:lnTo>
                <a:lnTo>
                  <a:pt x="2118993" y="4373086"/>
                </a:lnTo>
                <a:lnTo>
                  <a:pt x="2115958" y="4388265"/>
                </a:lnTo>
                <a:lnTo>
                  <a:pt x="2103814" y="4397373"/>
                </a:lnTo>
                <a:lnTo>
                  <a:pt x="2094707" y="4403445"/>
                </a:lnTo>
                <a:lnTo>
                  <a:pt x="2082564" y="4412552"/>
                </a:lnTo>
                <a:lnTo>
                  <a:pt x="2073457" y="4424694"/>
                </a:lnTo>
                <a:lnTo>
                  <a:pt x="2070421" y="4436838"/>
                </a:lnTo>
                <a:lnTo>
                  <a:pt x="2079528" y="4452017"/>
                </a:lnTo>
                <a:lnTo>
                  <a:pt x="2085600" y="4461124"/>
                </a:lnTo>
                <a:lnTo>
                  <a:pt x="2094707" y="4461124"/>
                </a:lnTo>
                <a:lnTo>
                  <a:pt x="2100779" y="4464160"/>
                </a:lnTo>
                <a:lnTo>
                  <a:pt x="2103814" y="4464160"/>
                </a:lnTo>
                <a:lnTo>
                  <a:pt x="2109886" y="4470232"/>
                </a:lnTo>
                <a:lnTo>
                  <a:pt x="2109886" y="4479339"/>
                </a:lnTo>
                <a:lnTo>
                  <a:pt x="2106851" y="4485411"/>
                </a:lnTo>
                <a:lnTo>
                  <a:pt x="2106851" y="4491483"/>
                </a:lnTo>
                <a:lnTo>
                  <a:pt x="2100779" y="4497555"/>
                </a:lnTo>
                <a:lnTo>
                  <a:pt x="2091672" y="4503626"/>
                </a:lnTo>
                <a:lnTo>
                  <a:pt x="2079528" y="4515769"/>
                </a:lnTo>
                <a:lnTo>
                  <a:pt x="2070421" y="4524876"/>
                </a:lnTo>
                <a:lnTo>
                  <a:pt x="2070421" y="4530948"/>
                </a:lnTo>
                <a:lnTo>
                  <a:pt x="2067385" y="4546127"/>
                </a:lnTo>
                <a:lnTo>
                  <a:pt x="2064349" y="4555234"/>
                </a:lnTo>
                <a:lnTo>
                  <a:pt x="2058278" y="4558271"/>
                </a:lnTo>
                <a:lnTo>
                  <a:pt x="2055242" y="4558271"/>
                </a:lnTo>
                <a:lnTo>
                  <a:pt x="2052206" y="4561306"/>
                </a:lnTo>
                <a:lnTo>
                  <a:pt x="2049170" y="4561306"/>
                </a:lnTo>
                <a:lnTo>
                  <a:pt x="2040063" y="4570414"/>
                </a:lnTo>
                <a:lnTo>
                  <a:pt x="2040063" y="4579521"/>
                </a:lnTo>
                <a:lnTo>
                  <a:pt x="2040063" y="4585593"/>
                </a:lnTo>
                <a:lnTo>
                  <a:pt x="2040063" y="4588629"/>
                </a:lnTo>
                <a:lnTo>
                  <a:pt x="2043099" y="4597736"/>
                </a:lnTo>
                <a:lnTo>
                  <a:pt x="2043099" y="4603807"/>
                </a:lnTo>
                <a:lnTo>
                  <a:pt x="2049170" y="4618986"/>
                </a:lnTo>
                <a:lnTo>
                  <a:pt x="2055242" y="4631130"/>
                </a:lnTo>
                <a:lnTo>
                  <a:pt x="2046134" y="4628095"/>
                </a:lnTo>
                <a:lnTo>
                  <a:pt x="2037027" y="4625058"/>
                </a:lnTo>
                <a:lnTo>
                  <a:pt x="2035790" y="4624646"/>
                </a:lnTo>
                <a:lnTo>
                  <a:pt x="2037026" y="4625058"/>
                </a:lnTo>
                <a:lnTo>
                  <a:pt x="2046133" y="4628095"/>
                </a:lnTo>
                <a:lnTo>
                  <a:pt x="2055241" y="4631130"/>
                </a:lnTo>
                <a:lnTo>
                  <a:pt x="2040062" y="4628095"/>
                </a:lnTo>
                <a:lnTo>
                  <a:pt x="2031670" y="4630892"/>
                </a:lnTo>
                <a:lnTo>
                  <a:pt x="2030653" y="4631432"/>
                </a:lnTo>
                <a:lnTo>
                  <a:pt x="2024882" y="4637202"/>
                </a:lnTo>
                <a:lnTo>
                  <a:pt x="2015775" y="4640237"/>
                </a:lnTo>
                <a:lnTo>
                  <a:pt x="2009703" y="4643274"/>
                </a:lnTo>
                <a:lnTo>
                  <a:pt x="2003633" y="4649344"/>
                </a:lnTo>
                <a:lnTo>
                  <a:pt x="2000596" y="4667560"/>
                </a:lnTo>
                <a:lnTo>
                  <a:pt x="2000596" y="4679703"/>
                </a:lnTo>
                <a:lnTo>
                  <a:pt x="1979346" y="4676667"/>
                </a:lnTo>
                <a:lnTo>
                  <a:pt x="1973274" y="4673631"/>
                </a:lnTo>
                <a:lnTo>
                  <a:pt x="1970238" y="4670595"/>
                </a:lnTo>
                <a:lnTo>
                  <a:pt x="1958095" y="4664524"/>
                </a:lnTo>
                <a:lnTo>
                  <a:pt x="1952023" y="4652381"/>
                </a:lnTo>
                <a:lnTo>
                  <a:pt x="1948988" y="4643274"/>
                </a:lnTo>
                <a:lnTo>
                  <a:pt x="1948988" y="4634165"/>
                </a:lnTo>
                <a:lnTo>
                  <a:pt x="1955059" y="4628095"/>
                </a:lnTo>
                <a:lnTo>
                  <a:pt x="1952023" y="4622023"/>
                </a:lnTo>
                <a:lnTo>
                  <a:pt x="1948988" y="4618986"/>
                </a:lnTo>
                <a:lnTo>
                  <a:pt x="1945952" y="4612915"/>
                </a:lnTo>
                <a:lnTo>
                  <a:pt x="1945952" y="4603807"/>
                </a:lnTo>
                <a:lnTo>
                  <a:pt x="1945952" y="4594700"/>
                </a:lnTo>
                <a:lnTo>
                  <a:pt x="1933809" y="4585593"/>
                </a:lnTo>
                <a:lnTo>
                  <a:pt x="1942916" y="4585593"/>
                </a:lnTo>
                <a:lnTo>
                  <a:pt x="1936844" y="4576485"/>
                </a:lnTo>
                <a:lnTo>
                  <a:pt x="1936844" y="4573450"/>
                </a:lnTo>
                <a:lnTo>
                  <a:pt x="1936844" y="4567378"/>
                </a:lnTo>
                <a:lnTo>
                  <a:pt x="1930772" y="4564342"/>
                </a:lnTo>
                <a:lnTo>
                  <a:pt x="1933809" y="4558271"/>
                </a:lnTo>
                <a:lnTo>
                  <a:pt x="1939880" y="4555234"/>
                </a:lnTo>
                <a:lnTo>
                  <a:pt x="1936844" y="4546127"/>
                </a:lnTo>
                <a:lnTo>
                  <a:pt x="1939880" y="4543092"/>
                </a:lnTo>
                <a:lnTo>
                  <a:pt x="1933809" y="4537020"/>
                </a:lnTo>
                <a:lnTo>
                  <a:pt x="1930772" y="4527913"/>
                </a:lnTo>
                <a:lnTo>
                  <a:pt x="1930772" y="4518805"/>
                </a:lnTo>
                <a:lnTo>
                  <a:pt x="1930772" y="4506662"/>
                </a:lnTo>
                <a:lnTo>
                  <a:pt x="1930772" y="4494518"/>
                </a:lnTo>
                <a:lnTo>
                  <a:pt x="1936844" y="4491483"/>
                </a:lnTo>
                <a:lnTo>
                  <a:pt x="1945952" y="4491483"/>
                </a:lnTo>
                <a:lnTo>
                  <a:pt x="1948988" y="4485411"/>
                </a:lnTo>
                <a:lnTo>
                  <a:pt x="1936844" y="4485411"/>
                </a:lnTo>
                <a:lnTo>
                  <a:pt x="1927737" y="4485411"/>
                </a:lnTo>
                <a:lnTo>
                  <a:pt x="1924701" y="4482375"/>
                </a:lnTo>
                <a:lnTo>
                  <a:pt x="1927737" y="4476304"/>
                </a:lnTo>
                <a:lnTo>
                  <a:pt x="1930772" y="4476304"/>
                </a:lnTo>
                <a:lnTo>
                  <a:pt x="1936844" y="4467196"/>
                </a:lnTo>
                <a:lnTo>
                  <a:pt x="1936844" y="4470232"/>
                </a:lnTo>
                <a:lnTo>
                  <a:pt x="1939880" y="4461124"/>
                </a:lnTo>
                <a:lnTo>
                  <a:pt x="1930772" y="4455053"/>
                </a:lnTo>
                <a:lnTo>
                  <a:pt x="1921665" y="4455053"/>
                </a:lnTo>
                <a:lnTo>
                  <a:pt x="1909523" y="4452017"/>
                </a:lnTo>
                <a:lnTo>
                  <a:pt x="1909523" y="4458089"/>
                </a:lnTo>
                <a:lnTo>
                  <a:pt x="1906486" y="4458089"/>
                </a:lnTo>
                <a:lnTo>
                  <a:pt x="1906486" y="4448982"/>
                </a:lnTo>
                <a:lnTo>
                  <a:pt x="1912558" y="4442910"/>
                </a:lnTo>
                <a:lnTo>
                  <a:pt x="1918630" y="4439874"/>
                </a:lnTo>
                <a:lnTo>
                  <a:pt x="1924701" y="4427731"/>
                </a:lnTo>
                <a:lnTo>
                  <a:pt x="1930772" y="4424694"/>
                </a:lnTo>
                <a:lnTo>
                  <a:pt x="1936844" y="4427731"/>
                </a:lnTo>
                <a:lnTo>
                  <a:pt x="1942916" y="4436838"/>
                </a:lnTo>
                <a:lnTo>
                  <a:pt x="1945952" y="4433803"/>
                </a:lnTo>
                <a:lnTo>
                  <a:pt x="1945952" y="4427731"/>
                </a:lnTo>
                <a:lnTo>
                  <a:pt x="1948988" y="4415587"/>
                </a:lnTo>
                <a:lnTo>
                  <a:pt x="1955059" y="4400408"/>
                </a:lnTo>
                <a:lnTo>
                  <a:pt x="1961131" y="4397373"/>
                </a:lnTo>
                <a:lnTo>
                  <a:pt x="1967203" y="4391301"/>
                </a:lnTo>
                <a:lnTo>
                  <a:pt x="1964167" y="4388265"/>
                </a:lnTo>
                <a:lnTo>
                  <a:pt x="1961131" y="4394337"/>
                </a:lnTo>
                <a:lnTo>
                  <a:pt x="1952023" y="4400408"/>
                </a:lnTo>
                <a:lnTo>
                  <a:pt x="1948988" y="4394337"/>
                </a:lnTo>
                <a:lnTo>
                  <a:pt x="1952023" y="4388265"/>
                </a:lnTo>
                <a:lnTo>
                  <a:pt x="1961131" y="4385229"/>
                </a:lnTo>
                <a:lnTo>
                  <a:pt x="1955059" y="4379158"/>
                </a:lnTo>
                <a:lnTo>
                  <a:pt x="1955059" y="4376122"/>
                </a:lnTo>
                <a:lnTo>
                  <a:pt x="1961131" y="4367014"/>
                </a:lnTo>
                <a:lnTo>
                  <a:pt x="1961131" y="4336656"/>
                </a:lnTo>
                <a:lnTo>
                  <a:pt x="1964167" y="4324514"/>
                </a:lnTo>
                <a:lnTo>
                  <a:pt x="1964167" y="4315405"/>
                </a:lnTo>
                <a:lnTo>
                  <a:pt x="1967203" y="4309335"/>
                </a:lnTo>
                <a:lnTo>
                  <a:pt x="1961131" y="4303263"/>
                </a:lnTo>
                <a:lnTo>
                  <a:pt x="1958095" y="4306298"/>
                </a:lnTo>
                <a:lnTo>
                  <a:pt x="1958095" y="4309335"/>
                </a:lnTo>
                <a:lnTo>
                  <a:pt x="1948988" y="4309335"/>
                </a:lnTo>
                <a:lnTo>
                  <a:pt x="1945952" y="4309335"/>
                </a:lnTo>
                <a:lnTo>
                  <a:pt x="1945952" y="4306298"/>
                </a:lnTo>
                <a:lnTo>
                  <a:pt x="1939880" y="4288084"/>
                </a:lnTo>
                <a:lnTo>
                  <a:pt x="1942916" y="4278976"/>
                </a:lnTo>
                <a:lnTo>
                  <a:pt x="1945952" y="4266833"/>
                </a:lnTo>
                <a:lnTo>
                  <a:pt x="1948988" y="4257725"/>
                </a:lnTo>
                <a:lnTo>
                  <a:pt x="1952023" y="4254690"/>
                </a:lnTo>
                <a:lnTo>
                  <a:pt x="1955059" y="4248618"/>
                </a:lnTo>
                <a:lnTo>
                  <a:pt x="1955059" y="4239510"/>
                </a:lnTo>
                <a:lnTo>
                  <a:pt x="1955059" y="4236474"/>
                </a:lnTo>
                <a:lnTo>
                  <a:pt x="1948988" y="4224331"/>
                </a:lnTo>
                <a:lnTo>
                  <a:pt x="1948988" y="4215224"/>
                </a:lnTo>
                <a:lnTo>
                  <a:pt x="1945952" y="4206116"/>
                </a:lnTo>
                <a:lnTo>
                  <a:pt x="1945952" y="4190937"/>
                </a:lnTo>
                <a:lnTo>
                  <a:pt x="1948988" y="4187902"/>
                </a:lnTo>
                <a:lnTo>
                  <a:pt x="1952023" y="4187902"/>
                </a:lnTo>
                <a:lnTo>
                  <a:pt x="1955059" y="4187902"/>
                </a:lnTo>
                <a:lnTo>
                  <a:pt x="1958095" y="4178794"/>
                </a:lnTo>
                <a:lnTo>
                  <a:pt x="1958095" y="4175758"/>
                </a:lnTo>
                <a:lnTo>
                  <a:pt x="1961131" y="4166651"/>
                </a:lnTo>
                <a:lnTo>
                  <a:pt x="1964167" y="4157543"/>
                </a:lnTo>
                <a:lnTo>
                  <a:pt x="1967203" y="4145400"/>
                </a:lnTo>
                <a:lnTo>
                  <a:pt x="1976310" y="4133257"/>
                </a:lnTo>
                <a:lnTo>
                  <a:pt x="1979346" y="4118078"/>
                </a:lnTo>
                <a:lnTo>
                  <a:pt x="1979346" y="4112006"/>
                </a:lnTo>
                <a:lnTo>
                  <a:pt x="1982382" y="4105934"/>
                </a:lnTo>
                <a:lnTo>
                  <a:pt x="1988453" y="4093792"/>
                </a:lnTo>
                <a:lnTo>
                  <a:pt x="1985417" y="4084683"/>
                </a:lnTo>
                <a:lnTo>
                  <a:pt x="1991489" y="4081648"/>
                </a:lnTo>
                <a:lnTo>
                  <a:pt x="1988453" y="4051290"/>
                </a:lnTo>
                <a:lnTo>
                  <a:pt x="1988453" y="4036111"/>
                </a:lnTo>
                <a:lnTo>
                  <a:pt x="1985417" y="4023968"/>
                </a:lnTo>
                <a:lnTo>
                  <a:pt x="1988453" y="4017896"/>
                </a:lnTo>
                <a:lnTo>
                  <a:pt x="1994524" y="4011824"/>
                </a:lnTo>
                <a:lnTo>
                  <a:pt x="1994524" y="3999682"/>
                </a:lnTo>
                <a:lnTo>
                  <a:pt x="1991489" y="3984503"/>
                </a:lnTo>
                <a:lnTo>
                  <a:pt x="1991489" y="3981466"/>
                </a:lnTo>
                <a:lnTo>
                  <a:pt x="1997561" y="3972359"/>
                </a:lnTo>
                <a:lnTo>
                  <a:pt x="2000596" y="3957180"/>
                </a:lnTo>
                <a:lnTo>
                  <a:pt x="2003633" y="3954144"/>
                </a:lnTo>
                <a:lnTo>
                  <a:pt x="2003633" y="3948073"/>
                </a:lnTo>
                <a:lnTo>
                  <a:pt x="2003633" y="3942001"/>
                </a:lnTo>
                <a:lnTo>
                  <a:pt x="2006668" y="3935929"/>
                </a:lnTo>
                <a:lnTo>
                  <a:pt x="2009703" y="3905571"/>
                </a:lnTo>
                <a:lnTo>
                  <a:pt x="2009703" y="3893428"/>
                </a:lnTo>
                <a:lnTo>
                  <a:pt x="2009703" y="3887356"/>
                </a:lnTo>
                <a:lnTo>
                  <a:pt x="2009703" y="3878249"/>
                </a:lnTo>
                <a:lnTo>
                  <a:pt x="2012740" y="3869142"/>
                </a:lnTo>
                <a:lnTo>
                  <a:pt x="2012740" y="3866105"/>
                </a:lnTo>
                <a:lnTo>
                  <a:pt x="2012740" y="3860034"/>
                </a:lnTo>
                <a:lnTo>
                  <a:pt x="2012740" y="3850926"/>
                </a:lnTo>
                <a:lnTo>
                  <a:pt x="2015775" y="3841819"/>
                </a:lnTo>
                <a:lnTo>
                  <a:pt x="2018812" y="3829676"/>
                </a:lnTo>
                <a:lnTo>
                  <a:pt x="2018812" y="3820568"/>
                </a:lnTo>
                <a:lnTo>
                  <a:pt x="2021847" y="3814497"/>
                </a:lnTo>
                <a:lnTo>
                  <a:pt x="2018812" y="3808425"/>
                </a:lnTo>
                <a:lnTo>
                  <a:pt x="2018812" y="3802354"/>
                </a:lnTo>
                <a:lnTo>
                  <a:pt x="2018812" y="3790211"/>
                </a:lnTo>
                <a:lnTo>
                  <a:pt x="2018812" y="3775032"/>
                </a:lnTo>
                <a:lnTo>
                  <a:pt x="2015775" y="3768960"/>
                </a:lnTo>
                <a:lnTo>
                  <a:pt x="2015775" y="3762888"/>
                </a:lnTo>
                <a:lnTo>
                  <a:pt x="2015775" y="3756816"/>
                </a:lnTo>
                <a:lnTo>
                  <a:pt x="2015775" y="3755113"/>
                </a:lnTo>
                <a:cubicBezTo>
                  <a:pt x="2014283" y="3752997"/>
                  <a:pt x="2013642" y="3751216"/>
                  <a:pt x="2013353" y="3748935"/>
                </a:cubicBezTo>
                <a:lnTo>
                  <a:pt x="2012740" y="3747709"/>
                </a:lnTo>
                <a:lnTo>
                  <a:pt x="2012741" y="3747708"/>
                </a:lnTo>
                <a:lnTo>
                  <a:pt x="2006669" y="3741637"/>
                </a:lnTo>
                <a:lnTo>
                  <a:pt x="1997562" y="3735566"/>
                </a:lnTo>
                <a:lnTo>
                  <a:pt x="1994525" y="3729494"/>
                </a:lnTo>
                <a:lnTo>
                  <a:pt x="1991490" y="3726458"/>
                </a:lnTo>
                <a:lnTo>
                  <a:pt x="1985418" y="3723423"/>
                </a:lnTo>
                <a:lnTo>
                  <a:pt x="1982383" y="3723423"/>
                </a:lnTo>
                <a:lnTo>
                  <a:pt x="1982383" y="3720387"/>
                </a:lnTo>
                <a:lnTo>
                  <a:pt x="1970239" y="3711279"/>
                </a:lnTo>
                <a:lnTo>
                  <a:pt x="1967204" y="3711279"/>
                </a:lnTo>
                <a:lnTo>
                  <a:pt x="1961132" y="3708244"/>
                </a:lnTo>
                <a:lnTo>
                  <a:pt x="1952024" y="3702172"/>
                </a:lnTo>
                <a:lnTo>
                  <a:pt x="1939881" y="3699136"/>
                </a:lnTo>
                <a:lnTo>
                  <a:pt x="1927738" y="3690029"/>
                </a:lnTo>
                <a:lnTo>
                  <a:pt x="1915594" y="3683957"/>
                </a:lnTo>
                <a:lnTo>
                  <a:pt x="1906487" y="3674850"/>
                </a:lnTo>
                <a:lnTo>
                  <a:pt x="1897380" y="3665743"/>
                </a:lnTo>
                <a:lnTo>
                  <a:pt x="1888273" y="3653599"/>
                </a:lnTo>
                <a:lnTo>
                  <a:pt x="1891308" y="3650564"/>
                </a:lnTo>
                <a:lnTo>
                  <a:pt x="1894344" y="3647527"/>
                </a:lnTo>
                <a:lnTo>
                  <a:pt x="1888273" y="3632348"/>
                </a:lnTo>
                <a:lnTo>
                  <a:pt x="1882201" y="3623241"/>
                </a:lnTo>
                <a:lnTo>
                  <a:pt x="1873094" y="3614134"/>
                </a:lnTo>
                <a:lnTo>
                  <a:pt x="1873094" y="3611098"/>
                </a:lnTo>
                <a:lnTo>
                  <a:pt x="1873094" y="3608062"/>
                </a:lnTo>
                <a:lnTo>
                  <a:pt x="1867022" y="3598954"/>
                </a:lnTo>
                <a:lnTo>
                  <a:pt x="1860950" y="3589847"/>
                </a:lnTo>
                <a:lnTo>
                  <a:pt x="1857914" y="3580740"/>
                </a:lnTo>
                <a:lnTo>
                  <a:pt x="1851843" y="3568596"/>
                </a:lnTo>
                <a:lnTo>
                  <a:pt x="1848807" y="3556453"/>
                </a:lnTo>
                <a:lnTo>
                  <a:pt x="1842735" y="3550382"/>
                </a:lnTo>
                <a:lnTo>
                  <a:pt x="1842735" y="3547345"/>
                </a:lnTo>
                <a:lnTo>
                  <a:pt x="1836664" y="3535203"/>
                </a:lnTo>
                <a:lnTo>
                  <a:pt x="1830592" y="3529131"/>
                </a:lnTo>
                <a:lnTo>
                  <a:pt x="1827556" y="3523059"/>
                </a:lnTo>
                <a:lnTo>
                  <a:pt x="1824521" y="3516987"/>
                </a:lnTo>
                <a:lnTo>
                  <a:pt x="1818449" y="3504844"/>
                </a:lnTo>
                <a:lnTo>
                  <a:pt x="1809342" y="3498773"/>
                </a:lnTo>
                <a:lnTo>
                  <a:pt x="1797198" y="3492701"/>
                </a:lnTo>
                <a:lnTo>
                  <a:pt x="1791126" y="3486629"/>
                </a:lnTo>
                <a:lnTo>
                  <a:pt x="1797198" y="3483594"/>
                </a:lnTo>
                <a:lnTo>
                  <a:pt x="1794163" y="3474486"/>
                </a:lnTo>
                <a:lnTo>
                  <a:pt x="1794163" y="3468414"/>
                </a:lnTo>
                <a:lnTo>
                  <a:pt x="1791126" y="3465379"/>
                </a:lnTo>
                <a:lnTo>
                  <a:pt x="1788091" y="3459307"/>
                </a:lnTo>
                <a:lnTo>
                  <a:pt x="1788091" y="3453235"/>
                </a:lnTo>
                <a:lnTo>
                  <a:pt x="1809341" y="3435021"/>
                </a:lnTo>
                <a:lnTo>
                  <a:pt x="1818448" y="3428949"/>
                </a:lnTo>
                <a:lnTo>
                  <a:pt x="1818448" y="3422877"/>
                </a:lnTo>
                <a:lnTo>
                  <a:pt x="1818448" y="3416805"/>
                </a:lnTo>
                <a:lnTo>
                  <a:pt x="1809341" y="3419842"/>
                </a:lnTo>
                <a:lnTo>
                  <a:pt x="1800233" y="3416805"/>
                </a:lnTo>
                <a:lnTo>
                  <a:pt x="1797197" y="3410734"/>
                </a:lnTo>
                <a:lnTo>
                  <a:pt x="1800233" y="3401627"/>
                </a:lnTo>
                <a:lnTo>
                  <a:pt x="1797197" y="3389484"/>
                </a:lnTo>
                <a:lnTo>
                  <a:pt x="1797197" y="3383412"/>
                </a:lnTo>
                <a:lnTo>
                  <a:pt x="1800233" y="3383412"/>
                </a:lnTo>
                <a:lnTo>
                  <a:pt x="1806304" y="3374304"/>
                </a:lnTo>
                <a:lnTo>
                  <a:pt x="1815412" y="3362161"/>
                </a:lnTo>
                <a:lnTo>
                  <a:pt x="1812376" y="3353054"/>
                </a:lnTo>
                <a:lnTo>
                  <a:pt x="1818448" y="3346982"/>
                </a:lnTo>
                <a:lnTo>
                  <a:pt x="1827555" y="3340911"/>
                </a:lnTo>
                <a:lnTo>
                  <a:pt x="1833627" y="3340911"/>
                </a:lnTo>
                <a:lnTo>
                  <a:pt x="1839699" y="3334839"/>
                </a:lnTo>
                <a:lnTo>
                  <a:pt x="1841976" y="3336357"/>
                </a:lnTo>
                <a:lnTo>
                  <a:pt x="1839700" y="3334839"/>
                </a:lnTo>
                <a:lnTo>
                  <a:pt x="1833628" y="3331804"/>
                </a:lnTo>
                <a:lnTo>
                  <a:pt x="1839700" y="3328767"/>
                </a:lnTo>
                <a:lnTo>
                  <a:pt x="1845771" y="3325732"/>
                </a:lnTo>
                <a:lnTo>
                  <a:pt x="1842735" y="3319660"/>
                </a:lnTo>
                <a:lnTo>
                  <a:pt x="1851843" y="3313588"/>
                </a:lnTo>
                <a:lnTo>
                  <a:pt x="1860950" y="3310553"/>
                </a:lnTo>
                <a:lnTo>
                  <a:pt x="1867022" y="3301445"/>
                </a:lnTo>
                <a:lnTo>
                  <a:pt x="1870057" y="3286266"/>
                </a:lnTo>
                <a:lnTo>
                  <a:pt x="1867022" y="3280194"/>
                </a:lnTo>
                <a:lnTo>
                  <a:pt x="1873094" y="3277158"/>
                </a:lnTo>
                <a:lnTo>
                  <a:pt x="1870057" y="3271087"/>
                </a:lnTo>
                <a:lnTo>
                  <a:pt x="1870057" y="3258944"/>
                </a:lnTo>
                <a:lnTo>
                  <a:pt x="1867022" y="3246801"/>
                </a:lnTo>
                <a:lnTo>
                  <a:pt x="1867022" y="3237693"/>
                </a:lnTo>
                <a:lnTo>
                  <a:pt x="1870057" y="3231622"/>
                </a:lnTo>
                <a:lnTo>
                  <a:pt x="1870057" y="3228585"/>
                </a:lnTo>
                <a:lnTo>
                  <a:pt x="1863986" y="3222514"/>
                </a:lnTo>
                <a:lnTo>
                  <a:pt x="1863986" y="3219478"/>
                </a:lnTo>
                <a:lnTo>
                  <a:pt x="1857914" y="3216443"/>
                </a:lnTo>
                <a:lnTo>
                  <a:pt x="1854878" y="3210371"/>
                </a:lnTo>
                <a:lnTo>
                  <a:pt x="1851843" y="3204299"/>
                </a:lnTo>
                <a:lnTo>
                  <a:pt x="1851843" y="3198227"/>
                </a:lnTo>
                <a:lnTo>
                  <a:pt x="1857914" y="3195192"/>
                </a:lnTo>
                <a:lnTo>
                  <a:pt x="1854878" y="3189120"/>
                </a:lnTo>
                <a:lnTo>
                  <a:pt x="1848807" y="3189120"/>
                </a:lnTo>
                <a:lnTo>
                  <a:pt x="1845771" y="3186085"/>
                </a:lnTo>
                <a:lnTo>
                  <a:pt x="1839700" y="3183048"/>
                </a:lnTo>
                <a:lnTo>
                  <a:pt x="1836664" y="3176977"/>
                </a:lnTo>
                <a:lnTo>
                  <a:pt x="1830592" y="3176977"/>
                </a:lnTo>
                <a:lnTo>
                  <a:pt x="1824521" y="3180013"/>
                </a:lnTo>
                <a:lnTo>
                  <a:pt x="1821484" y="3183048"/>
                </a:lnTo>
                <a:lnTo>
                  <a:pt x="1818449" y="3189120"/>
                </a:lnTo>
                <a:lnTo>
                  <a:pt x="1812377" y="3192156"/>
                </a:lnTo>
                <a:lnTo>
                  <a:pt x="1806305" y="3195192"/>
                </a:lnTo>
                <a:lnTo>
                  <a:pt x="1806305" y="3201264"/>
                </a:lnTo>
                <a:lnTo>
                  <a:pt x="1815413" y="3210371"/>
                </a:lnTo>
                <a:lnTo>
                  <a:pt x="1806305" y="3213406"/>
                </a:lnTo>
                <a:lnTo>
                  <a:pt x="1797198" y="3213406"/>
                </a:lnTo>
                <a:lnTo>
                  <a:pt x="1794163" y="3210371"/>
                </a:lnTo>
                <a:lnTo>
                  <a:pt x="1794163" y="3207334"/>
                </a:lnTo>
                <a:lnTo>
                  <a:pt x="1791126" y="3207334"/>
                </a:lnTo>
                <a:lnTo>
                  <a:pt x="1785055" y="3207334"/>
                </a:lnTo>
                <a:lnTo>
                  <a:pt x="1782019" y="3201264"/>
                </a:lnTo>
                <a:lnTo>
                  <a:pt x="1769876" y="3195192"/>
                </a:lnTo>
                <a:lnTo>
                  <a:pt x="1760768" y="3195192"/>
                </a:lnTo>
                <a:lnTo>
                  <a:pt x="1757733" y="3195192"/>
                </a:lnTo>
                <a:lnTo>
                  <a:pt x="1754697" y="3201264"/>
                </a:lnTo>
                <a:lnTo>
                  <a:pt x="1748625" y="3189120"/>
                </a:lnTo>
                <a:lnTo>
                  <a:pt x="1742554" y="3186085"/>
                </a:lnTo>
                <a:lnTo>
                  <a:pt x="1745589" y="3189120"/>
                </a:lnTo>
                <a:lnTo>
                  <a:pt x="1748625" y="3192156"/>
                </a:lnTo>
                <a:lnTo>
                  <a:pt x="1739518" y="3189120"/>
                </a:lnTo>
                <a:lnTo>
                  <a:pt x="1739518" y="3183048"/>
                </a:lnTo>
                <a:lnTo>
                  <a:pt x="1733446" y="3173941"/>
                </a:lnTo>
                <a:lnTo>
                  <a:pt x="1724339" y="3167869"/>
                </a:lnTo>
                <a:lnTo>
                  <a:pt x="1721303" y="3164834"/>
                </a:lnTo>
                <a:lnTo>
                  <a:pt x="1715232" y="3161798"/>
                </a:lnTo>
                <a:lnTo>
                  <a:pt x="1709160" y="3167869"/>
                </a:lnTo>
                <a:lnTo>
                  <a:pt x="1706123" y="3164834"/>
                </a:lnTo>
                <a:lnTo>
                  <a:pt x="1693981" y="3152690"/>
                </a:lnTo>
                <a:lnTo>
                  <a:pt x="1693981" y="3149654"/>
                </a:lnTo>
                <a:lnTo>
                  <a:pt x="1697016" y="3146619"/>
                </a:lnTo>
                <a:lnTo>
                  <a:pt x="1700053" y="3146619"/>
                </a:lnTo>
                <a:lnTo>
                  <a:pt x="1697016" y="3143583"/>
                </a:lnTo>
                <a:lnTo>
                  <a:pt x="1697016" y="3140547"/>
                </a:lnTo>
                <a:lnTo>
                  <a:pt x="1697016" y="3137512"/>
                </a:lnTo>
                <a:lnTo>
                  <a:pt x="1684874" y="3122333"/>
                </a:lnTo>
                <a:lnTo>
                  <a:pt x="1669694" y="3107154"/>
                </a:lnTo>
                <a:lnTo>
                  <a:pt x="1657551" y="3098045"/>
                </a:lnTo>
                <a:lnTo>
                  <a:pt x="1657551" y="3095010"/>
                </a:lnTo>
                <a:lnTo>
                  <a:pt x="1663623" y="3098045"/>
                </a:lnTo>
                <a:lnTo>
                  <a:pt x="1663623" y="3095010"/>
                </a:lnTo>
                <a:lnTo>
                  <a:pt x="1660587" y="3091975"/>
                </a:lnTo>
                <a:lnTo>
                  <a:pt x="1654515" y="3085903"/>
                </a:lnTo>
                <a:lnTo>
                  <a:pt x="1651479" y="3091975"/>
                </a:lnTo>
                <a:lnTo>
                  <a:pt x="1645408" y="3091975"/>
                </a:lnTo>
                <a:lnTo>
                  <a:pt x="1642372" y="3091975"/>
                </a:lnTo>
                <a:lnTo>
                  <a:pt x="1633264" y="3091975"/>
                </a:lnTo>
                <a:lnTo>
                  <a:pt x="1621121" y="3085903"/>
                </a:lnTo>
                <a:lnTo>
                  <a:pt x="1605943" y="3079831"/>
                </a:lnTo>
                <a:lnTo>
                  <a:pt x="1590764" y="3076795"/>
                </a:lnTo>
                <a:lnTo>
                  <a:pt x="1578620" y="3073759"/>
                </a:lnTo>
                <a:lnTo>
                  <a:pt x="1572549" y="3070724"/>
                </a:lnTo>
                <a:lnTo>
                  <a:pt x="1563441" y="3064652"/>
                </a:lnTo>
                <a:lnTo>
                  <a:pt x="1564817" y="3060525"/>
                </a:lnTo>
                <a:lnTo>
                  <a:pt x="1564816" y="3060524"/>
                </a:lnTo>
                <a:lnTo>
                  <a:pt x="1563441" y="3064652"/>
                </a:lnTo>
                <a:lnTo>
                  <a:pt x="1542189" y="3043401"/>
                </a:lnTo>
                <a:lnTo>
                  <a:pt x="1533082" y="3034294"/>
                </a:lnTo>
                <a:lnTo>
                  <a:pt x="1520939" y="3028222"/>
                </a:lnTo>
                <a:lnTo>
                  <a:pt x="1511831" y="3025186"/>
                </a:lnTo>
                <a:lnTo>
                  <a:pt x="1508795" y="3022151"/>
                </a:lnTo>
                <a:lnTo>
                  <a:pt x="1502724" y="3028222"/>
                </a:lnTo>
                <a:lnTo>
                  <a:pt x="1493616" y="3034294"/>
                </a:lnTo>
                <a:lnTo>
                  <a:pt x="1481474" y="3040365"/>
                </a:lnTo>
                <a:lnTo>
                  <a:pt x="1460223" y="3034294"/>
                </a:lnTo>
                <a:lnTo>
                  <a:pt x="1445044" y="3031258"/>
                </a:lnTo>
                <a:lnTo>
                  <a:pt x="1435936" y="3028222"/>
                </a:lnTo>
                <a:lnTo>
                  <a:pt x="1426829" y="3022151"/>
                </a:lnTo>
                <a:lnTo>
                  <a:pt x="1411650" y="3016079"/>
                </a:lnTo>
                <a:lnTo>
                  <a:pt x="1399506" y="3013043"/>
                </a:lnTo>
                <a:lnTo>
                  <a:pt x="1387364" y="3006972"/>
                </a:lnTo>
                <a:lnTo>
                  <a:pt x="1375220" y="3000900"/>
                </a:lnTo>
                <a:lnTo>
                  <a:pt x="1366113" y="2994828"/>
                </a:lnTo>
                <a:lnTo>
                  <a:pt x="1360041" y="2988756"/>
                </a:lnTo>
                <a:lnTo>
                  <a:pt x="1357005" y="2991793"/>
                </a:lnTo>
                <a:lnTo>
                  <a:pt x="1350934" y="2988756"/>
                </a:lnTo>
                <a:lnTo>
                  <a:pt x="1338790" y="2985721"/>
                </a:lnTo>
                <a:lnTo>
                  <a:pt x="1326647" y="2976614"/>
                </a:lnTo>
                <a:lnTo>
                  <a:pt x="1317539" y="2970542"/>
                </a:lnTo>
                <a:lnTo>
                  <a:pt x="1305396" y="2964470"/>
                </a:lnTo>
                <a:lnTo>
                  <a:pt x="1293253" y="2955363"/>
                </a:lnTo>
                <a:lnTo>
                  <a:pt x="1287182" y="2943219"/>
                </a:lnTo>
                <a:lnTo>
                  <a:pt x="1284145" y="2937148"/>
                </a:lnTo>
                <a:lnTo>
                  <a:pt x="1287182" y="2934112"/>
                </a:lnTo>
                <a:lnTo>
                  <a:pt x="1290217" y="2928041"/>
                </a:lnTo>
                <a:lnTo>
                  <a:pt x="1293253" y="2921969"/>
                </a:lnTo>
                <a:lnTo>
                  <a:pt x="1293253" y="2915897"/>
                </a:lnTo>
                <a:lnTo>
                  <a:pt x="1290217" y="2909825"/>
                </a:lnTo>
                <a:lnTo>
                  <a:pt x="1287182" y="2903754"/>
                </a:lnTo>
                <a:lnTo>
                  <a:pt x="1287182" y="2900718"/>
                </a:lnTo>
                <a:lnTo>
                  <a:pt x="1278074" y="2882504"/>
                </a:lnTo>
                <a:lnTo>
                  <a:pt x="1259859" y="2864288"/>
                </a:lnTo>
                <a:lnTo>
                  <a:pt x="1250752" y="2852145"/>
                </a:lnTo>
                <a:lnTo>
                  <a:pt x="1241644" y="2846074"/>
                </a:lnTo>
                <a:lnTo>
                  <a:pt x="1232537" y="2836966"/>
                </a:lnTo>
                <a:lnTo>
                  <a:pt x="1223430" y="2827859"/>
                </a:lnTo>
                <a:lnTo>
                  <a:pt x="1214322" y="2821787"/>
                </a:lnTo>
                <a:lnTo>
                  <a:pt x="1208250" y="2815715"/>
                </a:lnTo>
                <a:lnTo>
                  <a:pt x="1211286" y="2806608"/>
                </a:lnTo>
                <a:lnTo>
                  <a:pt x="1211286" y="2800536"/>
                </a:lnTo>
                <a:lnTo>
                  <a:pt x="1208250" y="2794465"/>
                </a:lnTo>
                <a:lnTo>
                  <a:pt x="1202179" y="2794465"/>
                </a:lnTo>
                <a:lnTo>
                  <a:pt x="1199143" y="2791429"/>
                </a:lnTo>
                <a:lnTo>
                  <a:pt x="1190035" y="2785357"/>
                </a:lnTo>
                <a:lnTo>
                  <a:pt x="1183963" y="2773215"/>
                </a:lnTo>
                <a:lnTo>
                  <a:pt x="1187000" y="2770178"/>
                </a:lnTo>
                <a:lnTo>
                  <a:pt x="1180928" y="2767143"/>
                </a:lnTo>
                <a:lnTo>
                  <a:pt x="1177893" y="2767143"/>
                </a:lnTo>
                <a:lnTo>
                  <a:pt x="1174856" y="2767143"/>
                </a:lnTo>
                <a:lnTo>
                  <a:pt x="1171821" y="2764106"/>
                </a:lnTo>
                <a:lnTo>
                  <a:pt x="1159677" y="2751964"/>
                </a:lnTo>
                <a:lnTo>
                  <a:pt x="1153606" y="2745892"/>
                </a:lnTo>
                <a:lnTo>
                  <a:pt x="1150570" y="2739820"/>
                </a:lnTo>
                <a:lnTo>
                  <a:pt x="1150570" y="2733749"/>
                </a:lnTo>
                <a:lnTo>
                  <a:pt x="1144498" y="2727677"/>
                </a:lnTo>
                <a:lnTo>
                  <a:pt x="1138426" y="2718570"/>
                </a:lnTo>
                <a:lnTo>
                  <a:pt x="1135391" y="2706426"/>
                </a:lnTo>
                <a:lnTo>
                  <a:pt x="1132355" y="2700355"/>
                </a:lnTo>
                <a:lnTo>
                  <a:pt x="1129319" y="2688212"/>
                </a:lnTo>
                <a:lnTo>
                  <a:pt x="1120212" y="2688212"/>
                </a:lnTo>
                <a:lnTo>
                  <a:pt x="1114140" y="2682140"/>
                </a:lnTo>
                <a:lnTo>
                  <a:pt x="1108069" y="2682140"/>
                </a:lnTo>
                <a:lnTo>
                  <a:pt x="1095925" y="2676068"/>
                </a:lnTo>
                <a:lnTo>
                  <a:pt x="1098961" y="2679104"/>
                </a:lnTo>
                <a:lnTo>
                  <a:pt x="1095925" y="2682140"/>
                </a:lnTo>
                <a:lnTo>
                  <a:pt x="1095925" y="2685175"/>
                </a:lnTo>
                <a:lnTo>
                  <a:pt x="1098961" y="2697319"/>
                </a:lnTo>
                <a:lnTo>
                  <a:pt x="1098961" y="2700355"/>
                </a:lnTo>
                <a:lnTo>
                  <a:pt x="1101997" y="2706426"/>
                </a:lnTo>
                <a:lnTo>
                  <a:pt x="1098961" y="2715534"/>
                </a:lnTo>
                <a:lnTo>
                  <a:pt x="1101997" y="2718570"/>
                </a:lnTo>
                <a:lnTo>
                  <a:pt x="1114140" y="2727677"/>
                </a:lnTo>
                <a:lnTo>
                  <a:pt x="1123248" y="2736785"/>
                </a:lnTo>
                <a:lnTo>
                  <a:pt x="1132355" y="2748927"/>
                </a:lnTo>
                <a:lnTo>
                  <a:pt x="1138426" y="2761071"/>
                </a:lnTo>
                <a:lnTo>
                  <a:pt x="1138426" y="2767143"/>
                </a:lnTo>
                <a:lnTo>
                  <a:pt x="1141463" y="2773215"/>
                </a:lnTo>
                <a:lnTo>
                  <a:pt x="1147534" y="2779285"/>
                </a:lnTo>
                <a:lnTo>
                  <a:pt x="1150570" y="2785357"/>
                </a:lnTo>
                <a:lnTo>
                  <a:pt x="1156642" y="2788394"/>
                </a:lnTo>
                <a:lnTo>
                  <a:pt x="1159677" y="2791429"/>
                </a:lnTo>
                <a:lnTo>
                  <a:pt x="1162714" y="2794465"/>
                </a:lnTo>
                <a:lnTo>
                  <a:pt x="1165749" y="2800536"/>
                </a:lnTo>
                <a:lnTo>
                  <a:pt x="1168786" y="2809644"/>
                </a:lnTo>
                <a:lnTo>
                  <a:pt x="1168786" y="2815715"/>
                </a:lnTo>
                <a:lnTo>
                  <a:pt x="1174856" y="2827859"/>
                </a:lnTo>
                <a:lnTo>
                  <a:pt x="1177893" y="2833930"/>
                </a:lnTo>
                <a:lnTo>
                  <a:pt x="1180928" y="2840002"/>
                </a:lnTo>
                <a:lnTo>
                  <a:pt x="1180928" y="2849109"/>
                </a:lnTo>
                <a:lnTo>
                  <a:pt x="1190035" y="2852145"/>
                </a:lnTo>
                <a:lnTo>
                  <a:pt x="1190035" y="2849109"/>
                </a:lnTo>
                <a:lnTo>
                  <a:pt x="1193072" y="2849109"/>
                </a:lnTo>
                <a:lnTo>
                  <a:pt x="1202179" y="2861253"/>
                </a:lnTo>
                <a:lnTo>
                  <a:pt x="1208250" y="2870360"/>
                </a:lnTo>
                <a:lnTo>
                  <a:pt x="1202179" y="2879467"/>
                </a:lnTo>
                <a:lnTo>
                  <a:pt x="1193072" y="2879467"/>
                </a:lnTo>
                <a:lnTo>
                  <a:pt x="1193072" y="2870360"/>
                </a:lnTo>
                <a:lnTo>
                  <a:pt x="1190035" y="2867325"/>
                </a:lnTo>
                <a:lnTo>
                  <a:pt x="1183963" y="2864288"/>
                </a:lnTo>
                <a:lnTo>
                  <a:pt x="1162714" y="2846074"/>
                </a:lnTo>
                <a:lnTo>
                  <a:pt x="1156642" y="2840002"/>
                </a:lnTo>
                <a:lnTo>
                  <a:pt x="1153606" y="2840002"/>
                </a:lnTo>
                <a:lnTo>
                  <a:pt x="1150570" y="2833930"/>
                </a:lnTo>
                <a:lnTo>
                  <a:pt x="1153606" y="2824823"/>
                </a:lnTo>
                <a:lnTo>
                  <a:pt x="1147534" y="2812680"/>
                </a:lnTo>
                <a:lnTo>
                  <a:pt x="1144498" y="2806608"/>
                </a:lnTo>
                <a:lnTo>
                  <a:pt x="1141463" y="2803572"/>
                </a:lnTo>
                <a:lnTo>
                  <a:pt x="1129319" y="2797501"/>
                </a:lnTo>
                <a:lnTo>
                  <a:pt x="1123248" y="2794465"/>
                </a:lnTo>
                <a:lnTo>
                  <a:pt x="1120212" y="2791429"/>
                </a:lnTo>
                <a:lnTo>
                  <a:pt x="1095925" y="2773215"/>
                </a:lnTo>
                <a:lnTo>
                  <a:pt x="1111105" y="2767143"/>
                </a:lnTo>
                <a:lnTo>
                  <a:pt x="1111105" y="2758035"/>
                </a:lnTo>
                <a:lnTo>
                  <a:pt x="1111105" y="2751964"/>
                </a:lnTo>
                <a:lnTo>
                  <a:pt x="1101997" y="2742856"/>
                </a:lnTo>
                <a:lnTo>
                  <a:pt x="1089854" y="2733749"/>
                </a:lnTo>
                <a:lnTo>
                  <a:pt x="1080746" y="2727677"/>
                </a:lnTo>
                <a:lnTo>
                  <a:pt x="1077711" y="2715534"/>
                </a:lnTo>
                <a:lnTo>
                  <a:pt x="1074675" y="2712498"/>
                </a:lnTo>
                <a:lnTo>
                  <a:pt x="1074675" y="2709462"/>
                </a:lnTo>
                <a:lnTo>
                  <a:pt x="1071639" y="2700355"/>
                </a:lnTo>
                <a:lnTo>
                  <a:pt x="1062532" y="2688212"/>
                </a:lnTo>
                <a:lnTo>
                  <a:pt x="1059496" y="2679104"/>
                </a:lnTo>
                <a:lnTo>
                  <a:pt x="1050388" y="2657854"/>
                </a:lnTo>
                <a:lnTo>
                  <a:pt x="1050389" y="2657854"/>
                </a:lnTo>
                <a:lnTo>
                  <a:pt x="1038246" y="2636603"/>
                </a:lnTo>
                <a:lnTo>
                  <a:pt x="1029138" y="2627495"/>
                </a:lnTo>
                <a:lnTo>
                  <a:pt x="1020031" y="2621424"/>
                </a:lnTo>
                <a:lnTo>
                  <a:pt x="992709" y="2612316"/>
                </a:lnTo>
                <a:lnTo>
                  <a:pt x="980565" y="2609280"/>
                </a:lnTo>
                <a:lnTo>
                  <a:pt x="977530" y="2600173"/>
                </a:lnTo>
                <a:lnTo>
                  <a:pt x="962351" y="2578923"/>
                </a:lnTo>
                <a:lnTo>
                  <a:pt x="950207" y="2563744"/>
                </a:lnTo>
                <a:lnTo>
                  <a:pt x="950207" y="2557672"/>
                </a:lnTo>
                <a:lnTo>
                  <a:pt x="953244" y="2554635"/>
                </a:lnTo>
                <a:lnTo>
                  <a:pt x="950207" y="2548565"/>
                </a:lnTo>
                <a:lnTo>
                  <a:pt x="947172" y="2548565"/>
                </a:lnTo>
                <a:lnTo>
                  <a:pt x="941100" y="2542493"/>
                </a:lnTo>
                <a:lnTo>
                  <a:pt x="938065" y="2530349"/>
                </a:lnTo>
                <a:lnTo>
                  <a:pt x="938065" y="2524278"/>
                </a:lnTo>
                <a:lnTo>
                  <a:pt x="931993" y="2521242"/>
                </a:lnTo>
                <a:lnTo>
                  <a:pt x="925921" y="2509099"/>
                </a:lnTo>
                <a:lnTo>
                  <a:pt x="919849" y="2503027"/>
                </a:lnTo>
                <a:lnTo>
                  <a:pt x="913778" y="2496955"/>
                </a:lnTo>
                <a:lnTo>
                  <a:pt x="910742" y="2484812"/>
                </a:lnTo>
                <a:lnTo>
                  <a:pt x="913778" y="2478741"/>
                </a:lnTo>
                <a:lnTo>
                  <a:pt x="910742" y="2472669"/>
                </a:lnTo>
                <a:lnTo>
                  <a:pt x="904670" y="2463562"/>
                </a:lnTo>
                <a:lnTo>
                  <a:pt x="898599" y="2451418"/>
                </a:lnTo>
                <a:lnTo>
                  <a:pt x="904670" y="2445346"/>
                </a:lnTo>
                <a:lnTo>
                  <a:pt x="904670" y="2439276"/>
                </a:lnTo>
                <a:lnTo>
                  <a:pt x="904670" y="2424096"/>
                </a:lnTo>
                <a:lnTo>
                  <a:pt x="901635" y="2414988"/>
                </a:lnTo>
                <a:lnTo>
                  <a:pt x="901635" y="2408917"/>
                </a:lnTo>
                <a:lnTo>
                  <a:pt x="898599" y="2401327"/>
                </a:lnTo>
                <a:lnTo>
                  <a:pt x="898599" y="2392220"/>
                </a:lnTo>
                <a:lnTo>
                  <a:pt x="898599" y="2383112"/>
                </a:lnTo>
                <a:lnTo>
                  <a:pt x="901635" y="2377041"/>
                </a:lnTo>
                <a:lnTo>
                  <a:pt x="904670" y="2361862"/>
                </a:lnTo>
                <a:lnTo>
                  <a:pt x="904670" y="2337575"/>
                </a:lnTo>
                <a:lnTo>
                  <a:pt x="907706" y="2331504"/>
                </a:lnTo>
                <a:lnTo>
                  <a:pt x="907706" y="2325432"/>
                </a:lnTo>
                <a:lnTo>
                  <a:pt x="907706" y="2307217"/>
                </a:lnTo>
                <a:lnTo>
                  <a:pt x="907706" y="2298109"/>
                </a:lnTo>
                <a:lnTo>
                  <a:pt x="907706" y="2289002"/>
                </a:lnTo>
                <a:lnTo>
                  <a:pt x="913778" y="2279895"/>
                </a:lnTo>
                <a:lnTo>
                  <a:pt x="910742" y="2270787"/>
                </a:lnTo>
                <a:lnTo>
                  <a:pt x="907706" y="2264715"/>
                </a:lnTo>
                <a:lnTo>
                  <a:pt x="901635" y="2258644"/>
                </a:lnTo>
                <a:lnTo>
                  <a:pt x="898599" y="2249536"/>
                </a:lnTo>
                <a:lnTo>
                  <a:pt x="898599" y="2243465"/>
                </a:lnTo>
                <a:lnTo>
                  <a:pt x="892527" y="2240429"/>
                </a:lnTo>
                <a:lnTo>
                  <a:pt x="892527" y="2228285"/>
                </a:lnTo>
                <a:lnTo>
                  <a:pt x="907706" y="2234357"/>
                </a:lnTo>
                <a:lnTo>
                  <a:pt x="925921" y="2237394"/>
                </a:lnTo>
                <a:lnTo>
                  <a:pt x="931993" y="2237394"/>
                </a:lnTo>
                <a:lnTo>
                  <a:pt x="938065" y="2246501"/>
                </a:lnTo>
                <a:lnTo>
                  <a:pt x="938065" y="2258644"/>
                </a:lnTo>
                <a:lnTo>
                  <a:pt x="935029" y="2261680"/>
                </a:lnTo>
                <a:lnTo>
                  <a:pt x="925921" y="2264715"/>
                </a:lnTo>
                <a:lnTo>
                  <a:pt x="928956" y="2267752"/>
                </a:lnTo>
                <a:lnTo>
                  <a:pt x="931993" y="2267752"/>
                </a:lnTo>
                <a:lnTo>
                  <a:pt x="941100" y="2261680"/>
                </a:lnTo>
                <a:lnTo>
                  <a:pt x="941100" y="2258644"/>
                </a:lnTo>
                <a:lnTo>
                  <a:pt x="941100" y="2255608"/>
                </a:lnTo>
                <a:lnTo>
                  <a:pt x="944136" y="2240429"/>
                </a:lnTo>
                <a:lnTo>
                  <a:pt x="941100" y="2231322"/>
                </a:lnTo>
                <a:lnTo>
                  <a:pt x="938065" y="2228285"/>
                </a:lnTo>
                <a:lnTo>
                  <a:pt x="935029" y="2222215"/>
                </a:lnTo>
                <a:lnTo>
                  <a:pt x="935029" y="2216143"/>
                </a:lnTo>
                <a:lnTo>
                  <a:pt x="931993" y="2210071"/>
                </a:lnTo>
                <a:lnTo>
                  <a:pt x="925921" y="2210071"/>
                </a:lnTo>
                <a:lnTo>
                  <a:pt x="925921" y="2203999"/>
                </a:lnTo>
                <a:lnTo>
                  <a:pt x="916814" y="2194892"/>
                </a:lnTo>
                <a:lnTo>
                  <a:pt x="913778" y="2191856"/>
                </a:lnTo>
                <a:lnTo>
                  <a:pt x="910742" y="2188820"/>
                </a:lnTo>
                <a:lnTo>
                  <a:pt x="907706" y="2188820"/>
                </a:lnTo>
                <a:lnTo>
                  <a:pt x="895563" y="2182749"/>
                </a:lnTo>
                <a:lnTo>
                  <a:pt x="889491" y="2176677"/>
                </a:lnTo>
                <a:lnTo>
                  <a:pt x="895563" y="2170605"/>
                </a:lnTo>
                <a:lnTo>
                  <a:pt x="895563" y="2161498"/>
                </a:lnTo>
                <a:lnTo>
                  <a:pt x="889491" y="2155426"/>
                </a:lnTo>
                <a:lnTo>
                  <a:pt x="883420" y="2164534"/>
                </a:lnTo>
                <a:lnTo>
                  <a:pt x="871276" y="2164534"/>
                </a:lnTo>
                <a:lnTo>
                  <a:pt x="862172" y="2161499"/>
                </a:lnTo>
                <a:lnTo>
                  <a:pt x="868241" y="2164533"/>
                </a:lnTo>
                <a:lnTo>
                  <a:pt x="877348" y="2167569"/>
                </a:lnTo>
                <a:lnTo>
                  <a:pt x="880384" y="2173640"/>
                </a:lnTo>
                <a:lnTo>
                  <a:pt x="883420" y="2179712"/>
                </a:lnTo>
                <a:lnTo>
                  <a:pt x="892527" y="2194891"/>
                </a:lnTo>
                <a:lnTo>
                  <a:pt x="913778" y="2210070"/>
                </a:lnTo>
                <a:lnTo>
                  <a:pt x="919849" y="2222214"/>
                </a:lnTo>
                <a:lnTo>
                  <a:pt x="916814" y="2231321"/>
                </a:lnTo>
                <a:lnTo>
                  <a:pt x="913778" y="2231321"/>
                </a:lnTo>
                <a:lnTo>
                  <a:pt x="886455" y="2219177"/>
                </a:lnTo>
                <a:lnTo>
                  <a:pt x="874312" y="2210070"/>
                </a:lnTo>
                <a:lnTo>
                  <a:pt x="871276" y="2207034"/>
                </a:lnTo>
                <a:lnTo>
                  <a:pt x="868241" y="2197927"/>
                </a:lnTo>
                <a:lnTo>
                  <a:pt x="865204" y="2194891"/>
                </a:lnTo>
                <a:lnTo>
                  <a:pt x="859134" y="2197927"/>
                </a:lnTo>
                <a:lnTo>
                  <a:pt x="853062" y="2197927"/>
                </a:lnTo>
                <a:lnTo>
                  <a:pt x="853062" y="2191855"/>
                </a:lnTo>
                <a:lnTo>
                  <a:pt x="840918" y="2179712"/>
                </a:lnTo>
                <a:lnTo>
                  <a:pt x="831811" y="2173640"/>
                </a:lnTo>
                <a:lnTo>
                  <a:pt x="828775" y="2173640"/>
                </a:lnTo>
                <a:lnTo>
                  <a:pt x="825739" y="2167569"/>
                </a:lnTo>
                <a:lnTo>
                  <a:pt x="819667" y="2161497"/>
                </a:lnTo>
                <a:lnTo>
                  <a:pt x="816632" y="2152390"/>
                </a:lnTo>
                <a:lnTo>
                  <a:pt x="822704" y="2149354"/>
                </a:lnTo>
                <a:lnTo>
                  <a:pt x="831811" y="2149354"/>
                </a:lnTo>
                <a:lnTo>
                  <a:pt x="837883" y="2155425"/>
                </a:lnTo>
                <a:lnTo>
                  <a:pt x="856098" y="2161497"/>
                </a:lnTo>
                <a:lnTo>
                  <a:pt x="862169" y="2161497"/>
                </a:lnTo>
                <a:lnTo>
                  <a:pt x="862169" y="2146318"/>
                </a:lnTo>
                <a:lnTo>
                  <a:pt x="853062" y="2149355"/>
                </a:lnTo>
                <a:lnTo>
                  <a:pt x="843955" y="2149355"/>
                </a:lnTo>
                <a:lnTo>
                  <a:pt x="828775" y="2140246"/>
                </a:lnTo>
                <a:lnTo>
                  <a:pt x="828775" y="2134174"/>
                </a:lnTo>
                <a:lnTo>
                  <a:pt x="828775" y="2128104"/>
                </a:lnTo>
                <a:lnTo>
                  <a:pt x="825739" y="2115960"/>
                </a:lnTo>
                <a:lnTo>
                  <a:pt x="828775" y="2103817"/>
                </a:lnTo>
                <a:lnTo>
                  <a:pt x="828775" y="2097745"/>
                </a:lnTo>
                <a:lnTo>
                  <a:pt x="822704" y="2088638"/>
                </a:lnTo>
                <a:lnTo>
                  <a:pt x="822704" y="2082566"/>
                </a:lnTo>
                <a:lnTo>
                  <a:pt x="819667" y="2085602"/>
                </a:lnTo>
                <a:lnTo>
                  <a:pt x="807525" y="2070423"/>
                </a:lnTo>
                <a:lnTo>
                  <a:pt x="804489" y="2064351"/>
                </a:lnTo>
                <a:lnTo>
                  <a:pt x="807525" y="2058280"/>
                </a:lnTo>
                <a:lnTo>
                  <a:pt x="807525" y="2055244"/>
                </a:lnTo>
                <a:lnTo>
                  <a:pt x="807525" y="2052208"/>
                </a:lnTo>
                <a:lnTo>
                  <a:pt x="810560" y="2049172"/>
                </a:lnTo>
                <a:lnTo>
                  <a:pt x="807525" y="2046136"/>
                </a:lnTo>
                <a:lnTo>
                  <a:pt x="801453" y="2055244"/>
                </a:lnTo>
                <a:lnTo>
                  <a:pt x="798417" y="2055244"/>
                </a:lnTo>
                <a:lnTo>
                  <a:pt x="798417" y="2064351"/>
                </a:lnTo>
                <a:lnTo>
                  <a:pt x="792345" y="2058280"/>
                </a:lnTo>
                <a:lnTo>
                  <a:pt x="783238" y="2046136"/>
                </a:lnTo>
                <a:lnTo>
                  <a:pt x="780203" y="2040065"/>
                </a:lnTo>
                <a:lnTo>
                  <a:pt x="780203" y="2037029"/>
                </a:lnTo>
                <a:lnTo>
                  <a:pt x="777167" y="2037029"/>
                </a:lnTo>
                <a:lnTo>
                  <a:pt x="777167" y="2033994"/>
                </a:lnTo>
                <a:lnTo>
                  <a:pt x="774131" y="2030957"/>
                </a:lnTo>
                <a:lnTo>
                  <a:pt x="777167" y="2018815"/>
                </a:lnTo>
                <a:lnTo>
                  <a:pt x="780203" y="2012743"/>
                </a:lnTo>
                <a:lnTo>
                  <a:pt x="780203" y="2003637"/>
                </a:lnTo>
                <a:lnTo>
                  <a:pt x="771095" y="2015779"/>
                </a:lnTo>
                <a:lnTo>
                  <a:pt x="761987" y="2009707"/>
                </a:lnTo>
                <a:lnTo>
                  <a:pt x="761987" y="2000600"/>
                </a:lnTo>
                <a:lnTo>
                  <a:pt x="765023" y="1997565"/>
                </a:lnTo>
                <a:lnTo>
                  <a:pt x="765023" y="1985421"/>
                </a:lnTo>
                <a:lnTo>
                  <a:pt x="761987" y="1976314"/>
                </a:lnTo>
                <a:lnTo>
                  <a:pt x="755915" y="1973278"/>
                </a:lnTo>
                <a:lnTo>
                  <a:pt x="749845" y="1973278"/>
                </a:lnTo>
                <a:lnTo>
                  <a:pt x="743773" y="1988457"/>
                </a:lnTo>
                <a:lnTo>
                  <a:pt x="737701" y="1982386"/>
                </a:lnTo>
                <a:lnTo>
                  <a:pt x="740738" y="1976314"/>
                </a:lnTo>
                <a:lnTo>
                  <a:pt x="743773" y="1964170"/>
                </a:lnTo>
                <a:lnTo>
                  <a:pt x="734665" y="1952027"/>
                </a:lnTo>
                <a:lnTo>
                  <a:pt x="731629" y="1948992"/>
                </a:lnTo>
                <a:lnTo>
                  <a:pt x="728594" y="1945956"/>
                </a:lnTo>
                <a:lnTo>
                  <a:pt x="716450" y="1930776"/>
                </a:lnTo>
                <a:lnTo>
                  <a:pt x="713415" y="1924705"/>
                </a:lnTo>
                <a:lnTo>
                  <a:pt x="710378" y="1912562"/>
                </a:lnTo>
                <a:lnTo>
                  <a:pt x="701271" y="1894346"/>
                </a:lnTo>
                <a:lnTo>
                  <a:pt x="698235" y="1888276"/>
                </a:lnTo>
                <a:lnTo>
                  <a:pt x="695200" y="1888276"/>
                </a:lnTo>
                <a:lnTo>
                  <a:pt x="683057" y="1876132"/>
                </a:lnTo>
                <a:lnTo>
                  <a:pt x="676985" y="1851846"/>
                </a:lnTo>
                <a:lnTo>
                  <a:pt x="673949" y="1839702"/>
                </a:lnTo>
                <a:lnTo>
                  <a:pt x="667877" y="1848810"/>
                </a:lnTo>
                <a:lnTo>
                  <a:pt x="673949" y="1860953"/>
                </a:lnTo>
                <a:lnTo>
                  <a:pt x="676985" y="1870060"/>
                </a:lnTo>
                <a:lnTo>
                  <a:pt x="680021" y="1885239"/>
                </a:lnTo>
                <a:lnTo>
                  <a:pt x="667877" y="1882204"/>
                </a:lnTo>
                <a:lnTo>
                  <a:pt x="661806" y="1876132"/>
                </a:lnTo>
                <a:lnTo>
                  <a:pt x="658770" y="1863989"/>
                </a:lnTo>
                <a:lnTo>
                  <a:pt x="652698" y="1867025"/>
                </a:lnTo>
                <a:lnTo>
                  <a:pt x="658770" y="1873097"/>
                </a:lnTo>
                <a:lnTo>
                  <a:pt x="658770" y="1882204"/>
                </a:lnTo>
                <a:lnTo>
                  <a:pt x="652698" y="1885239"/>
                </a:lnTo>
                <a:lnTo>
                  <a:pt x="646626" y="1885239"/>
                </a:lnTo>
                <a:lnTo>
                  <a:pt x="625377" y="1870060"/>
                </a:lnTo>
                <a:lnTo>
                  <a:pt x="613233" y="1854881"/>
                </a:lnTo>
                <a:lnTo>
                  <a:pt x="610197" y="1848810"/>
                </a:lnTo>
                <a:lnTo>
                  <a:pt x="604126" y="1848810"/>
                </a:lnTo>
                <a:lnTo>
                  <a:pt x="579839" y="1833631"/>
                </a:lnTo>
                <a:lnTo>
                  <a:pt x="591982" y="1830595"/>
                </a:lnTo>
                <a:lnTo>
                  <a:pt x="591982" y="1821487"/>
                </a:lnTo>
                <a:lnTo>
                  <a:pt x="585910" y="1812380"/>
                </a:lnTo>
                <a:lnTo>
                  <a:pt x="579839" y="1824523"/>
                </a:lnTo>
                <a:lnTo>
                  <a:pt x="567696" y="1827559"/>
                </a:lnTo>
                <a:lnTo>
                  <a:pt x="555553" y="1824523"/>
                </a:lnTo>
                <a:lnTo>
                  <a:pt x="543409" y="1818452"/>
                </a:lnTo>
                <a:lnTo>
                  <a:pt x="531266" y="1812380"/>
                </a:lnTo>
                <a:lnTo>
                  <a:pt x="519123" y="1812380"/>
                </a:lnTo>
                <a:lnTo>
                  <a:pt x="506979" y="1812380"/>
                </a:lnTo>
                <a:lnTo>
                  <a:pt x="491800" y="1815416"/>
                </a:lnTo>
                <a:lnTo>
                  <a:pt x="467514" y="1800236"/>
                </a:lnTo>
                <a:lnTo>
                  <a:pt x="461443" y="1797201"/>
                </a:lnTo>
                <a:lnTo>
                  <a:pt x="458406" y="1791129"/>
                </a:lnTo>
                <a:lnTo>
                  <a:pt x="446264" y="1788094"/>
                </a:lnTo>
                <a:lnTo>
                  <a:pt x="440192" y="1788094"/>
                </a:lnTo>
                <a:lnTo>
                  <a:pt x="437156" y="1775950"/>
                </a:lnTo>
                <a:lnTo>
                  <a:pt x="434120" y="1772915"/>
                </a:lnTo>
                <a:lnTo>
                  <a:pt x="425013" y="1778987"/>
                </a:lnTo>
                <a:lnTo>
                  <a:pt x="409834" y="1775950"/>
                </a:lnTo>
                <a:lnTo>
                  <a:pt x="409834" y="1791129"/>
                </a:lnTo>
                <a:lnTo>
                  <a:pt x="412869" y="1794166"/>
                </a:lnTo>
                <a:lnTo>
                  <a:pt x="412869" y="1797201"/>
                </a:lnTo>
                <a:lnTo>
                  <a:pt x="406798" y="1809345"/>
                </a:lnTo>
                <a:lnTo>
                  <a:pt x="400726" y="1818452"/>
                </a:lnTo>
                <a:lnTo>
                  <a:pt x="385548" y="1818452"/>
                </a:lnTo>
                <a:lnTo>
                  <a:pt x="370368" y="1830595"/>
                </a:lnTo>
                <a:lnTo>
                  <a:pt x="358225" y="1839702"/>
                </a:lnTo>
                <a:lnTo>
                  <a:pt x="346082" y="1848810"/>
                </a:lnTo>
                <a:lnTo>
                  <a:pt x="333938" y="1848810"/>
                </a:lnTo>
                <a:lnTo>
                  <a:pt x="330903" y="1845774"/>
                </a:lnTo>
                <a:lnTo>
                  <a:pt x="330903" y="1839702"/>
                </a:lnTo>
                <a:lnTo>
                  <a:pt x="333938" y="1815416"/>
                </a:lnTo>
                <a:lnTo>
                  <a:pt x="340010" y="1806308"/>
                </a:lnTo>
                <a:lnTo>
                  <a:pt x="343046" y="1794166"/>
                </a:lnTo>
                <a:lnTo>
                  <a:pt x="340010" y="1788094"/>
                </a:lnTo>
                <a:lnTo>
                  <a:pt x="352154" y="1778987"/>
                </a:lnTo>
                <a:lnTo>
                  <a:pt x="364296" y="1772915"/>
                </a:lnTo>
                <a:lnTo>
                  <a:pt x="364296" y="1766843"/>
                </a:lnTo>
                <a:lnTo>
                  <a:pt x="361261" y="1763807"/>
                </a:lnTo>
                <a:lnTo>
                  <a:pt x="358225" y="1760771"/>
                </a:lnTo>
                <a:lnTo>
                  <a:pt x="352154" y="1766843"/>
                </a:lnTo>
                <a:lnTo>
                  <a:pt x="346082" y="1772915"/>
                </a:lnTo>
                <a:lnTo>
                  <a:pt x="333938" y="1782022"/>
                </a:lnTo>
                <a:lnTo>
                  <a:pt x="324831" y="1797201"/>
                </a:lnTo>
                <a:lnTo>
                  <a:pt x="318760" y="1812380"/>
                </a:lnTo>
                <a:lnTo>
                  <a:pt x="309652" y="1824523"/>
                </a:lnTo>
                <a:lnTo>
                  <a:pt x="306616" y="1827559"/>
                </a:lnTo>
                <a:lnTo>
                  <a:pt x="306616" y="1830595"/>
                </a:lnTo>
                <a:lnTo>
                  <a:pt x="300545" y="1833631"/>
                </a:lnTo>
                <a:lnTo>
                  <a:pt x="285365" y="1842738"/>
                </a:lnTo>
                <a:lnTo>
                  <a:pt x="285365" y="1854881"/>
                </a:lnTo>
                <a:lnTo>
                  <a:pt x="288401" y="1854881"/>
                </a:lnTo>
                <a:lnTo>
                  <a:pt x="303580" y="1860953"/>
                </a:lnTo>
                <a:lnTo>
                  <a:pt x="282329" y="1891311"/>
                </a:lnTo>
                <a:lnTo>
                  <a:pt x="264115" y="1897383"/>
                </a:lnTo>
                <a:lnTo>
                  <a:pt x="264115" y="1900418"/>
                </a:lnTo>
                <a:lnTo>
                  <a:pt x="261079" y="1903455"/>
                </a:lnTo>
                <a:lnTo>
                  <a:pt x="258043" y="1906490"/>
                </a:lnTo>
                <a:lnTo>
                  <a:pt x="255007" y="1906490"/>
                </a:lnTo>
                <a:lnTo>
                  <a:pt x="251972" y="1909526"/>
                </a:lnTo>
                <a:lnTo>
                  <a:pt x="251972" y="1912562"/>
                </a:lnTo>
                <a:lnTo>
                  <a:pt x="245900" y="1915597"/>
                </a:lnTo>
                <a:lnTo>
                  <a:pt x="236793" y="1921669"/>
                </a:lnTo>
                <a:lnTo>
                  <a:pt x="239828" y="1927741"/>
                </a:lnTo>
                <a:lnTo>
                  <a:pt x="233757" y="1933813"/>
                </a:lnTo>
                <a:lnTo>
                  <a:pt x="218577" y="1939884"/>
                </a:lnTo>
                <a:lnTo>
                  <a:pt x="209471" y="1945956"/>
                </a:lnTo>
                <a:lnTo>
                  <a:pt x="197326" y="1955063"/>
                </a:lnTo>
                <a:lnTo>
                  <a:pt x="200363" y="1961135"/>
                </a:lnTo>
                <a:lnTo>
                  <a:pt x="203398" y="1964170"/>
                </a:lnTo>
                <a:lnTo>
                  <a:pt x="194291" y="1970242"/>
                </a:lnTo>
                <a:lnTo>
                  <a:pt x="179112" y="1976314"/>
                </a:lnTo>
                <a:lnTo>
                  <a:pt x="173040" y="1976314"/>
                </a:lnTo>
                <a:lnTo>
                  <a:pt x="170005" y="1976314"/>
                </a:lnTo>
                <a:lnTo>
                  <a:pt x="157861" y="1982386"/>
                </a:lnTo>
                <a:lnTo>
                  <a:pt x="154826" y="1988457"/>
                </a:lnTo>
                <a:lnTo>
                  <a:pt x="148754" y="1991493"/>
                </a:lnTo>
                <a:lnTo>
                  <a:pt x="136611" y="1994528"/>
                </a:lnTo>
                <a:lnTo>
                  <a:pt x="130539" y="1994528"/>
                </a:lnTo>
                <a:lnTo>
                  <a:pt x="127504" y="1991493"/>
                </a:lnTo>
                <a:lnTo>
                  <a:pt x="124467" y="2000600"/>
                </a:lnTo>
                <a:lnTo>
                  <a:pt x="121432" y="2003637"/>
                </a:lnTo>
                <a:lnTo>
                  <a:pt x="109289" y="2009707"/>
                </a:lnTo>
                <a:lnTo>
                  <a:pt x="100181" y="2009707"/>
                </a:lnTo>
                <a:lnTo>
                  <a:pt x="97146" y="2003637"/>
                </a:lnTo>
                <a:lnTo>
                  <a:pt x="109289" y="1994528"/>
                </a:lnTo>
                <a:lnTo>
                  <a:pt x="112325" y="1991493"/>
                </a:lnTo>
                <a:lnTo>
                  <a:pt x="118397" y="1982386"/>
                </a:lnTo>
                <a:lnTo>
                  <a:pt x="139646" y="1973278"/>
                </a:lnTo>
                <a:lnTo>
                  <a:pt x="145718" y="1973278"/>
                </a:lnTo>
                <a:lnTo>
                  <a:pt x="151790" y="1970242"/>
                </a:lnTo>
                <a:lnTo>
                  <a:pt x="160897" y="1958099"/>
                </a:lnTo>
                <a:lnTo>
                  <a:pt x="173040" y="1948992"/>
                </a:lnTo>
                <a:lnTo>
                  <a:pt x="185184" y="1939884"/>
                </a:lnTo>
                <a:lnTo>
                  <a:pt x="191256" y="1933813"/>
                </a:lnTo>
                <a:lnTo>
                  <a:pt x="197326" y="1924705"/>
                </a:lnTo>
                <a:lnTo>
                  <a:pt x="203398" y="1918634"/>
                </a:lnTo>
                <a:lnTo>
                  <a:pt x="212507" y="1909526"/>
                </a:lnTo>
                <a:lnTo>
                  <a:pt x="212507" y="1906490"/>
                </a:lnTo>
                <a:lnTo>
                  <a:pt x="212507" y="1897383"/>
                </a:lnTo>
                <a:lnTo>
                  <a:pt x="215542" y="1888276"/>
                </a:lnTo>
                <a:lnTo>
                  <a:pt x="215542" y="1882204"/>
                </a:lnTo>
                <a:lnTo>
                  <a:pt x="227686" y="1867025"/>
                </a:lnTo>
                <a:lnTo>
                  <a:pt x="224649" y="1860953"/>
                </a:lnTo>
                <a:lnTo>
                  <a:pt x="221614" y="1860953"/>
                </a:lnTo>
                <a:lnTo>
                  <a:pt x="218577" y="1863989"/>
                </a:lnTo>
                <a:lnTo>
                  <a:pt x="203398" y="1870060"/>
                </a:lnTo>
                <a:lnTo>
                  <a:pt x="200363" y="1870060"/>
                </a:lnTo>
                <a:lnTo>
                  <a:pt x="194291" y="1873097"/>
                </a:lnTo>
                <a:lnTo>
                  <a:pt x="191256" y="1876132"/>
                </a:lnTo>
                <a:lnTo>
                  <a:pt x="182148" y="1873097"/>
                </a:lnTo>
                <a:lnTo>
                  <a:pt x="170005" y="1860953"/>
                </a:lnTo>
                <a:lnTo>
                  <a:pt x="163933" y="1857917"/>
                </a:lnTo>
                <a:lnTo>
                  <a:pt x="157861" y="1857917"/>
                </a:lnTo>
                <a:lnTo>
                  <a:pt x="145718" y="1860953"/>
                </a:lnTo>
                <a:lnTo>
                  <a:pt x="136611" y="1863989"/>
                </a:lnTo>
                <a:lnTo>
                  <a:pt x="136611" y="1870060"/>
                </a:lnTo>
                <a:lnTo>
                  <a:pt x="133576" y="1870060"/>
                </a:lnTo>
                <a:lnTo>
                  <a:pt x="124467" y="1870060"/>
                </a:lnTo>
                <a:lnTo>
                  <a:pt x="127504" y="1863989"/>
                </a:lnTo>
                <a:lnTo>
                  <a:pt x="130539" y="1854881"/>
                </a:lnTo>
                <a:lnTo>
                  <a:pt x="124467" y="1851846"/>
                </a:lnTo>
                <a:lnTo>
                  <a:pt x="124467" y="1842738"/>
                </a:lnTo>
                <a:lnTo>
                  <a:pt x="127504" y="1836666"/>
                </a:lnTo>
                <a:lnTo>
                  <a:pt x="127504" y="1830595"/>
                </a:lnTo>
                <a:lnTo>
                  <a:pt x="118397" y="1812380"/>
                </a:lnTo>
                <a:lnTo>
                  <a:pt x="106253" y="1818452"/>
                </a:lnTo>
                <a:lnTo>
                  <a:pt x="88038" y="1824523"/>
                </a:lnTo>
                <a:lnTo>
                  <a:pt x="78930" y="1821487"/>
                </a:lnTo>
                <a:lnTo>
                  <a:pt x="66787" y="1803273"/>
                </a:lnTo>
                <a:lnTo>
                  <a:pt x="57680" y="1797201"/>
                </a:lnTo>
                <a:lnTo>
                  <a:pt x="54644" y="1794166"/>
                </a:lnTo>
                <a:lnTo>
                  <a:pt x="57680" y="1788094"/>
                </a:lnTo>
                <a:lnTo>
                  <a:pt x="63751" y="1778987"/>
                </a:lnTo>
                <a:lnTo>
                  <a:pt x="54644" y="1769878"/>
                </a:lnTo>
                <a:lnTo>
                  <a:pt x="48572" y="1769878"/>
                </a:lnTo>
                <a:lnTo>
                  <a:pt x="39465" y="1754699"/>
                </a:lnTo>
                <a:lnTo>
                  <a:pt x="39465" y="1739521"/>
                </a:lnTo>
                <a:lnTo>
                  <a:pt x="45536" y="1724342"/>
                </a:lnTo>
                <a:lnTo>
                  <a:pt x="54644" y="1712198"/>
                </a:lnTo>
                <a:lnTo>
                  <a:pt x="60716" y="1706126"/>
                </a:lnTo>
                <a:lnTo>
                  <a:pt x="72858" y="1697019"/>
                </a:lnTo>
                <a:lnTo>
                  <a:pt x="66787" y="1697019"/>
                </a:lnTo>
                <a:lnTo>
                  <a:pt x="75895" y="1684876"/>
                </a:lnTo>
                <a:lnTo>
                  <a:pt x="69823" y="1678805"/>
                </a:lnTo>
                <a:lnTo>
                  <a:pt x="75895" y="1675768"/>
                </a:lnTo>
                <a:lnTo>
                  <a:pt x="85002" y="1675768"/>
                </a:lnTo>
                <a:lnTo>
                  <a:pt x="88038" y="1675768"/>
                </a:lnTo>
                <a:lnTo>
                  <a:pt x="85002" y="1687912"/>
                </a:lnTo>
                <a:lnTo>
                  <a:pt x="94109" y="1681840"/>
                </a:lnTo>
                <a:lnTo>
                  <a:pt x="106253" y="1678805"/>
                </a:lnTo>
                <a:lnTo>
                  <a:pt x="106253" y="1675768"/>
                </a:lnTo>
                <a:lnTo>
                  <a:pt x="109289" y="1675768"/>
                </a:lnTo>
                <a:lnTo>
                  <a:pt x="112325" y="1669697"/>
                </a:lnTo>
                <a:lnTo>
                  <a:pt x="118397" y="1663626"/>
                </a:lnTo>
                <a:lnTo>
                  <a:pt x="124467" y="1666661"/>
                </a:lnTo>
                <a:lnTo>
                  <a:pt x="136611" y="1663626"/>
                </a:lnTo>
                <a:lnTo>
                  <a:pt x="145718" y="1654518"/>
                </a:lnTo>
                <a:lnTo>
                  <a:pt x="145718" y="1636303"/>
                </a:lnTo>
                <a:lnTo>
                  <a:pt x="142683" y="1624160"/>
                </a:lnTo>
                <a:lnTo>
                  <a:pt x="142683" y="1608981"/>
                </a:lnTo>
                <a:lnTo>
                  <a:pt x="139646" y="1593802"/>
                </a:lnTo>
                <a:lnTo>
                  <a:pt x="124467" y="1602909"/>
                </a:lnTo>
                <a:lnTo>
                  <a:pt x="112325" y="1615053"/>
                </a:lnTo>
                <a:lnTo>
                  <a:pt x="106253" y="1612016"/>
                </a:lnTo>
                <a:lnTo>
                  <a:pt x="100181" y="1608981"/>
                </a:lnTo>
                <a:lnTo>
                  <a:pt x="88038" y="1612016"/>
                </a:lnTo>
                <a:lnTo>
                  <a:pt x="75895" y="1612016"/>
                </a:lnTo>
                <a:lnTo>
                  <a:pt x="63751" y="1618088"/>
                </a:lnTo>
                <a:lnTo>
                  <a:pt x="51608" y="1615053"/>
                </a:lnTo>
                <a:lnTo>
                  <a:pt x="30358" y="1602909"/>
                </a:lnTo>
                <a:lnTo>
                  <a:pt x="27322" y="1593802"/>
                </a:lnTo>
                <a:lnTo>
                  <a:pt x="21250" y="1587730"/>
                </a:lnTo>
                <a:lnTo>
                  <a:pt x="12143" y="1572551"/>
                </a:lnTo>
                <a:lnTo>
                  <a:pt x="0" y="1563444"/>
                </a:lnTo>
                <a:lnTo>
                  <a:pt x="0" y="1554337"/>
                </a:lnTo>
                <a:lnTo>
                  <a:pt x="24286" y="1539157"/>
                </a:lnTo>
                <a:lnTo>
                  <a:pt x="54644" y="1520942"/>
                </a:lnTo>
                <a:lnTo>
                  <a:pt x="72858" y="1511835"/>
                </a:lnTo>
                <a:lnTo>
                  <a:pt x="91073" y="1514871"/>
                </a:lnTo>
                <a:lnTo>
                  <a:pt x="78930" y="1533086"/>
                </a:lnTo>
                <a:lnTo>
                  <a:pt x="109289" y="1542193"/>
                </a:lnTo>
                <a:lnTo>
                  <a:pt x="127504" y="1539157"/>
                </a:lnTo>
                <a:lnTo>
                  <a:pt x="133576" y="1530050"/>
                </a:lnTo>
                <a:lnTo>
                  <a:pt x="139646" y="1530050"/>
                </a:lnTo>
                <a:lnTo>
                  <a:pt x="136611" y="1523978"/>
                </a:lnTo>
                <a:lnTo>
                  <a:pt x="133576" y="1520942"/>
                </a:lnTo>
                <a:lnTo>
                  <a:pt x="121432" y="1508799"/>
                </a:lnTo>
                <a:lnTo>
                  <a:pt x="106253" y="1493620"/>
                </a:lnTo>
                <a:lnTo>
                  <a:pt x="97146" y="1487548"/>
                </a:lnTo>
                <a:lnTo>
                  <a:pt x="91073" y="1487548"/>
                </a:lnTo>
                <a:lnTo>
                  <a:pt x="88038" y="1484513"/>
                </a:lnTo>
                <a:lnTo>
                  <a:pt x="85002" y="1469334"/>
                </a:lnTo>
                <a:lnTo>
                  <a:pt x="66787" y="1445047"/>
                </a:lnTo>
                <a:lnTo>
                  <a:pt x="66787" y="1448083"/>
                </a:lnTo>
                <a:lnTo>
                  <a:pt x="27322" y="1417725"/>
                </a:lnTo>
                <a:lnTo>
                  <a:pt x="30358" y="1414689"/>
                </a:lnTo>
                <a:lnTo>
                  <a:pt x="36429" y="1405582"/>
                </a:lnTo>
                <a:lnTo>
                  <a:pt x="36429" y="1393438"/>
                </a:lnTo>
                <a:lnTo>
                  <a:pt x="42501" y="1390403"/>
                </a:lnTo>
                <a:lnTo>
                  <a:pt x="69823" y="1384331"/>
                </a:lnTo>
                <a:lnTo>
                  <a:pt x="94109" y="1369152"/>
                </a:lnTo>
                <a:lnTo>
                  <a:pt x="100181" y="1347901"/>
                </a:lnTo>
                <a:lnTo>
                  <a:pt x="106253" y="1329687"/>
                </a:lnTo>
                <a:lnTo>
                  <a:pt x="121432" y="1308436"/>
                </a:lnTo>
                <a:lnTo>
                  <a:pt x="124467" y="1302364"/>
                </a:lnTo>
                <a:lnTo>
                  <a:pt x="130539" y="1305400"/>
                </a:lnTo>
                <a:lnTo>
                  <a:pt x="136611" y="1305400"/>
                </a:lnTo>
                <a:lnTo>
                  <a:pt x="145718" y="1299328"/>
                </a:lnTo>
                <a:lnTo>
                  <a:pt x="182148" y="1265935"/>
                </a:lnTo>
                <a:lnTo>
                  <a:pt x="182148" y="1275042"/>
                </a:lnTo>
                <a:lnTo>
                  <a:pt x="206435" y="1268970"/>
                </a:lnTo>
                <a:lnTo>
                  <a:pt x="230721" y="1244684"/>
                </a:lnTo>
                <a:lnTo>
                  <a:pt x="255007" y="1250756"/>
                </a:lnTo>
                <a:lnTo>
                  <a:pt x="264115" y="1253791"/>
                </a:lnTo>
                <a:lnTo>
                  <a:pt x="267151" y="1250756"/>
                </a:lnTo>
                <a:lnTo>
                  <a:pt x="273222" y="1256827"/>
                </a:lnTo>
                <a:lnTo>
                  <a:pt x="273222" y="1262898"/>
                </a:lnTo>
                <a:lnTo>
                  <a:pt x="285365" y="1272006"/>
                </a:lnTo>
                <a:lnTo>
                  <a:pt x="291438" y="1265935"/>
                </a:lnTo>
                <a:lnTo>
                  <a:pt x="297509" y="1265935"/>
                </a:lnTo>
                <a:lnTo>
                  <a:pt x="312688" y="1265935"/>
                </a:lnTo>
                <a:lnTo>
                  <a:pt x="324831" y="1272006"/>
                </a:lnTo>
                <a:lnTo>
                  <a:pt x="315724" y="1287185"/>
                </a:lnTo>
                <a:lnTo>
                  <a:pt x="321796" y="1290221"/>
                </a:lnTo>
                <a:lnTo>
                  <a:pt x="330903" y="1293257"/>
                </a:lnTo>
                <a:lnTo>
                  <a:pt x="343046" y="1296292"/>
                </a:lnTo>
                <a:lnTo>
                  <a:pt x="355189" y="1293257"/>
                </a:lnTo>
                <a:lnTo>
                  <a:pt x="367332" y="1290221"/>
                </a:lnTo>
                <a:lnTo>
                  <a:pt x="382512" y="1290221"/>
                </a:lnTo>
                <a:lnTo>
                  <a:pt x="406798" y="1299328"/>
                </a:lnTo>
                <a:lnTo>
                  <a:pt x="412869" y="1302364"/>
                </a:lnTo>
                <a:lnTo>
                  <a:pt x="418941" y="1308436"/>
                </a:lnTo>
                <a:lnTo>
                  <a:pt x="431085" y="1311471"/>
                </a:lnTo>
                <a:lnTo>
                  <a:pt x="443227" y="1308436"/>
                </a:lnTo>
                <a:lnTo>
                  <a:pt x="458406" y="1314507"/>
                </a:lnTo>
                <a:lnTo>
                  <a:pt x="479657" y="1323615"/>
                </a:lnTo>
                <a:lnTo>
                  <a:pt x="488765" y="1317543"/>
                </a:lnTo>
                <a:lnTo>
                  <a:pt x="503944" y="1314507"/>
                </a:lnTo>
                <a:lnTo>
                  <a:pt x="519123" y="1317543"/>
                </a:lnTo>
                <a:lnTo>
                  <a:pt x="528231" y="1329687"/>
                </a:lnTo>
                <a:lnTo>
                  <a:pt x="534302" y="1335758"/>
                </a:lnTo>
                <a:lnTo>
                  <a:pt x="537337" y="1332722"/>
                </a:lnTo>
                <a:lnTo>
                  <a:pt x="540374" y="1335758"/>
                </a:lnTo>
                <a:lnTo>
                  <a:pt x="555553" y="1341829"/>
                </a:lnTo>
                <a:lnTo>
                  <a:pt x="555553" y="1341828"/>
                </a:lnTo>
                <a:lnTo>
                  <a:pt x="582875" y="1344865"/>
                </a:lnTo>
                <a:lnTo>
                  <a:pt x="604126" y="1363079"/>
                </a:lnTo>
                <a:lnTo>
                  <a:pt x="610197" y="1366115"/>
                </a:lnTo>
                <a:lnTo>
                  <a:pt x="613233" y="1372186"/>
                </a:lnTo>
                <a:lnTo>
                  <a:pt x="625377" y="1378258"/>
                </a:lnTo>
                <a:lnTo>
                  <a:pt x="634484" y="1384330"/>
                </a:lnTo>
                <a:lnTo>
                  <a:pt x="643591" y="1387366"/>
                </a:lnTo>
                <a:lnTo>
                  <a:pt x="649663" y="1387366"/>
                </a:lnTo>
                <a:lnTo>
                  <a:pt x="661806" y="1387366"/>
                </a:lnTo>
                <a:lnTo>
                  <a:pt x="670914" y="1387366"/>
                </a:lnTo>
                <a:lnTo>
                  <a:pt x="683057" y="1378258"/>
                </a:lnTo>
                <a:lnTo>
                  <a:pt x="704307" y="1360044"/>
                </a:lnTo>
                <a:lnTo>
                  <a:pt x="716450" y="1357007"/>
                </a:lnTo>
                <a:lnTo>
                  <a:pt x="722522" y="1341828"/>
                </a:lnTo>
                <a:lnTo>
                  <a:pt x="746809" y="1332721"/>
                </a:lnTo>
                <a:lnTo>
                  <a:pt x="761987" y="1320578"/>
                </a:lnTo>
                <a:lnTo>
                  <a:pt x="771095" y="1311470"/>
                </a:lnTo>
                <a:lnTo>
                  <a:pt x="789310" y="1305399"/>
                </a:lnTo>
                <a:lnTo>
                  <a:pt x="798417" y="1317542"/>
                </a:lnTo>
                <a:lnTo>
                  <a:pt x="804489" y="1323614"/>
                </a:lnTo>
                <a:lnTo>
                  <a:pt x="810560" y="1320578"/>
                </a:lnTo>
                <a:lnTo>
                  <a:pt x="816632" y="1314506"/>
                </a:lnTo>
                <a:lnTo>
                  <a:pt x="819667" y="1296291"/>
                </a:lnTo>
                <a:lnTo>
                  <a:pt x="825739" y="1287184"/>
                </a:lnTo>
                <a:lnTo>
                  <a:pt x="834847" y="1296291"/>
                </a:lnTo>
                <a:lnTo>
                  <a:pt x="843955" y="1308435"/>
                </a:lnTo>
                <a:lnTo>
                  <a:pt x="846990" y="1317542"/>
                </a:lnTo>
                <a:lnTo>
                  <a:pt x="850026" y="1323614"/>
                </a:lnTo>
                <a:lnTo>
                  <a:pt x="850026" y="1326649"/>
                </a:lnTo>
                <a:lnTo>
                  <a:pt x="856098" y="1341828"/>
                </a:lnTo>
                <a:lnTo>
                  <a:pt x="865204" y="1357007"/>
                </a:lnTo>
                <a:lnTo>
                  <a:pt x="877348" y="1363079"/>
                </a:lnTo>
                <a:lnTo>
                  <a:pt x="883420" y="1353972"/>
                </a:lnTo>
                <a:lnTo>
                  <a:pt x="877348" y="1353972"/>
                </a:lnTo>
                <a:lnTo>
                  <a:pt x="880384" y="1335757"/>
                </a:lnTo>
                <a:lnTo>
                  <a:pt x="883420" y="1320578"/>
                </a:lnTo>
                <a:lnTo>
                  <a:pt x="895563" y="1311470"/>
                </a:lnTo>
                <a:lnTo>
                  <a:pt x="901635" y="1320578"/>
                </a:lnTo>
                <a:lnTo>
                  <a:pt x="904670" y="1338793"/>
                </a:lnTo>
                <a:lnTo>
                  <a:pt x="901635" y="1344865"/>
                </a:lnTo>
                <a:lnTo>
                  <a:pt x="895563" y="1357007"/>
                </a:lnTo>
                <a:lnTo>
                  <a:pt x="907706" y="1360044"/>
                </a:lnTo>
                <a:lnTo>
                  <a:pt x="919849" y="1357007"/>
                </a:lnTo>
                <a:lnTo>
                  <a:pt x="925921" y="1347900"/>
                </a:lnTo>
                <a:lnTo>
                  <a:pt x="925921" y="1335757"/>
                </a:lnTo>
                <a:lnTo>
                  <a:pt x="931993" y="1332721"/>
                </a:lnTo>
                <a:lnTo>
                  <a:pt x="938065" y="1332721"/>
                </a:lnTo>
                <a:lnTo>
                  <a:pt x="962351" y="1335757"/>
                </a:lnTo>
                <a:lnTo>
                  <a:pt x="974494" y="1347900"/>
                </a:lnTo>
                <a:lnTo>
                  <a:pt x="986637" y="1357007"/>
                </a:lnTo>
                <a:lnTo>
                  <a:pt x="1004852" y="1363079"/>
                </a:lnTo>
                <a:lnTo>
                  <a:pt x="1016996" y="1366115"/>
                </a:lnTo>
                <a:lnTo>
                  <a:pt x="1023067" y="1375223"/>
                </a:lnTo>
                <a:lnTo>
                  <a:pt x="1044318" y="1384330"/>
                </a:lnTo>
                <a:lnTo>
                  <a:pt x="1056461" y="1387366"/>
                </a:lnTo>
                <a:lnTo>
                  <a:pt x="1065569" y="1384330"/>
                </a:lnTo>
                <a:lnTo>
                  <a:pt x="1074676" y="1381294"/>
                </a:lnTo>
                <a:lnTo>
                  <a:pt x="1089855" y="1387366"/>
                </a:lnTo>
                <a:lnTo>
                  <a:pt x="1114141" y="1411652"/>
                </a:lnTo>
                <a:lnTo>
                  <a:pt x="1114141" y="1423796"/>
                </a:lnTo>
                <a:lnTo>
                  <a:pt x="1108070" y="1423796"/>
                </a:lnTo>
                <a:lnTo>
                  <a:pt x="1095926" y="1420760"/>
                </a:lnTo>
                <a:lnTo>
                  <a:pt x="1083783" y="1438975"/>
                </a:lnTo>
                <a:lnTo>
                  <a:pt x="1080747" y="1442010"/>
                </a:lnTo>
                <a:lnTo>
                  <a:pt x="1089855" y="1445046"/>
                </a:lnTo>
                <a:lnTo>
                  <a:pt x="1101998" y="1448082"/>
                </a:lnTo>
                <a:lnTo>
                  <a:pt x="1108070" y="1451117"/>
                </a:lnTo>
                <a:lnTo>
                  <a:pt x="1114141" y="1454154"/>
                </a:lnTo>
                <a:lnTo>
                  <a:pt x="1141464" y="1454154"/>
                </a:lnTo>
                <a:lnTo>
                  <a:pt x="1150572" y="1451117"/>
                </a:lnTo>
                <a:lnTo>
                  <a:pt x="1165750" y="1451117"/>
                </a:lnTo>
                <a:lnTo>
                  <a:pt x="1177894" y="1445046"/>
                </a:lnTo>
                <a:lnTo>
                  <a:pt x="1190036" y="1438975"/>
                </a:lnTo>
                <a:lnTo>
                  <a:pt x="1196108" y="1438975"/>
                </a:lnTo>
                <a:lnTo>
                  <a:pt x="1199144" y="1445046"/>
                </a:lnTo>
                <a:lnTo>
                  <a:pt x="1205215" y="1448082"/>
                </a:lnTo>
                <a:lnTo>
                  <a:pt x="1214323" y="1454154"/>
                </a:lnTo>
                <a:lnTo>
                  <a:pt x="1226466" y="1463261"/>
                </a:lnTo>
                <a:lnTo>
                  <a:pt x="1235574" y="1475405"/>
                </a:lnTo>
                <a:lnTo>
                  <a:pt x="1238609" y="1481475"/>
                </a:lnTo>
                <a:lnTo>
                  <a:pt x="1244681" y="1496655"/>
                </a:lnTo>
                <a:lnTo>
                  <a:pt x="1253789" y="1499691"/>
                </a:lnTo>
                <a:lnTo>
                  <a:pt x="1250753" y="1484512"/>
                </a:lnTo>
                <a:lnTo>
                  <a:pt x="1247717" y="1481475"/>
                </a:lnTo>
                <a:lnTo>
                  <a:pt x="1238609" y="1454154"/>
                </a:lnTo>
                <a:lnTo>
                  <a:pt x="1232538" y="1429867"/>
                </a:lnTo>
                <a:lnTo>
                  <a:pt x="1226466" y="1423796"/>
                </a:lnTo>
                <a:lnTo>
                  <a:pt x="1220395" y="1420760"/>
                </a:lnTo>
                <a:lnTo>
                  <a:pt x="1229502" y="1402545"/>
                </a:lnTo>
                <a:lnTo>
                  <a:pt x="1241645" y="1399509"/>
                </a:lnTo>
                <a:lnTo>
                  <a:pt x="1265932" y="1390402"/>
                </a:lnTo>
                <a:lnTo>
                  <a:pt x="1275039" y="1384330"/>
                </a:lnTo>
                <a:lnTo>
                  <a:pt x="1287183" y="1393437"/>
                </a:lnTo>
                <a:lnTo>
                  <a:pt x="1290218" y="1405581"/>
                </a:lnTo>
                <a:lnTo>
                  <a:pt x="1293254" y="1414688"/>
                </a:lnTo>
                <a:lnTo>
                  <a:pt x="1293254" y="1417724"/>
                </a:lnTo>
                <a:lnTo>
                  <a:pt x="1296290" y="1420760"/>
                </a:lnTo>
                <a:lnTo>
                  <a:pt x="1299325" y="1423796"/>
                </a:lnTo>
                <a:lnTo>
                  <a:pt x="1299325" y="1420760"/>
                </a:lnTo>
                <a:lnTo>
                  <a:pt x="1308433" y="1423796"/>
                </a:lnTo>
                <a:lnTo>
                  <a:pt x="1308433" y="1426831"/>
                </a:lnTo>
                <a:lnTo>
                  <a:pt x="1308433" y="1432903"/>
                </a:lnTo>
                <a:lnTo>
                  <a:pt x="1320576" y="1435938"/>
                </a:lnTo>
                <a:lnTo>
                  <a:pt x="1357006" y="1454154"/>
                </a:lnTo>
                <a:lnTo>
                  <a:pt x="1366114" y="1454154"/>
                </a:lnTo>
                <a:lnTo>
                  <a:pt x="1372185" y="1454154"/>
                </a:lnTo>
                <a:lnTo>
                  <a:pt x="1384329" y="1451117"/>
                </a:lnTo>
                <a:lnTo>
                  <a:pt x="1390400" y="1448082"/>
                </a:lnTo>
                <a:lnTo>
                  <a:pt x="1393435" y="1445046"/>
                </a:lnTo>
                <a:lnTo>
                  <a:pt x="1405579" y="1445046"/>
                </a:lnTo>
                <a:lnTo>
                  <a:pt x="1414686" y="1448082"/>
                </a:lnTo>
                <a:lnTo>
                  <a:pt x="1423794" y="1451117"/>
                </a:lnTo>
                <a:lnTo>
                  <a:pt x="1435937" y="1448082"/>
                </a:lnTo>
                <a:lnTo>
                  <a:pt x="1426829" y="1435938"/>
                </a:lnTo>
                <a:lnTo>
                  <a:pt x="1429865" y="1414688"/>
                </a:lnTo>
                <a:lnTo>
                  <a:pt x="1448080" y="1405581"/>
                </a:lnTo>
                <a:lnTo>
                  <a:pt x="1460224" y="1411652"/>
                </a:lnTo>
                <a:lnTo>
                  <a:pt x="1463260" y="1420760"/>
                </a:lnTo>
                <a:lnTo>
                  <a:pt x="1466296" y="1420760"/>
                </a:lnTo>
                <a:lnTo>
                  <a:pt x="1478438" y="1420760"/>
                </a:lnTo>
                <a:lnTo>
                  <a:pt x="1487546" y="1420760"/>
                </a:lnTo>
                <a:lnTo>
                  <a:pt x="1484510" y="1423796"/>
                </a:lnTo>
                <a:lnTo>
                  <a:pt x="1484510" y="1435938"/>
                </a:lnTo>
                <a:lnTo>
                  <a:pt x="1478438" y="1454154"/>
                </a:lnTo>
                <a:lnTo>
                  <a:pt x="1478438" y="1466296"/>
                </a:lnTo>
                <a:lnTo>
                  <a:pt x="1484510" y="1478440"/>
                </a:lnTo>
                <a:lnTo>
                  <a:pt x="1493617" y="1469333"/>
                </a:lnTo>
                <a:lnTo>
                  <a:pt x="1499689" y="1484512"/>
                </a:lnTo>
                <a:lnTo>
                  <a:pt x="1496654" y="1448082"/>
                </a:lnTo>
                <a:lnTo>
                  <a:pt x="1505761" y="1432903"/>
                </a:lnTo>
                <a:lnTo>
                  <a:pt x="1514868" y="1429867"/>
                </a:lnTo>
                <a:lnTo>
                  <a:pt x="1520940" y="1423796"/>
                </a:lnTo>
                <a:lnTo>
                  <a:pt x="1536119" y="1405581"/>
                </a:lnTo>
                <a:lnTo>
                  <a:pt x="1533083" y="1393437"/>
                </a:lnTo>
                <a:lnTo>
                  <a:pt x="1520940" y="1393437"/>
                </a:lnTo>
                <a:lnTo>
                  <a:pt x="1517904" y="1396473"/>
                </a:lnTo>
                <a:lnTo>
                  <a:pt x="1514868" y="1390402"/>
                </a:lnTo>
                <a:lnTo>
                  <a:pt x="1514868" y="1381294"/>
                </a:lnTo>
                <a:lnTo>
                  <a:pt x="1517904" y="1381294"/>
                </a:lnTo>
                <a:lnTo>
                  <a:pt x="1523976" y="1378258"/>
                </a:lnTo>
                <a:lnTo>
                  <a:pt x="1527011" y="1372186"/>
                </a:lnTo>
                <a:lnTo>
                  <a:pt x="1539154" y="1360044"/>
                </a:lnTo>
                <a:lnTo>
                  <a:pt x="1530047" y="1350936"/>
                </a:lnTo>
                <a:lnTo>
                  <a:pt x="1527011" y="1353972"/>
                </a:lnTo>
                <a:lnTo>
                  <a:pt x="1517904" y="1347900"/>
                </a:lnTo>
                <a:lnTo>
                  <a:pt x="1505761" y="1344865"/>
                </a:lnTo>
                <a:lnTo>
                  <a:pt x="1493617" y="1335757"/>
                </a:lnTo>
                <a:lnTo>
                  <a:pt x="1481475" y="1323614"/>
                </a:lnTo>
                <a:lnTo>
                  <a:pt x="1472366" y="1308435"/>
                </a:lnTo>
                <a:lnTo>
                  <a:pt x="1478438" y="1287184"/>
                </a:lnTo>
                <a:lnTo>
                  <a:pt x="1472366" y="1275041"/>
                </a:lnTo>
                <a:lnTo>
                  <a:pt x="1472366" y="1265934"/>
                </a:lnTo>
                <a:lnTo>
                  <a:pt x="1475403" y="1253790"/>
                </a:lnTo>
                <a:lnTo>
                  <a:pt x="1472366" y="1250755"/>
                </a:lnTo>
                <a:lnTo>
                  <a:pt x="1478438" y="1238611"/>
                </a:lnTo>
                <a:lnTo>
                  <a:pt x="1493617" y="1214325"/>
                </a:lnTo>
                <a:close/>
                <a:moveTo>
                  <a:pt x="6344843" y="1183206"/>
                </a:moveTo>
                <a:lnTo>
                  <a:pt x="6346361" y="1183965"/>
                </a:lnTo>
                <a:lnTo>
                  <a:pt x="6343325" y="1183965"/>
                </a:lnTo>
                <a:close/>
                <a:moveTo>
                  <a:pt x="6094389" y="1153608"/>
                </a:moveTo>
                <a:lnTo>
                  <a:pt x="6106531" y="1153608"/>
                </a:lnTo>
                <a:lnTo>
                  <a:pt x="6118675" y="1156644"/>
                </a:lnTo>
                <a:lnTo>
                  <a:pt x="6133854" y="1162716"/>
                </a:lnTo>
                <a:lnTo>
                  <a:pt x="6136889" y="1171823"/>
                </a:lnTo>
                <a:lnTo>
                  <a:pt x="6136889" y="1187002"/>
                </a:lnTo>
                <a:lnTo>
                  <a:pt x="6124747" y="1190038"/>
                </a:lnTo>
                <a:lnTo>
                  <a:pt x="6115639" y="1183966"/>
                </a:lnTo>
                <a:lnTo>
                  <a:pt x="6097424" y="1165752"/>
                </a:lnTo>
                <a:lnTo>
                  <a:pt x="6079209" y="1165752"/>
                </a:lnTo>
                <a:lnTo>
                  <a:pt x="6079209" y="1159680"/>
                </a:lnTo>
                <a:lnTo>
                  <a:pt x="6085281" y="1159680"/>
                </a:lnTo>
                <a:close/>
                <a:moveTo>
                  <a:pt x="5065250" y="1147535"/>
                </a:moveTo>
                <a:lnTo>
                  <a:pt x="5074357" y="1150572"/>
                </a:lnTo>
                <a:lnTo>
                  <a:pt x="5083464" y="1156643"/>
                </a:lnTo>
                <a:lnTo>
                  <a:pt x="5077393" y="1165751"/>
                </a:lnTo>
                <a:lnTo>
                  <a:pt x="5068285" y="1171822"/>
                </a:lnTo>
                <a:lnTo>
                  <a:pt x="5053106" y="1168786"/>
                </a:lnTo>
                <a:close/>
                <a:moveTo>
                  <a:pt x="2962951" y="1135393"/>
                </a:moveTo>
                <a:lnTo>
                  <a:pt x="2965987" y="1135393"/>
                </a:lnTo>
                <a:lnTo>
                  <a:pt x="2978130" y="1138428"/>
                </a:lnTo>
                <a:lnTo>
                  <a:pt x="2990274" y="1138428"/>
                </a:lnTo>
                <a:lnTo>
                  <a:pt x="3002417" y="1153607"/>
                </a:lnTo>
                <a:lnTo>
                  <a:pt x="3014560" y="1162716"/>
                </a:lnTo>
                <a:lnTo>
                  <a:pt x="3011524" y="1168786"/>
                </a:lnTo>
                <a:lnTo>
                  <a:pt x="3008488" y="1183965"/>
                </a:lnTo>
                <a:lnTo>
                  <a:pt x="2999381" y="1183965"/>
                </a:lnTo>
                <a:lnTo>
                  <a:pt x="2987238" y="1174858"/>
                </a:lnTo>
                <a:lnTo>
                  <a:pt x="2972059" y="1162716"/>
                </a:lnTo>
                <a:lnTo>
                  <a:pt x="2962951" y="1150572"/>
                </a:lnTo>
                <a:close/>
                <a:moveTo>
                  <a:pt x="5101679" y="1120214"/>
                </a:moveTo>
                <a:lnTo>
                  <a:pt x="5107751" y="1132356"/>
                </a:lnTo>
                <a:lnTo>
                  <a:pt x="5107751" y="1144500"/>
                </a:lnTo>
                <a:lnTo>
                  <a:pt x="5101679" y="1147535"/>
                </a:lnTo>
                <a:lnTo>
                  <a:pt x="5092572" y="1144500"/>
                </a:lnTo>
                <a:lnTo>
                  <a:pt x="5086500" y="1138428"/>
                </a:lnTo>
                <a:lnTo>
                  <a:pt x="5089536" y="1132356"/>
                </a:lnTo>
                <a:close/>
                <a:moveTo>
                  <a:pt x="5004533" y="1117177"/>
                </a:moveTo>
                <a:lnTo>
                  <a:pt x="5010605" y="1120214"/>
                </a:lnTo>
                <a:lnTo>
                  <a:pt x="5013641" y="1123249"/>
                </a:lnTo>
                <a:lnTo>
                  <a:pt x="5004533" y="1135393"/>
                </a:lnTo>
                <a:lnTo>
                  <a:pt x="4995426" y="1123249"/>
                </a:lnTo>
                <a:close/>
                <a:moveTo>
                  <a:pt x="1469332" y="1114143"/>
                </a:moveTo>
                <a:lnTo>
                  <a:pt x="1472368" y="1129322"/>
                </a:lnTo>
                <a:lnTo>
                  <a:pt x="1463260" y="1129322"/>
                </a:lnTo>
                <a:close/>
                <a:moveTo>
                  <a:pt x="1101999" y="1098964"/>
                </a:moveTo>
                <a:lnTo>
                  <a:pt x="1114142" y="1117178"/>
                </a:lnTo>
                <a:lnTo>
                  <a:pt x="1132357" y="1126287"/>
                </a:lnTo>
                <a:lnTo>
                  <a:pt x="1138429" y="1126287"/>
                </a:lnTo>
                <a:lnTo>
                  <a:pt x="1147536" y="1129322"/>
                </a:lnTo>
                <a:lnTo>
                  <a:pt x="1162716" y="1138429"/>
                </a:lnTo>
                <a:lnTo>
                  <a:pt x="1168787" y="1144501"/>
                </a:lnTo>
                <a:lnTo>
                  <a:pt x="1171823" y="1165752"/>
                </a:lnTo>
                <a:lnTo>
                  <a:pt x="1177894" y="1162716"/>
                </a:lnTo>
                <a:lnTo>
                  <a:pt x="1187002" y="1156645"/>
                </a:lnTo>
                <a:lnTo>
                  <a:pt x="1193073" y="1159680"/>
                </a:lnTo>
                <a:lnTo>
                  <a:pt x="1199145" y="1165752"/>
                </a:lnTo>
                <a:lnTo>
                  <a:pt x="1199145" y="1162716"/>
                </a:lnTo>
                <a:lnTo>
                  <a:pt x="1196109" y="1144501"/>
                </a:lnTo>
                <a:lnTo>
                  <a:pt x="1183965" y="1135394"/>
                </a:lnTo>
                <a:lnTo>
                  <a:pt x="1180930" y="1126287"/>
                </a:lnTo>
                <a:lnTo>
                  <a:pt x="1183965" y="1126287"/>
                </a:lnTo>
                <a:lnTo>
                  <a:pt x="1196109" y="1129322"/>
                </a:lnTo>
                <a:lnTo>
                  <a:pt x="1223431" y="1159680"/>
                </a:lnTo>
                <a:lnTo>
                  <a:pt x="1229503" y="1187002"/>
                </a:lnTo>
                <a:lnTo>
                  <a:pt x="1232538" y="1208253"/>
                </a:lnTo>
                <a:lnTo>
                  <a:pt x="1235575" y="1217360"/>
                </a:lnTo>
                <a:lnTo>
                  <a:pt x="1241646" y="1220396"/>
                </a:lnTo>
                <a:lnTo>
                  <a:pt x="1244682" y="1211289"/>
                </a:lnTo>
                <a:lnTo>
                  <a:pt x="1244682" y="1193074"/>
                </a:lnTo>
                <a:lnTo>
                  <a:pt x="1241646" y="1168787"/>
                </a:lnTo>
                <a:lnTo>
                  <a:pt x="1232538" y="1132357"/>
                </a:lnTo>
                <a:lnTo>
                  <a:pt x="1235575" y="1105036"/>
                </a:lnTo>
                <a:lnTo>
                  <a:pt x="1244682" y="1101999"/>
                </a:lnTo>
                <a:lnTo>
                  <a:pt x="1259861" y="1105036"/>
                </a:lnTo>
                <a:lnTo>
                  <a:pt x="1265933" y="1108071"/>
                </a:lnTo>
                <a:lnTo>
                  <a:pt x="1281112" y="1123250"/>
                </a:lnTo>
                <a:lnTo>
                  <a:pt x="1287184" y="1135394"/>
                </a:lnTo>
                <a:lnTo>
                  <a:pt x="1293255" y="1159680"/>
                </a:lnTo>
                <a:lnTo>
                  <a:pt x="1302362" y="1187002"/>
                </a:lnTo>
                <a:lnTo>
                  <a:pt x="1308434" y="1208253"/>
                </a:lnTo>
                <a:lnTo>
                  <a:pt x="1314505" y="1232539"/>
                </a:lnTo>
                <a:lnTo>
                  <a:pt x="1308434" y="1250755"/>
                </a:lnTo>
                <a:lnTo>
                  <a:pt x="1317542" y="1268969"/>
                </a:lnTo>
                <a:lnTo>
                  <a:pt x="1329685" y="1284148"/>
                </a:lnTo>
                <a:lnTo>
                  <a:pt x="1335756" y="1287184"/>
                </a:lnTo>
                <a:lnTo>
                  <a:pt x="1341828" y="1287184"/>
                </a:lnTo>
                <a:lnTo>
                  <a:pt x="1353971" y="1296291"/>
                </a:lnTo>
                <a:lnTo>
                  <a:pt x="1369151" y="1308435"/>
                </a:lnTo>
                <a:lnTo>
                  <a:pt x="1381294" y="1308435"/>
                </a:lnTo>
                <a:lnTo>
                  <a:pt x="1384329" y="1332721"/>
                </a:lnTo>
                <a:lnTo>
                  <a:pt x="1375222" y="1341828"/>
                </a:lnTo>
                <a:lnTo>
                  <a:pt x="1366115" y="1338793"/>
                </a:lnTo>
                <a:lnTo>
                  <a:pt x="1353971" y="1338793"/>
                </a:lnTo>
                <a:lnTo>
                  <a:pt x="1344864" y="1344865"/>
                </a:lnTo>
                <a:lnTo>
                  <a:pt x="1341828" y="1347900"/>
                </a:lnTo>
                <a:lnTo>
                  <a:pt x="1341828" y="1360044"/>
                </a:lnTo>
                <a:lnTo>
                  <a:pt x="1353971" y="1350936"/>
                </a:lnTo>
                <a:lnTo>
                  <a:pt x="1363079" y="1357007"/>
                </a:lnTo>
                <a:lnTo>
                  <a:pt x="1363079" y="1381294"/>
                </a:lnTo>
                <a:lnTo>
                  <a:pt x="1350936" y="1387366"/>
                </a:lnTo>
                <a:lnTo>
                  <a:pt x="1326649" y="1390402"/>
                </a:lnTo>
                <a:lnTo>
                  <a:pt x="1296291" y="1387366"/>
                </a:lnTo>
                <a:lnTo>
                  <a:pt x="1287184" y="1372186"/>
                </a:lnTo>
                <a:lnTo>
                  <a:pt x="1284147" y="1369151"/>
                </a:lnTo>
                <a:lnTo>
                  <a:pt x="1275040" y="1366115"/>
                </a:lnTo>
                <a:lnTo>
                  <a:pt x="1272005" y="1360044"/>
                </a:lnTo>
                <a:lnTo>
                  <a:pt x="1268968" y="1350936"/>
                </a:lnTo>
                <a:lnTo>
                  <a:pt x="1259861" y="1363079"/>
                </a:lnTo>
                <a:lnTo>
                  <a:pt x="1244682" y="1381294"/>
                </a:lnTo>
                <a:lnTo>
                  <a:pt x="1232538" y="1384330"/>
                </a:lnTo>
                <a:lnTo>
                  <a:pt x="1226467" y="1384330"/>
                </a:lnTo>
                <a:lnTo>
                  <a:pt x="1220396" y="1393437"/>
                </a:lnTo>
                <a:lnTo>
                  <a:pt x="1208252" y="1399509"/>
                </a:lnTo>
                <a:lnTo>
                  <a:pt x="1183965" y="1402545"/>
                </a:lnTo>
                <a:lnTo>
                  <a:pt x="1153608" y="1408616"/>
                </a:lnTo>
                <a:lnTo>
                  <a:pt x="1129321" y="1411652"/>
                </a:lnTo>
                <a:lnTo>
                  <a:pt x="1120214" y="1390402"/>
                </a:lnTo>
                <a:lnTo>
                  <a:pt x="1120214" y="1378258"/>
                </a:lnTo>
                <a:lnTo>
                  <a:pt x="1117178" y="1366115"/>
                </a:lnTo>
                <a:lnTo>
                  <a:pt x="1105035" y="1363079"/>
                </a:lnTo>
                <a:lnTo>
                  <a:pt x="1095927" y="1366115"/>
                </a:lnTo>
                <a:lnTo>
                  <a:pt x="1071641" y="1363079"/>
                </a:lnTo>
                <a:lnTo>
                  <a:pt x="1056462" y="1350936"/>
                </a:lnTo>
                <a:lnTo>
                  <a:pt x="1044319" y="1332721"/>
                </a:lnTo>
                <a:lnTo>
                  <a:pt x="1041283" y="1320578"/>
                </a:lnTo>
                <a:lnTo>
                  <a:pt x="1047355" y="1317542"/>
                </a:lnTo>
                <a:lnTo>
                  <a:pt x="1059497" y="1311470"/>
                </a:lnTo>
                <a:lnTo>
                  <a:pt x="1083784" y="1305399"/>
                </a:lnTo>
                <a:lnTo>
                  <a:pt x="1138429" y="1308435"/>
                </a:lnTo>
                <a:lnTo>
                  <a:pt x="1153608" y="1308435"/>
                </a:lnTo>
                <a:lnTo>
                  <a:pt x="1165751" y="1302363"/>
                </a:lnTo>
                <a:lnTo>
                  <a:pt x="1153608" y="1296291"/>
                </a:lnTo>
                <a:lnTo>
                  <a:pt x="1144500" y="1290220"/>
                </a:lnTo>
                <a:lnTo>
                  <a:pt x="1114142" y="1278076"/>
                </a:lnTo>
                <a:lnTo>
                  <a:pt x="1101999" y="1284148"/>
                </a:lnTo>
                <a:lnTo>
                  <a:pt x="1089856" y="1284148"/>
                </a:lnTo>
                <a:lnTo>
                  <a:pt x="1059497" y="1284148"/>
                </a:lnTo>
                <a:lnTo>
                  <a:pt x="1047355" y="1284148"/>
                </a:lnTo>
                <a:lnTo>
                  <a:pt x="1041283" y="1284148"/>
                </a:lnTo>
                <a:lnTo>
                  <a:pt x="1032176" y="1275041"/>
                </a:lnTo>
                <a:lnTo>
                  <a:pt x="1023068" y="1262897"/>
                </a:lnTo>
                <a:lnTo>
                  <a:pt x="1013960" y="1223432"/>
                </a:lnTo>
                <a:lnTo>
                  <a:pt x="1007889" y="1208253"/>
                </a:lnTo>
                <a:lnTo>
                  <a:pt x="1010925" y="1196110"/>
                </a:lnTo>
                <a:lnTo>
                  <a:pt x="1016997" y="1174859"/>
                </a:lnTo>
                <a:lnTo>
                  <a:pt x="1023068" y="1156645"/>
                </a:lnTo>
                <a:lnTo>
                  <a:pt x="1038248" y="1141466"/>
                </a:lnTo>
                <a:lnTo>
                  <a:pt x="1092892" y="1101999"/>
                </a:lnTo>
                <a:close/>
                <a:moveTo>
                  <a:pt x="4597735" y="1098963"/>
                </a:moveTo>
                <a:lnTo>
                  <a:pt x="4606843" y="1105035"/>
                </a:lnTo>
                <a:lnTo>
                  <a:pt x="4625057" y="1111106"/>
                </a:lnTo>
                <a:lnTo>
                  <a:pt x="4631129" y="1123250"/>
                </a:lnTo>
                <a:lnTo>
                  <a:pt x="4622022" y="1132357"/>
                </a:lnTo>
                <a:lnTo>
                  <a:pt x="4618985" y="1144500"/>
                </a:lnTo>
                <a:lnTo>
                  <a:pt x="4612914" y="1165751"/>
                </a:lnTo>
                <a:lnTo>
                  <a:pt x="4609878" y="1180930"/>
                </a:lnTo>
                <a:lnTo>
                  <a:pt x="4606843" y="1196109"/>
                </a:lnTo>
                <a:lnTo>
                  <a:pt x="4615950" y="1229503"/>
                </a:lnTo>
                <a:lnTo>
                  <a:pt x="4628094" y="1253789"/>
                </a:lnTo>
                <a:lnTo>
                  <a:pt x="4640236" y="1268968"/>
                </a:lnTo>
                <a:lnTo>
                  <a:pt x="4655415" y="1281112"/>
                </a:lnTo>
                <a:lnTo>
                  <a:pt x="4646308" y="1290219"/>
                </a:lnTo>
                <a:lnTo>
                  <a:pt x="4637201" y="1287184"/>
                </a:lnTo>
                <a:lnTo>
                  <a:pt x="4628094" y="1284147"/>
                </a:lnTo>
                <a:lnTo>
                  <a:pt x="4622022" y="1287184"/>
                </a:lnTo>
                <a:lnTo>
                  <a:pt x="4612914" y="1287184"/>
                </a:lnTo>
                <a:lnTo>
                  <a:pt x="4606843" y="1287184"/>
                </a:lnTo>
                <a:lnTo>
                  <a:pt x="4606843" y="1290219"/>
                </a:lnTo>
                <a:lnTo>
                  <a:pt x="4603806" y="1290219"/>
                </a:lnTo>
                <a:lnTo>
                  <a:pt x="4600771" y="1290219"/>
                </a:lnTo>
                <a:lnTo>
                  <a:pt x="4591664" y="1275040"/>
                </a:lnTo>
                <a:lnTo>
                  <a:pt x="4579520" y="1278075"/>
                </a:lnTo>
                <a:lnTo>
                  <a:pt x="4567377" y="1272005"/>
                </a:lnTo>
                <a:lnTo>
                  <a:pt x="4573449" y="1268968"/>
                </a:lnTo>
                <a:lnTo>
                  <a:pt x="4570413" y="1256826"/>
                </a:lnTo>
                <a:lnTo>
                  <a:pt x="4558270" y="1241646"/>
                </a:lnTo>
                <a:lnTo>
                  <a:pt x="4555234" y="1235575"/>
                </a:lnTo>
                <a:lnTo>
                  <a:pt x="4552198" y="1232539"/>
                </a:lnTo>
                <a:lnTo>
                  <a:pt x="4549162" y="1226467"/>
                </a:lnTo>
                <a:lnTo>
                  <a:pt x="4540054" y="1232539"/>
                </a:lnTo>
                <a:lnTo>
                  <a:pt x="4530947" y="1229503"/>
                </a:lnTo>
                <a:lnTo>
                  <a:pt x="4524875" y="1211288"/>
                </a:lnTo>
                <a:lnTo>
                  <a:pt x="4537019" y="1187002"/>
                </a:lnTo>
                <a:lnTo>
                  <a:pt x="4543091" y="1190037"/>
                </a:lnTo>
                <a:lnTo>
                  <a:pt x="4546126" y="1190037"/>
                </a:lnTo>
                <a:lnTo>
                  <a:pt x="4549162" y="1177895"/>
                </a:lnTo>
                <a:lnTo>
                  <a:pt x="4552198" y="1165751"/>
                </a:lnTo>
                <a:lnTo>
                  <a:pt x="4546126" y="1153607"/>
                </a:lnTo>
                <a:lnTo>
                  <a:pt x="4546126" y="1144500"/>
                </a:lnTo>
                <a:lnTo>
                  <a:pt x="4555234" y="1138428"/>
                </a:lnTo>
                <a:lnTo>
                  <a:pt x="4561305" y="1132357"/>
                </a:lnTo>
                <a:lnTo>
                  <a:pt x="4561305" y="1120214"/>
                </a:lnTo>
                <a:lnTo>
                  <a:pt x="4570413" y="1111106"/>
                </a:lnTo>
                <a:close/>
                <a:moveTo>
                  <a:pt x="2947772" y="1095927"/>
                </a:moveTo>
                <a:lnTo>
                  <a:pt x="2962951" y="1095927"/>
                </a:lnTo>
                <a:lnTo>
                  <a:pt x="2984202" y="1108071"/>
                </a:lnTo>
                <a:lnTo>
                  <a:pt x="2990274" y="1111106"/>
                </a:lnTo>
                <a:lnTo>
                  <a:pt x="2990274" y="1120214"/>
                </a:lnTo>
                <a:lnTo>
                  <a:pt x="2978130" y="1123250"/>
                </a:lnTo>
                <a:lnTo>
                  <a:pt x="2956880" y="1120214"/>
                </a:lnTo>
                <a:lnTo>
                  <a:pt x="2935629" y="1114142"/>
                </a:lnTo>
                <a:lnTo>
                  <a:pt x="2941701" y="1101999"/>
                </a:lnTo>
                <a:close/>
                <a:moveTo>
                  <a:pt x="4919531" y="1089855"/>
                </a:moveTo>
                <a:lnTo>
                  <a:pt x="4931674" y="1089855"/>
                </a:lnTo>
                <a:lnTo>
                  <a:pt x="4943817" y="1105035"/>
                </a:lnTo>
                <a:lnTo>
                  <a:pt x="4940782" y="1114142"/>
                </a:lnTo>
                <a:lnTo>
                  <a:pt x="4925603" y="1120214"/>
                </a:lnTo>
                <a:lnTo>
                  <a:pt x="4907387" y="1123249"/>
                </a:lnTo>
                <a:lnTo>
                  <a:pt x="4910423" y="1095927"/>
                </a:lnTo>
                <a:close/>
                <a:moveTo>
                  <a:pt x="6088317" y="1077713"/>
                </a:moveTo>
                <a:lnTo>
                  <a:pt x="6112603" y="1089856"/>
                </a:lnTo>
                <a:lnTo>
                  <a:pt x="6127782" y="1105036"/>
                </a:lnTo>
                <a:lnTo>
                  <a:pt x="6124747" y="1117178"/>
                </a:lnTo>
                <a:lnTo>
                  <a:pt x="6097424" y="1135394"/>
                </a:lnTo>
                <a:lnTo>
                  <a:pt x="6085281" y="1144501"/>
                </a:lnTo>
                <a:lnTo>
                  <a:pt x="6076174" y="1156644"/>
                </a:lnTo>
                <a:lnTo>
                  <a:pt x="6070102" y="1150573"/>
                </a:lnTo>
                <a:lnTo>
                  <a:pt x="6073137" y="1114143"/>
                </a:lnTo>
                <a:lnTo>
                  <a:pt x="6076174" y="1092892"/>
                </a:lnTo>
                <a:lnTo>
                  <a:pt x="6079209" y="1083785"/>
                </a:lnTo>
                <a:close/>
                <a:moveTo>
                  <a:pt x="1800234" y="1071642"/>
                </a:moveTo>
                <a:lnTo>
                  <a:pt x="1824522" y="1080749"/>
                </a:lnTo>
                <a:lnTo>
                  <a:pt x="1845772" y="1077713"/>
                </a:lnTo>
                <a:lnTo>
                  <a:pt x="1873095" y="1089856"/>
                </a:lnTo>
                <a:lnTo>
                  <a:pt x="1894345" y="1129322"/>
                </a:lnTo>
                <a:lnTo>
                  <a:pt x="1888274" y="1138429"/>
                </a:lnTo>
                <a:lnTo>
                  <a:pt x="1876130" y="1138429"/>
                </a:lnTo>
                <a:lnTo>
                  <a:pt x="1863987" y="1132357"/>
                </a:lnTo>
                <a:lnTo>
                  <a:pt x="1851844" y="1132357"/>
                </a:lnTo>
                <a:lnTo>
                  <a:pt x="1827557" y="1144501"/>
                </a:lnTo>
                <a:lnTo>
                  <a:pt x="1806306" y="1117178"/>
                </a:lnTo>
                <a:lnTo>
                  <a:pt x="1797199" y="1101999"/>
                </a:lnTo>
                <a:lnTo>
                  <a:pt x="1797199" y="1083785"/>
                </a:lnTo>
                <a:close/>
                <a:moveTo>
                  <a:pt x="1287184" y="1071642"/>
                </a:moveTo>
                <a:lnTo>
                  <a:pt x="1299326" y="1074677"/>
                </a:lnTo>
                <a:lnTo>
                  <a:pt x="1311470" y="1086820"/>
                </a:lnTo>
                <a:lnTo>
                  <a:pt x="1296291" y="1129322"/>
                </a:lnTo>
                <a:lnTo>
                  <a:pt x="1287184" y="1126287"/>
                </a:lnTo>
                <a:lnTo>
                  <a:pt x="1268968" y="1098964"/>
                </a:lnTo>
                <a:lnTo>
                  <a:pt x="1256826" y="1092892"/>
                </a:lnTo>
                <a:lnTo>
                  <a:pt x="1268968" y="1074677"/>
                </a:lnTo>
                <a:close/>
                <a:moveTo>
                  <a:pt x="1700054" y="1065570"/>
                </a:moveTo>
                <a:lnTo>
                  <a:pt x="1715233" y="1071642"/>
                </a:lnTo>
                <a:lnTo>
                  <a:pt x="1706124" y="1086820"/>
                </a:lnTo>
                <a:lnTo>
                  <a:pt x="1693982" y="1098964"/>
                </a:lnTo>
                <a:lnTo>
                  <a:pt x="1681839" y="1126287"/>
                </a:lnTo>
                <a:lnTo>
                  <a:pt x="1675767" y="1150573"/>
                </a:lnTo>
                <a:lnTo>
                  <a:pt x="1681839" y="1177895"/>
                </a:lnTo>
                <a:lnTo>
                  <a:pt x="1681839" y="1193074"/>
                </a:lnTo>
                <a:lnTo>
                  <a:pt x="1693982" y="1214325"/>
                </a:lnTo>
                <a:lnTo>
                  <a:pt x="1706124" y="1229504"/>
                </a:lnTo>
                <a:lnTo>
                  <a:pt x="1709161" y="1232539"/>
                </a:lnTo>
                <a:lnTo>
                  <a:pt x="1706124" y="1244683"/>
                </a:lnTo>
                <a:lnTo>
                  <a:pt x="1712196" y="1247718"/>
                </a:lnTo>
                <a:lnTo>
                  <a:pt x="1721304" y="1232539"/>
                </a:lnTo>
                <a:lnTo>
                  <a:pt x="1721304" y="1223432"/>
                </a:lnTo>
                <a:lnTo>
                  <a:pt x="1718268" y="1217360"/>
                </a:lnTo>
                <a:lnTo>
                  <a:pt x="1712196" y="1217360"/>
                </a:lnTo>
                <a:lnTo>
                  <a:pt x="1706124" y="1214325"/>
                </a:lnTo>
                <a:lnTo>
                  <a:pt x="1703089" y="1190038"/>
                </a:lnTo>
                <a:lnTo>
                  <a:pt x="1703089" y="1177895"/>
                </a:lnTo>
                <a:lnTo>
                  <a:pt x="1712196" y="1177895"/>
                </a:lnTo>
                <a:lnTo>
                  <a:pt x="1706124" y="1168787"/>
                </a:lnTo>
                <a:lnTo>
                  <a:pt x="1700054" y="1162716"/>
                </a:lnTo>
                <a:lnTo>
                  <a:pt x="1700054" y="1132357"/>
                </a:lnTo>
                <a:lnTo>
                  <a:pt x="1703089" y="1129322"/>
                </a:lnTo>
                <a:lnTo>
                  <a:pt x="1706124" y="1123250"/>
                </a:lnTo>
                <a:lnTo>
                  <a:pt x="1712196" y="1098964"/>
                </a:lnTo>
                <a:lnTo>
                  <a:pt x="1742555" y="1083785"/>
                </a:lnTo>
                <a:lnTo>
                  <a:pt x="1754698" y="1074677"/>
                </a:lnTo>
                <a:lnTo>
                  <a:pt x="1766841" y="1074677"/>
                </a:lnTo>
                <a:lnTo>
                  <a:pt x="1782020" y="1074677"/>
                </a:lnTo>
                <a:lnTo>
                  <a:pt x="1788092" y="1086820"/>
                </a:lnTo>
                <a:lnTo>
                  <a:pt x="1791127" y="1098964"/>
                </a:lnTo>
                <a:lnTo>
                  <a:pt x="1794164" y="1105036"/>
                </a:lnTo>
                <a:lnTo>
                  <a:pt x="1800234" y="1117178"/>
                </a:lnTo>
                <a:lnTo>
                  <a:pt x="1806306" y="1141466"/>
                </a:lnTo>
                <a:lnTo>
                  <a:pt x="1806306" y="1162716"/>
                </a:lnTo>
                <a:lnTo>
                  <a:pt x="1803271" y="1190038"/>
                </a:lnTo>
                <a:lnTo>
                  <a:pt x="1809343" y="1190038"/>
                </a:lnTo>
                <a:lnTo>
                  <a:pt x="1815414" y="1180931"/>
                </a:lnTo>
                <a:lnTo>
                  <a:pt x="1812378" y="1171823"/>
                </a:lnTo>
                <a:lnTo>
                  <a:pt x="1818450" y="1162716"/>
                </a:lnTo>
                <a:lnTo>
                  <a:pt x="1827557" y="1168787"/>
                </a:lnTo>
                <a:lnTo>
                  <a:pt x="1842736" y="1168787"/>
                </a:lnTo>
                <a:lnTo>
                  <a:pt x="1845772" y="1159680"/>
                </a:lnTo>
                <a:lnTo>
                  <a:pt x="1851844" y="1150573"/>
                </a:lnTo>
                <a:lnTo>
                  <a:pt x="1903453" y="1156645"/>
                </a:lnTo>
                <a:lnTo>
                  <a:pt x="1912560" y="1159680"/>
                </a:lnTo>
                <a:lnTo>
                  <a:pt x="1918632" y="1171823"/>
                </a:lnTo>
                <a:lnTo>
                  <a:pt x="1918632" y="1187002"/>
                </a:lnTo>
                <a:lnTo>
                  <a:pt x="1933811" y="1190038"/>
                </a:lnTo>
                <a:lnTo>
                  <a:pt x="1936846" y="1196110"/>
                </a:lnTo>
                <a:lnTo>
                  <a:pt x="1942918" y="1211289"/>
                </a:lnTo>
                <a:lnTo>
                  <a:pt x="1948990" y="1229504"/>
                </a:lnTo>
                <a:lnTo>
                  <a:pt x="1952025" y="1238611"/>
                </a:lnTo>
                <a:lnTo>
                  <a:pt x="1961133" y="1238611"/>
                </a:lnTo>
                <a:lnTo>
                  <a:pt x="1967205" y="1223432"/>
                </a:lnTo>
                <a:lnTo>
                  <a:pt x="1973276" y="1220396"/>
                </a:lnTo>
                <a:lnTo>
                  <a:pt x="1988455" y="1226468"/>
                </a:lnTo>
                <a:lnTo>
                  <a:pt x="1997563" y="1241646"/>
                </a:lnTo>
                <a:lnTo>
                  <a:pt x="2003635" y="1253790"/>
                </a:lnTo>
                <a:lnTo>
                  <a:pt x="2006670" y="1253790"/>
                </a:lnTo>
                <a:lnTo>
                  <a:pt x="2012742" y="1272005"/>
                </a:lnTo>
                <a:lnTo>
                  <a:pt x="2024884" y="1265934"/>
                </a:lnTo>
                <a:lnTo>
                  <a:pt x="2037028" y="1275041"/>
                </a:lnTo>
                <a:lnTo>
                  <a:pt x="2049171" y="1284148"/>
                </a:lnTo>
                <a:lnTo>
                  <a:pt x="2052207" y="1296291"/>
                </a:lnTo>
                <a:lnTo>
                  <a:pt x="2049171" y="1308435"/>
                </a:lnTo>
                <a:lnTo>
                  <a:pt x="2055243" y="1314506"/>
                </a:lnTo>
                <a:lnTo>
                  <a:pt x="2061314" y="1302363"/>
                </a:lnTo>
                <a:lnTo>
                  <a:pt x="2070422" y="1308435"/>
                </a:lnTo>
                <a:lnTo>
                  <a:pt x="2082565" y="1338793"/>
                </a:lnTo>
                <a:lnTo>
                  <a:pt x="2067386" y="1335757"/>
                </a:lnTo>
                <a:lnTo>
                  <a:pt x="2058279" y="1341828"/>
                </a:lnTo>
                <a:lnTo>
                  <a:pt x="2076494" y="1353972"/>
                </a:lnTo>
                <a:lnTo>
                  <a:pt x="2091673" y="1369151"/>
                </a:lnTo>
                <a:lnTo>
                  <a:pt x="2061314" y="1369151"/>
                </a:lnTo>
                <a:lnTo>
                  <a:pt x="2067386" y="1390402"/>
                </a:lnTo>
                <a:lnTo>
                  <a:pt x="2070422" y="1402545"/>
                </a:lnTo>
                <a:lnTo>
                  <a:pt x="2073458" y="1405581"/>
                </a:lnTo>
                <a:lnTo>
                  <a:pt x="2082565" y="1408616"/>
                </a:lnTo>
                <a:lnTo>
                  <a:pt x="2091673" y="1411652"/>
                </a:lnTo>
                <a:lnTo>
                  <a:pt x="2088636" y="1411652"/>
                </a:lnTo>
                <a:lnTo>
                  <a:pt x="2100780" y="1432903"/>
                </a:lnTo>
                <a:lnTo>
                  <a:pt x="2103815" y="1438975"/>
                </a:lnTo>
                <a:lnTo>
                  <a:pt x="2112924" y="1435938"/>
                </a:lnTo>
                <a:lnTo>
                  <a:pt x="2115959" y="1442010"/>
                </a:lnTo>
                <a:lnTo>
                  <a:pt x="2122031" y="1435938"/>
                </a:lnTo>
                <a:lnTo>
                  <a:pt x="2131138" y="1438975"/>
                </a:lnTo>
                <a:lnTo>
                  <a:pt x="2140245" y="1451117"/>
                </a:lnTo>
                <a:lnTo>
                  <a:pt x="2143281" y="1460226"/>
                </a:lnTo>
                <a:lnTo>
                  <a:pt x="2146317" y="1475405"/>
                </a:lnTo>
                <a:lnTo>
                  <a:pt x="2155424" y="1478440"/>
                </a:lnTo>
                <a:lnTo>
                  <a:pt x="2164532" y="1472368"/>
                </a:lnTo>
                <a:lnTo>
                  <a:pt x="2170603" y="1493619"/>
                </a:lnTo>
                <a:lnTo>
                  <a:pt x="2170603" y="1499691"/>
                </a:lnTo>
                <a:lnTo>
                  <a:pt x="2173639" y="1493619"/>
                </a:lnTo>
                <a:lnTo>
                  <a:pt x="2182746" y="1487547"/>
                </a:lnTo>
                <a:lnTo>
                  <a:pt x="2197925" y="1502726"/>
                </a:lnTo>
                <a:lnTo>
                  <a:pt x="2200962" y="1514870"/>
                </a:lnTo>
                <a:lnTo>
                  <a:pt x="2197925" y="1523977"/>
                </a:lnTo>
                <a:lnTo>
                  <a:pt x="2191854" y="1527013"/>
                </a:lnTo>
                <a:lnTo>
                  <a:pt x="2182746" y="1527013"/>
                </a:lnTo>
                <a:lnTo>
                  <a:pt x="2173639" y="1530049"/>
                </a:lnTo>
                <a:lnTo>
                  <a:pt x="2188818" y="1542192"/>
                </a:lnTo>
                <a:lnTo>
                  <a:pt x="2179711" y="1545228"/>
                </a:lnTo>
                <a:lnTo>
                  <a:pt x="2173639" y="1560407"/>
                </a:lnTo>
                <a:lnTo>
                  <a:pt x="2161496" y="1560407"/>
                </a:lnTo>
                <a:lnTo>
                  <a:pt x="2155424" y="1575585"/>
                </a:lnTo>
                <a:lnTo>
                  <a:pt x="2158460" y="1578622"/>
                </a:lnTo>
                <a:lnTo>
                  <a:pt x="2155424" y="1581657"/>
                </a:lnTo>
                <a:lnTo>
                  <a:pt x="2158460" y="1587729"/>
                </a:lnTo>
                <a:lnTo>
                  <a:pt x="2149353" y="1593801"/>
                </a:lnTo>
                <a:lnTo>
                  <a:pt x="2146317" y="1590765"/>
                </a:lnTo>
                <a:lnTo>
                  <a:pt x="2143281" y="1590765"/>
                </a:lnTo>
                <a:lnTo>
                  <a:pt x="2134173" y="1581657"/>
                </a:lnTo>
                <a:lnTo>
                  <a:pt x="2128102" y="1575585"/>
                </a:lnTo>
                <a:lnTo>
                  <a:pt x="2115959" y="1551299"/>
                </a:lnTo>
                <a:lnTo>
                  <a:pt x="2106852" y="1536120"/>
                </a:lnTo>
                <a:lnTo>
                  <a:pt x="2097744" y="1530049"/>
                </a:lnTo>
                <a:lnTo>
                  <a:pt x="2100780" y="1530049"/>
                </a:lnTo>
                <a:lnTo>
                  <a:pt x="2082565" y="1517906"/>
                </a:lnTo>
                <a:lnTo>
                  <a:pt x="2073458" y="1517906"/>
                </a:lnTo>
                <a:lnTo>
                  <a:pt x="2067386" y="1517906"/>
                </a:lnTo>
                <a:lnTo>
                  <a:pt x="2070422" y="1533085"/>
                </a:lnTo>
                <a:lnTo>
                  <a:pt x="2079529" y="1539156"/>
                </a:lnTo>
                <a:lnTo>
                  <a:pt x="2073458" y="1548264"/>
                </a:lnTo>
                <a:lnTo>
                  <a:pt x="2067386" y="1548264"/>
                </a:lnTo>
                <a:lnTo>
                  <a:pt x="2061314" y="1536120"/>
                </a:lnTo>
                <a:lnTo>
                  <a:pt x="2055243" y="1548264"/>
                </a:lnTo>
                <a:lnTo>
                  <a:pt x="2061314" y="1560407"/>
                </a:lnTo>
                <a:lnTo>
                  <a:pt x="2070422" y="1560407"/>
                </a:lnTo>
                <a:lnTo>
                  <a:pt x="2076494" y="1566478"/>
                </a:lnTo>
                <a:lnTo>
                  <a:pt x="2082565" y="1569515"/>
                </a:lnTo>
                <a:lnTo>
                  <a:pt x="2079529" y="1578622"/>
                </a:lnTo>
                <a:lnTo>
                  <a:pt x="2082565" y="1587729"/>
                </a:lnTo>
                <a:lnTo>
                  <a:pt x="2085601" y="1590765"/>
                </a:lnTo>
                <a:lnTo>
                  <a:pt x="2088636" y="1596836"/>
                </a:lnTo>
                <a:lnTo>
                  <a:pt x="2088636" y="1602908"/>
                </a:lnTo>
                <a:lnTo>
                  <a:pt x="2094708" y="1599873"/>
                </a:lnTo>
                <a:lnTo>
                  <a:pt x="2106852" y="1596836"/>
                </a:lnTo>
                <a:lnTo>
                  <a:pt x="2112924" y="1602908"/>
                </a:lnTo>
                <a:lnTo>
                  <a:pt x="2112924" y="1612015"/>
                </a:lnTo>
                <a:lnTo>
                  <a:pt x="2112924" y="1615052"/>
                </a:lnTo>
                <a:lnTo>
                  <a:pt x="2122031" y="1618087"/>
                </a:lnTo>
                <a:lnTo>
                  <a:pt x="2118994" y="1633266"/>
                </a:lnTo>
                <a:lnTo>
                  <a:pt x="2125066" y="1648446"/>
                </a:lnTo>
                <a:lnTo>
                  <a:pt x="2134173" y="1657553"/>
                </a:lnTo>
                <a:lnTo>
                  <a:pt x="2134173" y="1672732"/>
                </a:lnTo>
                <a:lnTo>
                  <a:pt x="2131138" y="1672732"/>
                </a:lnTo>
                <a:lnTo>
                  <a:pt x="2128102" y="1663625"/>
                </a:lnTo>
                <a:lnTo>
                  <a:pt x="2122031" y="1654517"/>
                </a:lnTo>
                <a:lnTo>
                  <a:pt x="2125066" y="1666660"/>
                </a:lnTo>
                <a:lnTo>
                  <a:pt x="2128102" y="1678804"/>
                </a:lnTo>
                <a:lnTo>
                  <a:pt x="2128102" y="1681839"/>
                </a:lnTo>
                <a:lnTo>
                  <a:pt x="2131138" y="1687911"/>
                </a:lnTo>
                <a:lnTo>
                  <a:pt x="2131138" y="1693983"/>
                </a:lnTo>
                <a:lnTo>
                  <a:pt x="2118994" y="1706125"/>
                </a:lnTo>
                <a:lnTo>
                  <a:pt x="2109887" y="1690946"/>
                </a:lnTo>
                <a:lnTo>
                  <a:pt x="2103815" y="1687911"/>
                </a:lnTo>
                <a:lnTo>
                  <a:pt x="2100780" y="1687911"/>
                </a:lnTo>
                <a:lnTo>
                  <a:pt x="2088636" y="1681839"/>
                </a:lnTo>
                <a:lnTo>
                  <a:pt x="2076494" y="1669696"/>
                </a:lnTo>
                <a:lnTo>
                  <a:pt x="2070422" y="1666660"/>
                </a:lnTo>
                <a:lnTo>
                  <a:pt x="2067386" y="1669696"/>
                </a:lnTo>
                <a:lnTo>
                  <a:pt x="2064350" y="1663625"/>
                </a:lnTo>
                <a:lnTo>
                  <a:pt x="2055243" y="1654517"/>
                </a:lnTo>
                <a:lnTo>
                  <a:pt x="2043100" y="1654517"/>
                </a:lnTo>
                <a:lnTo>
                  <a:pt x="2052207" y="1666660"/>
                </a:lnTo>
                <a:lnTo>
                  <a:pt x="2064350" y="1681839"/>
                </a:lnTo>
                <a:lnTo>
                  <a:pt x="2070422" y="1684876"/>
                </a:lnTo>
                <a:lnTo>
                  <a:pt x="2070422" y="1690946"/>
                </a:lnTo>
                <a:lnTo>
                  <a:pt x="2076494" y="1687911"/>
                </a:lnTo>
                <a:lnTo>
                  <a:pt x="2082565" y="1697018"/>
                </a:lnTo>
                <a:lnTo>
                  <a:pt x="2094708" y="1712197"/>
                </a:lnTo>
                <a:lnTo>
                  <a:pt x="2097744" y="1712197"/>
                </a:lnTo>
                <a:lnTo>
                  <a:pt x="2103815" y="1721305"/>
                </a:lnTo>
                <a:lnTo>
                  <a:pt x="2106852" y="1733448"/>
                </a:lnTo>
                <a:lnTo>
                  <a:pt x="2103815" y="1736484"/>
                </a:lnTo>
                <a:lnTo>
                  <a:pt x="2079529" y="1727376"/>
                </a:lnTo>
                <a:lnTo>
                  <a:pt x="2052207" y="1718269"/>
                </a:lnTo>
                <a:lnTo>
                  <a:pt x="2043100" y="1715233"/>
                </a:lnTo>
                <a:lnTo>
                  <a:pt x="2033992" y="1703090"/>
                </a:lnTo>
                <a:lnTo>
                  <a:pt x="2030956" y="1703090"/>
                </a:lnTo>
                <a:lnTo>
                  <a:pt x="2030956" y="1700054"/>
                </a:lnTo>
                <a:lnTo>
                  <a:pt x="2024884" y="1697018"/>
                </a:lnTo>
                <a:lnTo>
                  <a:pt x="2015777" y="1697018"/>
                </a:lnTo>
                <a:lnTo>
                  <a:pt x="2003635" y="1690946"/>
                </a:lnTo>
                <a:lnTo>
                  <a:pt x="1994526" y="1684876"/>
                </a:lnTo>
                <a:lnTo>
                  <a:pt x="1985419" y="1678804"/>
                </a:lnTo>
                <a:lnTo>
                  <a:pt x="1976312" y="1666660"/>
                </a:lnTo>
                <a:lnTo>
                  <a:pt x="1988455" y="1666660"/>
                </a:lnTo>
                <a:lnTo>
                  <a:pt x="1982384" y="1654517"/>
                </a:lnTo>
                <a:lnTo>
                  <a:pt x="1979347" y="1654517"/>
                </a:lnTo>
                <a:lnTo>
                  <a:pt x="1967205" y="1648446"/>
                </a:lnTo>
                <a:lnTo>
                  <a:pt x="1967205" y="1639338"/>
                </a:lnTo>
                <a:lnTo>
                  <a:pt x="1964168" y="1633266"/>
                </a:lnTo>
                <a:lnTo>
                  <a:pt x="1958097" y="1627195"/>
                </a:lnTo>
                <a:lnTo>
                  <a:pt x="1952025" y="1618087"/>
                </a:lnTo>
                <a:lnTo>
                  <a:pt x="1945954" y="1618087"/>
                </a:lnTo>
                <a:lnTo>
                  <a:pt x="1939882" y="1621123"/>
                </a:lnTo>
                <a:lnTo>
                  <a:pt x="1927739" y="1621123"/>
                </a:lnTo>
                <a:lnTo>
                  <a:pt x="1921667" y="1621123"/>
                </a:lnTo>
                <a:lnTo>
                  <a:pt x="1918632" y="1618087"/>
                </a:lnTo>
                <a:lnTo>
                  <a:pt x="1903453" y="1612015"/>
                </a:lnTo>
                <a:lnTo>
                  <a:pt x="1894345" y="1621123"/>
                </a:lnTo>
                <a:lnTo>
                  <a:pt x="1888274" y="1624159"/>
                </a:lnTo>
                <a:lnTo>
                  <a:pt x="1882202" y="1627195"/>
                </a:lnTo>
                <a:lnTo>
                  <a:pt x="1857915" y="1621123"/>
                </a:lnTo>
                <a:lnTo>
                  <a:pt x="1854879" y="1615052"/>
                </a:lnTo>
                <a:lnTo>
                  <a:pt x="1851844" y="1605944"/>
                </a:lnTo>
                <a:lnTo>
                  <a:pt x="1854879" y="1593801"/>
                </a:lnTo>
                <a:lnTo>
                  <a:pt x="1857915" y="1590765"/>
                </a:lnTo>
                <a:lnTo>
                  <a:pt x="1867023" y="1584694"/>
                </a:lnTo>
                <a:lnTo>
                  <a:pt x="1870058" y="1581657"/>
                </a:lnTo>
                <a:lnTo>
                  <a:pt x="1870058" y="1572550"/>
                </a:lnTo>
                <a:lnTo>
                  <a:pt x="1903453" y="1584694"/>
                </a:lnTo>
                <a:lnTo>
                  <a:pt x="1906488" y="1578622"/>
                </a:lnTo>
                <a:lnTo>
                  <a:pt x="1912560" y="1578622"/>
                </a:lnTo>
                <a:lnTo>
                  <a:pt x="1924703" y="1572550"/>
                </a:lnTo>
                <a:lnTo>
                  <a:pt x="1924703" y="1569515"/>
                </a:lnTo>
                <a:lnTo>
                  <a:pt x="1930774" y="1572550"/>
                </a:lnTo>
                <a:lnTo>
                  <a:pt x="1936846" y="1569515"/>
                </a:lnTo>
                <a:lnTo>
                  <a:pt x="1948990" y="1566478"/>
                </a:lnTo>
                <a:lnTo>
                  <a:pt x="1939882" y="1551299"/>
                </a:lnTo>
                <a:lnTo>
                  <a:pt x="1930774" y="1536120"/>
                </a:lnTo>
                <a:lnTo>
                  <a:pt x="1933811" y="1530049"/>
                </a:lnTo>
                <a:lnTo>
                  <a:pt x="1942918" y="1520941"/>
                </a:lnTo>
                <a:lnTo>
                  <a:pt x="1952025" y="1508798"/>
                </a:lnTo>
                <a:lnTo>
                  <a:pt x="1958097" y="1502726"/>
                </a:lnTo>
                <a:lnTo>
                  <a:pt x="1961133" y="1496655"/>
                </a:lnTo>
                <a:lnTo>
                  <a:pt x="1967205" y="1487547"/>
                </a:lnTo>
                <a:lnTo>
                  <a:pt x="1976312" y="1475405"/>
                </a:lnTo>
                <a:lnTo>
                  <a:pt x="1973276" y="1469333"/>
                </a:lnTo>
                <a:lnTo>
                  <a:pt x="1967205" y="1451117"/>
                </a:lnTo>
                <a:lnTo>
                  <a:pt x="1961133" y="1442010"/>
                </a:lnTo>
                <a:lnTo>
                  <a:pt x="1958097" y="1432903"/>
                </a:lnTo>
                <a:lnTo>
                  <a:pt x="1955061" y="1414688"/>
                </a:lnTo>
                <a:lnTo>
                  <a:pt x="1948990" y="1420760"/>
                </a:lnTo>
                <a:lnTo>
                  <a:pt x="1942918" y="1414688"/>
                </a:lnTo>
                <a:lnTo>
                  <a:pt x="1936846" y="1408616"/>
                </a:lnTo>
                <a:lnTo>
                  <a:pt x="1927739" y="1399509"/>
                </a:lnTo>
                <a:lnTo>
                  <a:pt x="1921667" y="1390402"/>
                </a:lnTo>
                <a:lnTo>
                  <a:pt x="1915595" y="1387366"/>
                </a:lnTo>
                <a:lnTo>
                  <a:pt x="1912560" y="1384330"/>
                </a:lnTo>
                <a:lnTo>
                  <a:pt x="1912560" y="1381294"/>
                </a:lnTo>
                <a:lnTo>
                  <a:pt x="1906488" y="1387366"/>
                </a:lnTo>
                <a:lnTo>
                  <a:pt x="1894345" y="1393437"/>
                </a:lnTo>
                <a:lnTo>
                  <a:pt x="1885237" y="1399509"/>
                </a:lnTo>
                <a:lnTo>
                  <a:pt x="1885237" y="1396473"/>
                </a:lnTo>
                <a:lnTo>
                  <a:pt x="1885237" y="1381294"/>
                </a:lnTo>
                <a:lnTo>
                  <a:pt x="1894345" y="1378258"/>
                </a:lnTo>
                <a:lnTo>
                  <a:pt x="1906488" y="1375223"/>
                </a:lnTo>
                <a:lnTo>
                  <a:pt x="1906488" y="1369151"/>
                </a:lnTo>
                <a:lnTo>
                  <a:pt x="1903453" y="1363079"/>
                </a:lnTo>
                <a:lnTo>
                  <a:pt x="1891309" y="1353972"/>
                </a:lnTo>
                <a:lnTo>
                  <a:pt x="1879166" y="1344865"/>
                </a:lnTo>
                <a:lnTo>
                  <a:pt x="1873095" y="1341828"/>
                </a:lnTo>
                <a:lnTo>
                  <a:pt x="1873095" y="1326649"/>
                </a:lnTo>
                <a:lnTo>
                  <a:pt x="1863987" y="1335757"/>
                </a:lnTo>
                <a:lnTo>
                  <a:pt x="1860951" y="1308435"/>
                </a:lnTo>
                <a:lnTo>
                  <a:pt x="1839700" y="1308435"/>
                </a:lnTo>
                <a:lnTo>
                  <a:pt x="1842736" y="1326649"/>
                </a:lnTo>
                <a:lnTo>
                  <a:pt x="1827557" y="1329686"/>
                </a:lnTo>
                <a:lnTo>
                  <a:pt x="1818450" y="1323614"/>
                </a:lnTo>
                <a:lnTo>
                  <a:pt x="1806306" y="1320578"/>
                </a:lnTo>
                <a:lnTo>
                  <a:pt x="1788092" y="1314506"/>
                </a:lnTo>
                <a:lnTo>
                  <a:pt x="1778985" y="1314506"/>
                </a:lnTo>
                <a:lnTo>
                  <a:pt x="1778985" y="1329686"/>
                </a:lnTo>
                <a:lnTo>
                  <a:pt x="1775948" y="1332721"/>
                </a:lnTo>
                <a:lnTo>
                  <a:pt x="1760769" y="1329686"/>
                </a:lnTo>
                <a:lnTo>
                  <a:pt x="1727375" y="1323614"/>
                </a:lnTo>
                <a:lnTo>
                  <a:pt x="1700054" y="1314506"/>
                </a:lnTo>
                <a:lnTo>
                  <a:pt x="1706124" y="1323614"/>
                </a:lnTo>
                <a:lnTo>
                  <a:pt x="1690946" y="1317542"/>
                </a:lnTo>
                <a:lnTo>
                  <a:pt x="1681839" y="1311470"/>
                </a:lnTo>
                <a:lnTo>
                  <a:pt x="1678803" y="1302363"/>
                </a:lnTo>
                <a:lnTo>
                  <a:pt x="1681839" y="1296291"/>
                </a:lnTo>
                <a:lnTo>
                  <a:pt x="1678803" y="1299327"/>
                </a:lnTo>
                <a:lnTo>
                  <a:pt x="1678803" y="1302363"/>
                </a:lnTo>
                <a:lnTo>
                  <a:pt x="1663624" y="1305399"/>
                </a:lnTo>
                <a:lnTo>
                  <a:pt x="1651480" y="1308435"/>
                </a:lnTo>
                <a:lnTo>
                  <a:pt x="1639337" y="1296291"/>
                </a:lnTo>
                <a:lnTo>
                  <a:pt x="1627194" y="1284148"/>
                </a:lnTo>
                <a:lnTo>
                  <a:pt x="1621122" y="1272005"/>
                </a:lnTo>
                <a:lnTo>
                  <a:pt x="1621122" y="1259862"/>
                </a:lnTo>
                <a:lnTo>
                  <a:pt x="1636301" y="1256826"/>
                </a:lnTo>
                <a:lnTo>
                  <a:pt x="1660588" y="1262897"/>
                </a:lnTo>
                <a:lnTo>
                  <a:pt x="1666659" y="1259862"/>
                </a:lnTo>
                <a:lnTo>
                  <a:pt x="1654516" y="1247718"/>
                </a:lnTo>
                <a:lnTo>
                  <a:pt x="1645409" y="1244683"/>
                </a:lnTo>
                <a:lnTo>
                  <a:pt x="1624158" y="1241646"/>
                </a:lnTo>
                <a:lnTo>
                  <a:pt x="1608979" y="1229504"/>
                </a:lnTo>
                <a:lnTo>
                  <a:pt x="1608979" y="1199146"/>
                </a:lnTo>
                <a:lnTo>
                  <a:pt x="1615051" y="1183966"/>
                </a:lnTo>
                <a:lnTo>
                  <a:pt x="1612015" y="1165752"/>
                </a:lnTo>
                <a:lnTo>
                  <a:pt x="1621122" y="1144501"/>
                </a:lnTo>
                <a:lnTo>
                  <a:pt x="1621122" y="1129322"/>
                </a:lnTo>
                <a:lnTo>
                  <a:pt x="1627194" y="1114143"/>
                </a:lnTo>
                <a:lnTo>
                  <a:pt x="1648445" y="1080749"/>
                </a:lnTo>
                <a:close/>
                <a:moveTo>
                  <a:pt x="6030637" y="1062534"/>
                </a:moveTo>
                <a:lnTo>
                  <a:pt x="6042779" y="1068606"/>
                </a:lnTo>
                <a:lnTo>
                  <a:pt x="6051887" y="1077713"/>
                </a:lnTo>
                <a:lnTo>
                  <a:pt x="6064031" y="1080749"/>
                </a:lnTo>
                <a:lnTo>
                  <a:pt x="6073137" y="1083785"/>
                </a:lnTo>
                <a:lnTo>
                  <a:pt x="6070102" y="1123250"/>
                </a:lnTo>
                <a:lnTo>
                  <a:pt x="6067066" y="1156644"/>
                </a:lnTo>
                <a:lnTo>
                  <a:pt x="6070102" y="1162716"/>
                </a:lnTo>
                <a:lnTo>
                  <a:pt x="6067066" y="1165752"/>
                </a:lnTo>
                <a:lnTo>
                  <a:pt x="6060994" y="1165752"/>
                </a:lnTo>
                <a:lnTo>
                  <a:pt x="6048851" y="1156644"/>
                </a:lnTo>
                <a:lnTo>
                  <a:pt x="6045816" y="1150573"/>
                </a:lnTo>
                <a:lnTo>
                  <a:pt x="6039744" y="1147536"/>
                </a:lnTo>
                <a:lnTo>
                  <a:pt x="6015457" y="1132357"/>
                </a:lnTo>
                <a:lnTo>
                  <a:pt x="6006351" y="1126287"/>
                </a:lnTo>
                <a:lnTo>
                  <a:pt x="6012421" y="1108071"/>
                </a:lnTo>
                <a:lnTo>
                  <a:pt x="6006351" y="1089856"/>
                </a:lnTo>
                <a:lnTo>
                  <a:pt x="6012421" y="1068606"/>
                </a:lnTo>
                <a:lnTo>
                  <a:pt x="6021529" y="1065570"/>
                </a:lnTo>
                <a:close/>
                <a:moveTo>
                  <a:pt x="6391897" y="1059498"/>
                </a:moveTo>
                <a:lnTo>
                  <a:pt x="6419219" y="1080749"/>
                </a:lnTo>
                <a:lnTo>
                  <a:pt x="6428327" y="1098964"/>
                </a:lnTo>
                <a:lnTo>
                  <a:pt x="6422256" y="1111107"/>
                </a:lnTo>
                <a:lnTo>
                  <a:pt x="6419219" y="1111107"/>
                </a:lnTo>
                <a:lnTo>
                  <a:pt x="6388862" y="1105036"/>
                </a:lnTo>
                <a:lnTo>
                  <a:pt x="6376719" y="1098964"/>
                </a:lnTo>
                <a:lnTo>
                  <a:pt x="6364576" y="1089856"/>
                </a:lnTo>
                <a:lnTo>
                  <a:pt x="6379754" y="1062534"/>
                </a:lnTo>
                <a:close/>
                <a:moveTo>
                  <a:pt x="1402544" y="1056463"/>
                </a:moveTo>
                <a:lnTo>
                  <a:pt x="1414687" y="1068606"/>
                </a:lnTo>
                <a:lnTo>
                  <a:pt x="1420759" y="1074677"/>
                </a:lnTo>
                <a:lnTo>
                  <a:pt x="1426831" y="1071642"/>
                </a:lnTo>
                <a:lnTo>
                  <a:pt x="1438974" y="1065570"/>
                </a:lnTo>
                <a:lnTo>
                  <a:pt x="1445046" y="1062534"/>
                </a:lnTo>
                <a:lnTo>
                  <a:pt x="1448082" y="1059498"/>
                </a:lnTo>
                <a:lnTo>
                  <a:pt x="1454153" y="1062534"/>
                </a:lnTo>
                <a:lnTo>
                  <a:pt x="1460225" y="1065570"/>
                </a:lnTo>
                <a:lnTo>
                  <a:pt x="1466297" y="1080749"/>
                </a:lnTo>
                <a:lnTo>
                  <a:pt x="1460225" y="1098964"/>
                </a:lnTo>
                <a:lnTo>
                  <a:pt x="1454153" y="1101999"/>
                </a:lnTo>
                <a:lnTo>
                  <a:pt x="1445046" y="1108071"/>
                </a:lnTo>
                <a:lnTo>
                  <a:pt x="1438974" y="1120215"/>
                </a:lnTo>
                <a:lnTo>
                  <a:pt x="1432902" y="1126287"/>
                </a:lnTo>
                <a:lnTo>
                  <a:pt x="1435938" y="1135394"/>
                </a:lnTo>
                <a:lnTo>
                  <a:pt x="1435938" y="1129322"/>
                </a:lnTo>
                <a:lnTo>
                  <a:pt x="1448082" y="1123250"/>
                </a:lnTo>
                <a:lnTo>
                  <a:pt x="1457188" y="1126287"/>
                </a:lnTo>
                <a:lnTo>
                  <a:pt x="1460225" y="1135394"/>
                </a:lnTo>
                <a:lnTo>
                  <a:pt x="1463260" y="1153608"/>
                </a:lnTo>
                <a:lnTo>
                  <a:pt x="1472368" y="1144501"/>
                </a:lnTo>
                <a:lnTo>
                  <a:pt x="1478439" y="1159680"/>
                </a:lnTo>
                <a:lnTo>
                  <a:pt x="1475404" y="1177895"/>
                </a:lnTo>
                <a:lnTo>
                  <a:pt x="1475404" y="1187002"/>
                </a:lnTo>
                <a:lnTo>
                  <a:pt x="1475404" y="1199146"/>
                </a:lnTo>
                <a:lnTo>
                  <a:pt x="1472368" y="1208253"/>
                </a:lnTo>
                <a:lnTo>
                  <a:pt x="1460225" y="1217360"/>
                </a:lnTo>
                <a:lnTo>
                  <a:pt x="1451117" y="1220396"/>
                </a:lnTo>
                <a:lnTo>
                  <a:pt x="1442009" y="1229504"/>
                </a:lnTo>
                <a:lnTo>
                  <a:pt x="1429867" y="1241646"/>
                </a:lnTo>
                <a:lnTo>
                  <a:pt x="1423795" y="1235576"/>
                </a:lnTo>
                <a:lnTo>
                  <a:pt x="1420759" y="1235576"/>
                </a:lnTo>
                <a:lnTo>
                  <a:pt x="1417723" y="1232539"/>
                </a:lnTo>
                <a:lnTo>
                  <a:pt x="1405580" y="1208253"/>
                </a:lnTo>
                <a:lnTo>
                  <a:pt x="1399508" y="1202181"/>
                </a:lnTo>
                <a:lnTo>
                  <a:pt x="1396473" y="1196110"/>
                </a:lnTo>
                <a:lnTo>
                  <a:pt x="1384329" y="1180931"/>
                </a:lnTo>
                <a:lnTo>
                  <a:pt x="1381294" y="1180931"/>
                </a:lnTo>
                <a:lnTo>
                  <a:pt x="1375222" y="1174859"/>
                </a:lnTo>
                <a:lnTo>
                  <a:pt x="1360043" y="1165752"/>
                </a:lnTo>
                <a:lnTo>
                  <a:pt x="1347899" y="1150573"/>
                </a:lnTo>
                <a:lnTo>
                  <a:pt x="1344864" y="1141466"/>
                </a:lnTo>
                <a:lnTo>
                  <a:pt x="1350936" y="1126287"/>
                </a:lnTo>
                <a:lnTo>
                  <a:pt x="1366115" y="1126287"/>
                </a:lnTo>
                <a:lnTo>
                  <a:pt x="1366115" y="1129322"/>
                </a:lnTo>
                <a:lnTo>
                  <a:pt x="1384329" y="1147536"/>
                </a:lnTo>
                <a:lnTo>
                  <a:pt x="1393436" y="1144501"/>
                </a:lnTo>
                <a:lnTo>
                  <a:pt x="1396473" y="1138429"/>
                </a:lnTo>
                <a:lnTo>
                  <a:pt x="1402544" y="1129322"/>
                </a:lnTo>
                <a:lnTo>
                  <a:pt x="1396473" y="1117178"/>
                </a:lnTo>
                <a:lnTo>
                  <a:pt x="1393436" y="1120215"/>
                </a:lnTo>
                <a:lnTo>
                  <a:pt x="1387365" y="1108071"/>
                </a:lnTo>
                <a:lnTo>
                  <a:pt x="1378257" y="1101999"/>
                </a:lnTo>
                <a:lnTo>
                  <a:pt x="1369151" y="1089856"/>
                </a:lnTo>
                <a:lnTo>
                  <a:pt x="1378257" y="1074677"/>
                </a:lnTo>
                <a:lnTo>
                  <a:pt x="1390401" y="1062534"/>
                </a:lnTo>
                <a:close/>
                <a:moveTo>
                  <a:pt x="1451117" y="1047355"/>
                </a:moveTo>
                <a:lnTo>
                  <a:pt x="1432902" y="1065570"/>
                </a:lnTo>
                <a:lnTo>
                  <a:pt x="1414687" y="1062534"/>
                </a:lnTo>
                <a:lnTo>
                  <a:pt x="1423795" y="1053426"/>
                </a:lnTo>
                <a:lnTo>
                  <a:pt x="1432902" y="1050391"/>
                </a:lnTo>
                <a:close/>
                <a:moveTo>
                  <a:pt x="1542190" y="1041284"/>
                </a:moveTo>
                <a:lnTo>
                  <a:pt x="1566477" y="1056463"/>
                </a:lnTo>
                <a:lnTo>
                  <a:pt x="1584692" y="1053426"/>
                </a:lnTo>
                <a:lnTo>
                  <a:pt x="1605943" y="1059498"/>
                </a:lnTo>
                <a:lnTo>
                  <a:pt x="1593799" y="1086820"/>
                </a:lnTo>
                <a:lnTo>
                  <a:pt x="1575584" y="1123250"/>
                </a:lnTo>
                <a:lnTo>
                  <a:pt x="1554334" y="1144501"/>
                </a:lnTo>
                <a:lnTo>
                  <a:pt x="1542190" y="1141466"/>
                </a:lnTo>
                <a:lnTo>
                  <a:pt x="1539154" y="1141466"/>
                </a:lnTo>
                <a:lnTo>
                  <a:pt x="1533083" y="1141466"/>
                </a:lnTo>
                <a:lnTo>
                  <a:pt x="1523976" y="1141466"/>
                </a:lnTo>
                <a:lnTo>
                  <a:pt x="1520940" y="1141466"/>
                </a:lnTo>
                <a:lnTo>
                  <a:pt x="1520940" y="1147536"/>
                </a:lnTo>
                <a:lnTo>
                  <a:pt x="1527011" y="1147536"/>
                </a:lnTo>
                <a:lnTo>
                  <a:pt x="1533083" y="1153608"/>
                </a:lnTo>
                <a:lnTo>
                  <a:pt x="1539154" y="1162716"/>
                </a:lnTo>
                <a:lnTo>
                  <a:pt x="1533083" y="1174859"/>
                </a:lnTo>
                <a:lnTo>
                  <a:pt x="1523976" y="1190038"/>
                </a:lnTo>
                <a:lnTo>
                  <a:pt x="1517904" y="1193074"/>
                </a:lnTo>
                <a:lnTo>
                  <a:pt x="1502725" y="1196110"/>
                </a:lnTo>
                <a:lnTo>
                  <a:pt x="1502725" y="1174859"/>
                </a:lnTo>
                <a:lnTo>
                  <a:pt x="1502725" y="1159680"/>
                </a:lnTo>
                <a:lnTo>
                  <a:pt x="1496654" y="1147536"/>
                </a:lnTo>
                <a:lnTo>
                  <a:pt x="1493617" y="1147536"/>
                </a:lnTo>
                <a:lnTo>
                  <a:pt x="1490582" y="1108071"/>
                </a:lnTo>
                <a:lnTo>
                  <a:pt x="1493617" y="1071642"/>
                </a:lnTo>
                <a:lnTo>
                  <a:pt x="1499689" y="1062534"/>
                </a:lnTo>
                <a:lnTo>
                  <a:pt x="1502725" y="1053426"/>
                </a:lnTo>
                <a:lnTo>
                  <a:pt x="1517904" y="1044319"/>
                </a:lnTo>
                <a:close/>
                <a:moveTo>
                  <a:pt x="6367611" y="1032176"/>
                </a:moveTo>
                <a:lnTo>
                  <a:pt x="6376719" y="1050391"/>
                </a:lnTo>
                <a:lnTo>
                  <a:pt x="6370647" y="1056463"/>
                </a:lnTo>
                <a:lnTo>
                  <a:pt x="6364576" y="1059498"/>
                </a:lnTo>
                <a:lnTo>
                  <a:pt x="6355469" y="1041284"/>
                </a:lnTo>
                <a:close/>
                <a:moveTo>
                  <a:pt x="3026704" y="1023068"/>
                </a:moveTo>
                <a:lnTo>
                  <a:pt x="3032774" y="1023068"/>
                </a:lnTo>
                <a:lnTo>
                  <a:pt x="3044918" y="1029139"/>
                </a:lnTo>
                <a:lnTo>
                  <a:pt x="3047953" y="1041283"/>
                </a:lnTo>
                <a:lnTo>
                  <a:pt x="3044918" y="1047355"/>
                </a:lnTo>
                <a:lnTo>
                  <a:pt x="3032774" y="1050390"/>
                </a:lnTo>
                <a:lnTo>
                  <a:pt x="3014560" y="1041283"/>
                </a:lnTo>
                <a:lnTo>
                  <a:pt x="3017595" y="1029139"/>
                </a:lnTo>
                <a:close/>
                <a:moveTo>
                  <a:pt x="944137" y="1016996"/>
                </a:moveTo>
                <a:lnTo>
                  <a:pt x="968424" y="1016996"/>
                </a:lnTo>
                <a:lnTo>
                  <a:pt x="998782" y="1035212"/>
                </a:lnTo>
                <a:lnTo>
                  <a:pt x="1023068" y="1032176"/>
                </a:lnTo>
                <a:lnTo>
                  <a:pt x="1047355" y="1041284"/>
                </a:lnTo>
                <a:lnTo>
                  <a:pt x="1074677" y="1071642"/>
                </a:lnTo>
                <a:lnTo>
                  <a:pt x="1083784" y="1086820"/>
                </a:lnTo>
                <a:lnTo>
                  <a:pt x="1077713" y="1098964"/>
                </a:lnTo>
                <a:lnTo>
                  <a:pt x="1056462" y="1114143"/>
                </a:lnTo>
                <a:lnTo>
                  <a:pt x="1023068" y="1138429"/>
                </a:lnTo>
                <a:lnTo>
                  <a:pt x="1013960" y="1147536"/>
                </a:lnTo>
                <a:lnTo>
                  <a:pt x="1007889" y="1150573"/>
                </a:lnTo>
                <a:lnTo>
                  <a:pt x="1004853" y="1162716"/>
                </a:lnTo>
                <a:lnTo>
                  <a:pt x="1004853" y="1171823"/>
                </a:lnTo>
                <a:lnTo>
                  <a:pt x="992710" y="1180931"/>
                </a:lnTo>
                <a:lnTo>
                  <a:pt x="983602" y="1196110"/>
                </a:lnTo>
                <a:lnTo>
                  <a:pt x="980566" y="1208253"/>
                </a:lnTo>
                <a:lnTo>
                  <a:pt x="980566" y="1223432"/>
                </a:lnTo>
                <a:lnTo>
                  <a:pt x="968424" y="1232539"/>
                </a:lnTo>
                <a:lnTo>
                  <a:pt x="956280" y="1235576"/>
                </a:lnTo>
                <a:lnTo>
                  <a:pt x="944137" y="1241646"/>
                </a:lnTo>
                <a:lnTo>
                  <a:pt x="922886" y="1250755"/>
                </a:lnTo>
                <a:lnTo>
                  <a:pt x="916815" y="1232539"/>
                </a:lnTo>
                <a:lnTo>
                  <a:pt x="907707" y="1217360"/>
                </a:lnTo>
                <a:lnTo>
                  <a:pt x="886456" y="1202181"/>
                </a:lnTo>
                <a:lnTo>
                  <a:pt x="871277" y="1196110"/>
                </a:lnTo>
                <a:lnTo>
                  <a:pt x="874313" y="1177895"/>
                </a:lnTo>
                <a:lnTo>
                  <a:pt x="877349" y="1165752"/>
                </a:lnTo>
                <a:lnTo>
                  <a:pt x="886456" y="1156645"/>
                </a:lnTo>
                <a:lnTo>
                  <a:pt x="889493" y="1135394"/>
                </a:lnTo>
                <a:lnTo>
                  <a:pt x="889493" y="1123250"/>
                </a:lnTo>
                <a:lnTo>
                  <a:pt x="889493" y="1120215"/>
                </a:lnTo>
                <a:lnTo>
                  <a:pt x="895564" y="1105036"/>
                </a:lnTo>
                <a:lnTo>
                  <a:pt x="907707" y="1083785"/>
                </a:lnTo>
                <a:lnTo>
                  <a:pt x="898600" y="1050391"/>
                </a:lnTo>
                <a:lnTo>
                  <a:pt x="892528" y="1032176"/>
                </a:lnTo>
                <a:lnTo>
                  <a:pt x="892528" y="1026105"/>
                </a:lnTo>
                <a:lnTo>
                  <a:pt x="919850" y="1020033"/>
                </a:lnTo>
                <a:close/>
                <a:moveTo>
                  <a:pt x="5778664" y="1010925"/>
                </a:moveTo>
                <a:lnTo>
                  <a:pt x="5790808" y="1013960"/>
                </a:lnTo>
                <a:lnTo>
                  <a:pt x="5802952" y="1016995"/>
                </a:lnTo>
                <a:lnTo>
                  <a:pt x="5805987" y="1020032"/>
                </a:lnTo>
                <a:lnTo>
                  <a:pt x="5802952" y="1029139"/>
                </a:lnTo>
                <a:lnTo>
                  <a:pt x="5793843" y="1047354"/>
                </a:lnTo>
                <a:lnTo>
                  <a:pt x="5769557" y="1035211"/>
                </a:lnTo>
                <a:lnTo>
                  <a:pt x="5766522" y="1026104"/>
                </a:lnTo>
                <a:close/>
                <a:moveTo>
                  <a:pt x="3057062" y="974495"/>
                </a:moveTo>
                <a:lnTo>
                  <a:pt x="3063133" y="986638"/>
                </a:lnTo>
                <a:lnTo>
                  <a:pt x="3060097" y="992710"/>
                </a:lnTo>
                <a:lnTo>
                  <a:pt x="3050990" y="998782"/>
                </a:lnTo>
                <a:lnTo>
                  <a:pt x="3044918" y="992710"/>
                </a:lnTo>
                <a:lnTo>
                  <a:pt x="3044918" y="977531"/>
                </a:lnTo>
                <a:close/>
                <a:moveTo>
                  <a:pt x="3096527" y="944136"/>
                </a:moveTo>
                <a:lnTo>
                  <a:pt x="3093491" y="959315"/>
                </a:lnTo>
                <a:lnTo>
                  <a:pt x="3099563" y="968424"/>
                </a:lnTo>
                <a:lnTo>
                  <a:pt x="3093491" y="974495"/>
                </a:lnTo>
                <a:lnTo>
                  <a:pt x="3084384" y="977531"/>
                </a:lnTo>
                <a:lnTo>
                  <a:pt x="3075276" y="971459"/>
                </a:lnTo>
                <a:lnTo>
                  <a:pt x="3084384" y="947173"/>
                </a:lnTo>
                <a:close/>
                <a:moveTo>
                  <a:pt x="1314505" y="941102"/>
                </a:moveTo>
                <a:lnTo>
                  <a:pt x="1329685" y="962352"/>
                </a:lnTo>
                <a:lnTo>
                  <a:pt x="1314505" y="974496"/>
                </a:lnTo>
                <a:lnTo>
                  <a:pt x="1302362" y="965388"/>
                </a:lnTo>
                <a:close/>
                <a:moveTo>
                  <a:pt x="5159360" y="937458"/>
                </a:moveTo>
                <a:lnTo>
                  <a:pt x="5159360" y="956280"/>
                </a:lnTo>
                <a:lnTo>
                  <a:pt x="5156323" y="962351"/>
                </a:lnTo>
                <a:lnTo>
                  <a:pt x="5147216" y="947172"/>
                </a:lnTo>
                <a:close/>
                <a:moveTo>
                  <a:pt x="5159360" y="935029"/>
                </a:moveTo>
                <a:lnTo>
                  <a:pt x="5162395" y="935029"/>
                </a:lnTo>
                <a:lnTo>
                  <a:pt x="5159360" y="937458"/>
                </a:lnTo>
                <a:close/>
                <a:moveTo>
                  <a:pt x="6489043" y="928958"/>
                </a:moveTo>
                <a:lnTo>
                  <a:pt x="6498151" y="947173"/>
                </a:lnTo>
                <a:lnTo>
                  <a:pt x="6501187" y="947173"/>
                </a:lnTo>
                <a:lnTo>
                  <a:pt x="6522437" y="944137"/>
                </a:lnTo>
                <a:lnTo>
                  <a:pt x="6528509" y="953245"/>
                </a:lnTo>
                <a:lnTo>
                  <a:pt x="6537617" y="959316"/>
                </a:lnTo>
                <a:lnTo>
                  <a:pt x="6546724" y="953245"/>
                </a:lnTo>
                <a:lnTo>
                  <a:pt x="6552796" y="956281"/>
                </a:lnTo>
                <a:lnTo>
                  <a:pt x="6574047" y="965388"/>
                </a:lnTo>
                <a:lnTo>
                  <a:pt x="6567975" y="986639"/>
                </a:lnTo>
                <a:lnTo>
                  <a:pt x="6519401" y="989675"/>
                </a:lnTo>
                <a:lnTo>
                  <a:pt x="6486007" y="962352"/>
                </a:lnTo>
                <a:lnTo>
                  <a:pt x="6479935" y="956281"/>
                </a:lnTo>
                <a:close/>
                <a:moveTo>
                  <a:pt x="1505762" y="925923"/>
                </a:moveTo>
                <a:lnTo>
                  <a:pt x="1530048" y="944137"/>
                </a:lnTo>
                <a:lnTo>
                  <a:pt x="1533084" y="950209"/>
                </a:lnTo>
                <a:lnTo>
                  <a:pt x="1539155" y="965388"/>
                </a:lnTo>
                <a:lnTo>
                  <a:pt x="1536119" y="1001818"/>
                </a:lnTo>
                <a:lnTo>
                  <a:pt x="1517905" y="1004854"/>
                </a:lnTo>
                <a:lnTo>
                  <a:pt x="1505762" y="998782"/>
                </a:lnTo>
                <a:lnTo>
                  <a:pt x="1493618" y="989675"/>
                </a:lnTo>
                <a:lnTo>
                  <a:pt x="1478439" y="983603"/>
                </a:lnTo>
                <a:lnTo>
                  <a:pt x="1472368" y="968424"/>
                </a:lnTo>
                <a:lnTo>
                  <a:pt x="1484511" y="953245"/>
                </a:lnTo>
                <a:lnTo>
                  <a:pt x="1487546" y="938066"/>
                </a:lnTo>
                <a:lnTo>
                  <a:pt x="1493618" y="931995"/>
                </a:lnTo>
                <a:close/>
                <a:moveTo>
                  <a:pt x="1481476" y="925923"/>
                </a:moveTo>
                <a:lnTo>
                  <a:pt x="1484511" y="931995"/>
                </a:lnTo>
                <a:lnTo>
                  <a:pt x="1478439" y="941102"/>
                </a:lnTo>
                <a:lnTo>
                  <a:pt x="1463260" y="935030"/>
                </a:lnTo>
                <a:close/>
                <a:moveTo>
                  <a:pt x="6264394" y="910744"/>
                </a:moveTo>
                <a:lnTo>
                  <a:pt x="6270465" y="913779"/>
                </a:lnTo>
                <a:lnTo>
                  <a:pt x="6273501" y="925923"/>
                </a:lnTo>
                <a:lnTo>
                  <a:pt x="6261357" y="947173"/>
                </a:lnTo>
                <a:close/>
                <a:moveTo>
                  <a:pt x="1514869" y="895565"/>
                </a:moveTo>
                <a:lnTo>
                  <a:pt x="1520941" y="910744"/>
                </a:lnTo>
                <a:lnTo>
                  <a:pt x="1514869" y="913779"/>
                </a:lnTo>
                <a:lnTo>
                  <a:pt x="1508797" y="907707"/>
                </a:lnTo>
                <a:lnTo>
                  <a:pt x="1511833" y="898600"/>
                </a:lnTo>
                <a:close/>
                <a:moveTo>
                  <a:pt x="1344864" y="895565"/>
                </a:moveTo>
                <a:lnTo>
                  <a:pt x="1360043" y="895565"/>
                </a:lnTo>
                <a:lnTo>
                  <a:pt x="1344864" y="910744"/>
                </a:lnTo>
                <a:lnTo>
                  <a:pt x="1332720" y="910744"/>
                </a:lnTo>
                <a:close/>
                <a:moveTo>
                  <a:pt x="1839700" y="883421"/>
                </a:moveTo>
                <a:lnTo>
                  <a:pt x="1827557" y="907707"/>
                </a:lnTo>
                <a:lnTo>
                  <a:pt x="1821485" y="904672"/>
                </a:lnTo>
                <a:close/>
                <a:moveTo>
                  <a:pt x="1038248" y="883421"/>
                </a:moveTo>
                <a:lnTo>
                  <a:pt x="1041283" y="886457"/>
                </a:lnTo>
                <a:lnTo>
                  <a:pt x="1032176" y="916816"/>
                </a:lnTo>
                <a:lnTo>
                  <a:pt x="1023068" y="931995"/>
                </a:lnTo>
                <a:lnTo>
                  <a:pt x="1013960" y="935030"/>
                </a:lnTo>
                <a:lnTo>
                  <a:pt x="1001817" y="928958"/>
                </a:lnTo>
                <a:lnTo>
                  <a:pt x="1007889" y="916816"/>
                </a:lnTo>
                <a:lnTo>
                  <a:pt x="1020032" y="901636"/>
                </a:lnTo>
                <a:lnTo>
                  <a:pt x="1032176" y="889493"/>
                </a:lnTo>
                <a:close/>
                <a:moveTo>
                  <a:pt x="1335756" y="880386"/>
                </a:moveTo>
                <a:lnTo>
                  <a:pt x="1350936" y="880386"/>
                </a:lnTo>
                <a:lnTo>
                  <a:pt x="1347899" y="886457"/>
                </a:lnTo>
                <a:lnTo>
                  <a:pt x="1338792" y="889493"/>
                </a:lnTo>
                <a:lnTo>
                  <a:pt x="1326649" y="895565"/>
                </a:lnTo>
                <a:lnTo>
                  <a:pt x="1317542" y="889493"/>
                </a:lnTo>
                <a:close/>
                <a:moveTo>
                  <a:pt x="6325111" y="877349"/>
                </a:moveTo>
                <a:lnTo>
                  <a:pt x="6334217" y="877349"/>
                </a:lnTo>
                <a:lnTo>
                  <a:pt x="6355469" y="913779"/>
                </a:lnTo>
                <a:lnTo>
                  <a:pt x="6376719" y="922886"/>
                </a:lnTo>
                <a:lnTo>
                  <a:pt x="6373683" y="901636"/>
                </a:lnTo>
                <a:lnTo>
                  <a:pt x="6376719" y="886457"/>
                </a:lnTo>
                <a:lnTo>
                  <a:pt x="6385825" y="880386"/>
                </a:lnTo>
                <a:lnTo>
                  <a:pt x="6394934" y="889493"/>
                </a:lnTo>
                <a:lnTo>
                  <a:pt x="6404041" y="898600"/>
                </a:lnTo>
                <a:lnTo>
                  <a:pt x="6407077" y="904672"/>
                </a:lnTo>
                <a:lnTo>
                  <a:pt x="6425291" y="907707"/>
                </a:lnTo>
                <a:lnTo>
                  <a:pt x="6434399" y="907707"/>
                </a:lnTo>
                <a:lnTo>
                  <a:pt x="6461721" y="935030"/>
                </a:lnTo>
                <a:lnTo>
                  <a:pt x="6452614" y="962352"/>
                </a:lnTo>
                <a:lnTo>
                  <a:pt x="6440471" y="974496"/>
                </a:lnTo>
                <a:lnTo>
                  <a:pt x="6431363" y="980567"/>
                </a:lnTo>
                <a:lnTo>
                  <a:pt x="6410112" y="989675"/>
                </a:lnTo>
                <a:lnTo>
                  <a:pt x="6401005" y="989675"/>
                </a:lnTo>
                <a:lnTo>
                  <a:pt x="6394934" y="983603"/>
                </a:lnTo>
                <a:lnTo>
                  <a:pt x="6397969" y="980567"/>
                </a:lnTo>
                <a:lnTo>
                  <a:pt x="6352432" y="992710"/>
                </a:lnTo>
                <a:lnTo>
                  <a:pt x="6355469" y="989675"/>
                </a:lnTo>
                <a:lnTo>
                  <a:pt x="6346361" y="986639"/>
                </a:lnTo>
                <a:lnTo>
                  <a:pt x="6316002" y="995746"/>
                </a:lnTo>
                <a:lnTo>
                  <a:pt x="6303859" y="977531"/>
                </a:lnTo>
                <a:lnTo>
                  <a:pt x="6288681" y="947173"/>
                </a:lnTo>
                <a:lnTo>
                  <a:pt x="6297787" y="950209"/>
                </a:lnTo>
                <a:lnTo>
                  <a:pt x="6294752" y="922886"/>
                </a:lnTo>
                <a:lnTo>
                  <a:pt x="6294752" y="913779"/>
                </a:lnTo>
                <a:lnTo>
                  <a:pt x="6300823" y="898600"/>
                </a:lnTo>
                <a:lnTo>
                  <a:pt x="6312967" y="886457"/>
                </a:lnTo>
                <a:close/>
                <a:moveTo>
                  <a:pt x="5447762" y="862170"/>
                </a:moveTo>
                <a:lnTo>
                  <a:pt x="5459904" y="868241"/>
                </a:lnTo>
                <a:lnTo>
                  <a:pt x="5444725" y="877348"/>
                </a:lnTo>
                <a:lnTo>
                  <a:pt x="5432583" y="871277"/>
                </a:lnTo>
                <a:lnTo>
                  <a:pt x="5435618" y="865205"/>
                </a:lnTo>
                <a:close/>
                <a:moveTo>
                  <a:pt x="1326649" y="856099"/>
                </a:moveTo>
                <a:lnTo>
                  <a:pt x="1344864" y="856099"/>
                </a:lnTo>
                <a:lnTo>
                  <a:pt x="1344864" y="868242"/>
                </a:lnTo>
                <a:lnTo>
                  <a:pt x="1341828" y="874314"/>
                </a:lnTo>
                <a:lnTo>
                  <a:pt x="1329685" y="877350"/>
                </a:lnTo>
                <a:lnTo>
                  <a:pt x="1317542" y="877350"/>
                </a:lnTo>
                <a:lnTo>
                  <a:pt x="1305398" y="868242"/>
                </a:lnTo>
                <a:lnTo>
                  <a:pt x="1314505" y="859135"/>
                </a:lnTo>
                <a:close/>
                <a:moveTo>
                  <a:pt x="1393436" y="840920"/>
                </a:moveTo>
                <a:lnTo>
                  <a:pt x="1405580" y="840920"/>
                </a:lnTo>
                <a:lnTo>
                  <a:pt x="1417723" y="850027"/>
                </a:lnTo>
                <a:lnTo>
                  <a:pt x="1420759" y="859135"/>
                </a:lnTo>
                <a:lnTo>
                  <a:pt x="1420759" y="840920"/>
                </a:lnTo>
                <a:lnTo>
                  <a:pt x="1448082" y="846992"/>
                </a:lnTo>
                <a:lnTo>
                  <a:pt x="1451117" y="853063"/>
                </a:lnTo>
                <a:lnTo>
                  <a:pt x="1454153" y="880386"/>
                </a:lnTo>
                <a:lnTo>
                  <a:pt x="1451117" y="895565"/>
                </a:lnTo>
                <a:lnTo>
                  <a:pt x="1448082" y="913779"/>
                </a:lnTo>
                <a:lnTo>
                  <a:pt x="1445046" y="965388"/>
                </a:lnTo>
                <a:lnTo>
                  <a:pt x="1442009" y="974496"/>
                </a:lnTo>
                <a:lnTo>
                  <a:pt x="1420759" y="977531"/>
                </a:lnTo>
                <a:lnTo>
                  <a:pt x="1399508" y="977531"/>
                </a:lnTo>
                <a:lnTo>
                  <a:pt x="1393436" y="965388"/>
                </a:lnTo>
                <a:lnTo>
                  <a:pt x="1390401" y="953245"/>
                </a:lnTo>
                <a:lnTo>
                  <a:pt x="1387365" y="947173"/>
                </a:lnTo>
                <a:lnTo>
                  <a:pt x="1390401" y="941102"/>
                </a:lnTo>
                <a:lnTo>
                  <a:pt x="1384329" y="925923"/>
                </a:lnTo>
                <a:lnTo>
                  <a:pt x="1378257" y="928958"/>
                </a:lnTo>
                <a:lnTo>
                  <a:pt x="1366115" y="928958"/>
                </a:lnTo>
                <a:lnTo>
                  <a:pt x="1350936" y="935030"/>
                </a:lnTo>
                <a:lnTo>
                  <a:pt x="1341828" y="925923"/>
                </a:lnTo>
                <a:lnTo>
                  <a:pt x="1357007" y="904672"/>
                </a:lnTo>
                <a:lnTo>
                  <a:pt x="1369151" y="907707"/>
                </a:lnTo>
                <a:lnTo>
                  <a:pt x="1366115" y="880386"/>
                </a:lnTo>
                <a:lnTo>
                  <a:pt x="1357007" y="874314"/>
                </a:lnTo>
                <a:lnTo>
                  <a:pt x="1363079" y="856099"/>
                </a:lnTo>
                <a:lnTo>
                  <a:pt x="1369151" y="856099"/>
                </a:lnTo>
                <a:lnTo>
                  <a:pt x="1375222" y="856099"/>
                </a:lnTo>
                <a:lnTo>
                  <a:pt x="1381294" y="850027"/>
                </a:lnTo>
                <a:lnTo>
                  <a:pt x="1387365" y="846992"/>
                </a:lnTo>
                <a:close/>
                <a:moveTo>
                  <a:pt x="3075276" y="828776"/>
                </a:moveTo>
                <a:lnTo>
                  <a:pt x="3081348" y="837884"/>
                </a:lnTo>
                <a:lnTo>
                  <a:pt x="3081348" y="868242"/>
                </a:lnTo>
                <a:lnTo>
                  <a:pt x="3084384" y="895564"/>
                </a:lnTo>
                <a:lnTo>
                  <a:pt x="3081348" y="901635"/>
                </a:lnTo>
                <a:lnTo>
                  <a:pt x="3075276" y="871277"/>
                </a:lnTo>
                <a:lnTo>
                  <a:pt x="3072241" y="850026"/>
                </a:lnTo>
                <a:close/>
                <a:moveTo>
                  <a:pt x="1396473" y="828776"/>
                </a:moveTo>
                <a:lnTo>
                  <a:pt x="1396473" y="831813"/>
                </a:lnTo>
                <a:lnTo>
                  <a:pt x="1366115" y="843956"/>
                </a:lnTo>
                <a:close/>
                <a:moveTo>
                  <a:pt x="1314505" y="822705"/>
                </a:moveTo>
                <a:lnTo>
                  <a:pt x="1335756" y="837884"/>
                </a:lnTo>
                <a:lnTo>
                  <a:pt x="1335756" y="846992"/>
                </a:lnTo>
                <a:lnTo>
                  <a:pt x="1326649" y="853063"/>
                </a:lnTo>
                <a:lnTo>
                  <a:pt x="1317542" y="853063"/>
                </a:lnTo>
                <a:lnTo>
                  <a:pt x="1308434" y="850027"/>
                </a:lnTo>
                <a:lnTo>
                  <a:pt x="1305398" y="825741"/>
                </a:lnTo>
                <a:close/>
                <a:moveTo>
                  <a:pt x="1214324" y="822705"/>
                </a:moveTo>
                <a:lnTo>
                  <a:pt x="1223431" y="822705"/>
                </a:lnTo>
                <a:lnTo>
                  <a:pt x="1226467" y="837884"/>
                </a:lnTo>
                <a:lnTo>
                  <a:pt x="1226467" y="859135"/>
                </a:lnTo>
                <a:lnTo>
                  <a:pt x="1235575" y="877350"/>
                </a:lnTo>
                <a:lnTo>
                  <a:pt x="1244682" y="895565"/>
                </a:lnTo>
                <a:lnTo>
                  <a:pt x="1259861" y="898600"/>
                </a:lnTo>
                <a:lnTo>
                  <a:pt x="1272005" y="889493"/>
                </a:lnTo>
                <a:lnTo>
                  <a:pt x="1290219" y="913779"/>
                </a:lnTo>
                <a:lnTo>
                  <a:pt x="1290219" y="931995"/>
                </a:lnTo>
                <a:lnTo>
                  <a:pt x="1284147" y="950209"/>
                </a:lnTo>
                <a:lnTo>
                  <a:pt x="1278075" y="968424"/>
                </a:lnTo>
                <a:lnTo>
                  <a:pt x="1272005" y="974496"/>
                </a:lnTo>
                <a:lnTo>
                  <a:pt x="1250754" y="983603"/>
                </a:lnTo>
                <a:lnTo>
                  <a:pt x="1244682" y="977531"/>
                </a:lnTo>
                <a:lnTo>
                  <a:pt x="1229503" y="983603"/>
                </a:lnTo>
                <a:lnTo>
                  <a:pt x="1223431" y="971460"/>
                </a:lnTo>
                <a:lnTo>
                  <a:pt x="1214324" y="977531"/>
                </a:lnTo>
                <a:lnTo>
                  <a:pt x="1205216" y="986639"/>
                </a:lnTo>
                <a:lnTo>
                  <a:pt x="1193073" y="989675"/>
                </a:lnTo>
                <a:lnTo>
                  <a:pt x="1187002" y="992710"/>
                </a:lnTo>
                <a:lnTo>
                  <a:pt x="1180930" y="1001818"/>
                </a:lnTo>
                <a:lnTo>
                  <a:pt x="1165751" y="1010926"/>
                </a:lnTo>
                <a:lnTo>
                  <a:pt x="1141465" y="1023068"/>
                </a:lnTo>
                <a:lnTo>
                  <a:pt x="1117178" y="1016996"/>
                </a:lnTo>
                <a:lnTo>
                  <a:pt x="1108071" y="1004854"/>
                </a:lnTo>
                <a:lnTo>
                  <a:pt x="1101999" y="986639"/>
                </a:lnTo>
                <a:lnTo>
                  <a:pt x="1095927" y="977531"/>
                </a:lnTo>
                <a:lnTo>
                  <a:pt x="1086820" y="977531"/>
                </a:lnTo>
                <a:lnTo>
                  <a:pt x="1080748" y="974496"/>
                </a:lnTo>
                <a:lnTo>
                  <a:pt x="1077713" y="977531"/>
                </a:lnTo>
                <a:lnTo>
                  <a:pt x="1068606" y="968424"/>
                </a:lnTo>
                <a:lnTo>
                  <a:pt x="1059497" y="965388"/>
                </a:lnTo>
                <a:lnTo>
                  <a:pt x="1041283" y="959316"/>
                </a:lnTo>
                <a:lnTo>
                  <a:pt x="1041283" y="947173"/>
                </a:lnTo>
                <a:lnTo>
                  <a:pt x="1044319" y="941102"/>
                </a:lnTo>
                <a:lnTo>
                  <a:pt x="1047355" y="928958"/>
                </a:lnTo>
                <a:lnTo>
                  <a:pt x="1053427" y="913779"/>
                </a:lnTo>
                <a:lnTo>
                  <a:pt x="1056462" y="904672"/>
                </a:lnTo>
                <a:lnTo>
                  <a:pt x="1059497" y="883421"/>
                </a:lnTo>
                <a:lnTo>
                  <a:pt x="1065569" y="877350"/>
                </a:lnTo>
                <a:lnTo>
                  <a:pt x="1074677" y="865206"/>
                </a:lnTo>
                <a:lnTo>
                  <a:pt x="1083784" y="853063"/>
                </a:lnTo>
                <a:lnTo>
                  <a:pt x="1111107" y="853063"/>
                </a:lnTo>
                <a:lnTo>
                  <a:pt x="1111107" y="859135"/>
                </a:lnTo>
                <a:lnTo>
                  <a:pt x="1111107" y="868242"/>
                </a:lnTo>
                <a:lnTo>
                  <a:pt x="1114142" y="877350"/>
                </a:lnTo>
                <a:lnTo>
                  <a:pt x="1123249" y="874314"/>
                </a:lnTo>
                <a:lnTo>
                  <a:pt x="1147536" y="883421"/>
                </a:lnTo>
                <a:lnTo>
                  <a:pt x="1159679" y="901636"/>
                </a:lnTo>
                <a:lnTo>
                  <a:pt x="1165751" y="919851"/>
                </a:lnTo>
                <a:lnTo>
                  <a:pt x="1168787" y="928958"/>
                </a:lnTo>
                <a:lnTo>
                  <a:pt x="1177894" y="931995"/>
                </a:lnTo>
                <a:lnTo>
                  <a:pt x="1183965" y="928958"/>
                </a:lnTo>
                <a:lnTo>
                  <a:pt x="1187002" y="931995"/>
                </a:lnTo>
                <a:lnTo>
                  <a:pt x="1211288" y="935030"/>
                </a:lnTo>
                <a:lnTo>
                  <a:pt x="1220396" y="935030"/>
                </a:lnTo>
                <a:lnTo>
                  <a:pt x="1220396" y="919851"/>
                </a:lnTo>
                <a:lnTo>
                  <a:pt x="1214324" y="913779"/>
                </a:lnTo>
                <a:lnTo>
                  <a:pt x="1196109" y="901636"/>
                </a:lnTo>
                <a:lnTo>
                  <a:pt x="1202181" y="898600"/>
                </a:lnTo>
                <a:lnTo>
                  <a:pt x="1211288" y="886457"/>
                </a:lnTo>
                <a:lnTo>
                  <a:pt x="1199145" y="874314"/>
                </a:lnTo>
                <a:lnTo>
                  <a:pt x="1199145" y="850027"/>
                </a:lnTo>
                <a:lnTo>
                  <a:pt x="1205216" y="834848"/>
                </a:lnTo>
                <a:close/>
                <a:moveTo>
                  <a:pt x="1608979" y="819669"/>
                </a:moveTo>
                <a:lnTo>
                  <a:pt x="1615051" y="828776"/>
                </a:lnTo>
                <a:lnTo>
                  <a:pt x="1615051" y="850027"/>
                </a:lnTo>
                <a:lnTo>
                  <a:pt x="1605944" y="846992"/>
                </a:lnTo>
                <a:lnTo>
                  <a:pt x="1599872" y="834848"/>
                </a:lnTo>
                <a:lnTo>
                  <a:pt x="1596835" y="825741"/>
                </a:lnTo>
                <a:lnTo>
                  <a:pt x="1602907" y="822705"/>
                </a:lnTo>
                <a:close/>
                <a:moveTo>
                  <a:pt x="1111107" y="816634"/>
                </a:moveTo>
                <a:lnTo>
                  <a:pt x="1126286" y="825741"/>
                </a:lnTo>
                <a:lnTo>
                  <a:pt x="1111107" y="831813"/>
                </a:lnTo>
                <a:lnTo>
                  <a:pt x="1095927" y="828776"/>
                </a:lnTo>
                <a:close/>
                <a:moveTo>
                  <a:pt x="4861851" y="804489"/>
                </a:moveTo>
                <a:lnTo>
                  <a:pt x="4877030" y="807526"/>
                </a:lnTo>
                <a:lnTo>
                  <a:pt x="4889173" y="825740"/>
                </a:lnTo>
                <a:lnTo>
                  <a:pt x="4886137" y="850026"/>
                </a:lnTo>
                <a:lnTo>
                  <a:pt x="4880065" y="856098"/>
                </a:lnTo>
                <a:lnTo>
                  <a:pt x="4867922" y="874313"/>
                </a:lnTo>
                <a:lnTo>
                  <a:pt x="4840600" y="889492"/>
                </a:lnTo>
                <a:lnTo>
                  <a:pt x="4822385" y="901635"/>
                </a:lnTo>
                <a:lnTo>
                  <a:pt x="4767741" y="928958"/>
                </a:lnTo>
                <a:lnTo>
                  <a:pt x="4716132" y="980566"/>
                </a:lnTo>
                <a:lnTo>
                  <a:pt x="4719167" y="983603"/>
                </a:lnTo>
                <a:lnTo>
                  <a:pt x="4688809" y="1016996"/>
                </a:lnTo>
                <a:lnTo>
                  <a:pt x="4676666" y="1029139"/>
                </a:lnTo>
                <a:lnTo>
                  <a:pt x="4667559" y="1053426"/>
                </a:lnTo>
                <a:lnTo>
                  <a:pt x="4646308" y="1095927"/>
                </a:lnTo>
                <a:lnTo>
                  <a:pt x="4634164" y="1108071"/>
                </a:lnTo>
                <a:lnTo>
                  <a:pt x="4603806" y="1089855"/>
                </a:lnTo>
                <a:lnTo>
                  <a:pt x="4585592" y="1095927"/>
                </a:lnTo>
                <a:lnTo>
                  <a:pt x="4576484" y="1089855"/>
                </a:lnTo>
                <a:lnTo>
                  <a:pt x="4573449" y="1071641"/>
                </a:lnTo>
                <a:lnTo>
                  <a:pt x="4573449" y="1065569"/>
                </a:lnTo>
                <a:lnTo>
                  <a:pt x="4588628" y="1056462"/>
                </a:lnTo>
                <a:lnTo>
                  <a:pt x="4603806" y="1044318"/>
                </a:lnTo>
                <a:lnTo>
                  <a:pt x="4615950" y="1047355"/>
                </a:lnTo>
                <a:lnTo>
                  <a:pt x="4618985" y="1038247"/>
                </a:lnTo>
                <a:lnTo>
                  <a:pt x="4618985" y="1013960"/>
                </a:lnTo>
                <a:lnTo>
                  <a:pt x="4612914" y="1010925"/>
                </a:lnTo>
                <a:lnTo>
                  <a:pt x="4612914" y="1001817"/>
                </a:lnTo>
                <a:lnTo>
                  <a:pt x="4618985" y="989674"/>
                </a:lnTo>
                <a:lnTo>
                  <a:pt x="4615950" y="974495"/>
                </a:lnTo>
                <a:lnTo>
                  <a:pt x="4622022" y="959315"/>
                </a:lnTo>
                <a:lnTo>
                  <a:pt x="4628094" y="962352"/>
                </a:lnTo>
                <a:lnTo>
                  <a:pt x="4631129" y="956280"/>
                </a:lnTo>
                <a:lnTo>
                  <a:pt x="4661487" y="928958"/>
                </a:lnTo>
                <a:lnTo>
                  <a:pt x="4667559" y="919850"/>
                </a:lnTo>
                <a:lnTo>
                  <a:pt x="4673630" y="913779"/>
                </a:lnTo>
                <a:lnTo>
                  <a:pt x="4685774" y="904671"/>
                </a:lnTo>
                <a:lnTo>
                  <a:pt x="4697917" y="898600"/>
                </a:lnTo>
                <a:lnTo>
                  <a:pt x="4737383" y="868242"/>
                </a:lnTo>
                <a:lnTo>
                  <a:pt x="4752562" y="874313"/>
                </a:lnTo>
                <a:lnTo>
                  <a:pt x="4788991" y="862170"/>
                </a:lnTo>
                <a:lnTo>
                  <a:pt x="4816314" y="843956"/>
                </a:lnTo>
                <a:lnTo>
                  <a:pt x="4825421" y="828776"/>
                </a:lnTo>
                <a:lnTo>
                  <a:pt x="4837563" y="816633"/>
                </a:lnTo>
                <a:close/>
                <a:moveTo>
                  <a:pt x="1484511" y="801455"/>
                </a:moveTo>
                <a:lnTo>
                  <a:pt x="1508797" y="807527"/>
                </a:lnTo>
                <a:lnTo>
                  <a:pt x="1527012" y="813597"/>
                </a:lnTo>
                <a:lnTo>
                  <a:pt x="1536119" y="816634"/>
                </a:lnTo>
                <a:lnTo>
                  <a:pt x="1542191" y="834848"/>
                </a:lnTo>
                <a:lnTo>
                  <a:pt x="1557370" y="837884"/>
                </a:lnTo>
                <a:lnTo>
                  <a:pt x="1572549" y="834848"/>
                </a:lnTo>
                <a:lnTo>
                  <a:pt x="1587728" y="837884"/>
                </a:lnTo>
                <a:lnTo>
                  <a:pt x="1599872" y="853063"/>
                </a:lnTo>
                <a:lnTo>
                  <a:pt x="1587728" y="853063"/>
                </a:lnTo>
                <a:lnTo>
                  <a:pt x="1602907" y="859135"/>
                </a:lnTo>
                <a:lnTo>
                  <a:pt x="1612015" y="865206"/>
                </a:lnTo>
                <a:lnTo>
                  <a:pt x="1624158" y="871278"/>
                </a:lnTo>
                <a:lnTo>
                  <a:pt x="1627194" y="910744"/>
                </a:lnTo>
                <a:lnTo>
                  <a:pt x="1618086" y="925923"/>
                </a:lnTo>
                <a:lnTo>
                  <a:pt x="1624158" y="935030"/>
                </a:lnTo>
                <a:lnTo>
                  <a:pt x="1630230" y="941102"/>
                </a:lnTo>
                <a:lnTo>
                  <a:pt x="1636301" y="938066"/>
                </a:lnTo>
                <a:lnTo>
                  <a:pt x="1639337" y="922886"/>
                </a:lnTo>
                <a:lnTo>
                  <a:pt x="1654516" y="928958"/>
                </a:lnTo>
                <a:lnTo>
                  <a:pt x="1666659" y="925923"/>
                </a:lnTo>
                <a:lnTo>
                  <a:pt x="1697017" y="928958"/>
                </a:lnTo>
                <a:lnTo>
                  <a:pt x="1706124" y="928958"/>
                </a:lnTo>
                <a:lnTo>
                  <a:pt x="1721304" y="925923"/>
                </a:lnTo>
                <a:lnTo>
                  <a:pt x="1733447" y="913779"/>
                </a:lnTo>
                <a:lnTo>
                  <a:pt x="1736483" y="913779"/>
                </a:lnTo>
                <a:lnTo>
                  <a:pt x="1745590" y="916816"/>
                </a:lnTo>
                <a:lnTo>
                  <a:pt x="1769877" y="907707"/>
                </a:lnTo>
                <a:lnTo>
                  <a:pt x="1821485" y="935030"/>
                </a:lnTo>
                <a:lnTo>
                  <a:pt x="1827557" y="959316"/>
                </a:lnTo>
                <a:lnTo>
                  <a:pt x="1827557" y="983603"/>
                </a:lnTo>
                <a:lnTo>
                  <a:pt x="1824522" y="986639"/>
                </a:lnTo>
                <a:lnTo>
                  <a:pt x="1818450" y="989675"/>
                </a:lnTo>
                <a:lnTo>
                  <a:pt x="1812378" y="1004854"/>
                </a:lnTo>
                <a:lnTo>
                  <a:pt x="1803271" y="1010926"/>
                </a:lnTo>
                <a:lnTo>
                  <a:pt x="1772913" y="1016996"/>
                </a:lnTo>
                <a:lnTo>
                  <a:pt x="1760769" y="1013961"/>
                </a:lnTo>
                <a:lnTo>
                  <a:pt x="1754698" y="1010926"/>
                </a:lnTo>
                <a:lnTo>
                  <a:pt x="1751662" y="1007889"/>
                </a:lnTo>
                <a:lnTo>
                  <a:pt x="1724340" y="1013961"/>
                </a:lnTo>
                <a:lnTo>
                  <a:pt x="1697017" y="1016996"/>
                </a:lnTo>
                <a:lnTo>
                  <a:pt x="1642373" y="1016996"/>
                </a:lnTo>
                <a:lnTo>
                  <a:pt x="1639337" y="1010926"/>
                </a:lnTo>
                <a:lnTo>
                  <a:pt x="1642373" y="992710"/>
                </a:lnTo>
                <a:lnTo>
                  <a:pt x="1639337" y="983603"/>
                </a:lnTo>
                <a:lnTo>
                  <a:pt x="1630230" y="992710"/>
                </a:lnTo>
                <a:lnTo>
                  <a:pt x="1627194" y="1004854"/>
                </a:lnTo>
                <a:lnTo>
                  <a:pt x="1624158" y="1010926"/>
                </a:lnTo>
                <a:lnTo>
                  <a:pt x="1599872" y="1007889"/>
                </a:lnTo>
                <a:lnTo>
                  <a:pt x="1587728" y="1001818"/>
                </a:lnTo>
                <a:lnTo>
                  <a:pt x="1578621" y="1004854"/>
                </a:lnTo>
                <a:lnTo>
                  <a:pt x="1572549" y="998782"/>
                </a:lnTo>
                <a:lnTo>
                  <a:pt x="1566478" y="992710"/>
                </a:lnTo>
                <a:lnTo>
                  <a:pt x="1557370" y="953245"/>
                </a:lnTo>
                <a:lnTo>
                  <a:pt x="1566478" y="928958"/>
                </a:lnTo>
                <a:lnTo>
                  <a:pt x="1566478" y="907707"/>
                </a:lnTo>
                <a:lnTo>
                  <a:pt x="1563442" y="901636"/>
                </a:lnTo>
                <a:lnTo>
                  <a:pt x="1557370" y="895565"/>
                </a:lnTo>
                <a:lnTo>
                  <a:pt x="1554335" y="886457"/>
                </a:lnTo>
                <a:lnTo>
                  <a:pt x="1554335" y="883421"/>
                </a:lnTo>
                <a:lnTo>
                  <a:pt x="1545227" y="865206"/>
                </a:lnTo>
                <a:lnTo>
                  <a:pt x="1539155" y="862171"/>
                </a:lnTo>
                <a:lnTo>
                  <a:pt x="1527012" y="871278"/>
                </a:lnTo>
                <a:lnTo>
                  <a:pt x="1508797" y="868242"/>
                </a:lnTo>
                <a:lnTo>
                  <a:pt x="1499690" y="874314"/>
                </a:lnTo>
                <a:lnTo>
                  <a:pt x="1496654" y="868242"/>
                </a:lnTo>
                <a:lnTo>
                  <a:pt x="1487546" y="856099"/>
                </a:lnTo>
                <a:lnTo>
                  <a:pt x="1466297" y="828776"/>
                </a:lnTo>
                <a:lnTo>
                  <a:pt x="1466297" y="813597"/>
                </a:lnTo>
                <a:lnTo>
                  <a:pt x="1472368" y="804490"/>
                </a:lnTo>
                <a:close/>
                <a:moveTo>
                  <a:pt x="5456869" y="786275"/>
                </a:moveTo>
                <a:lnTo>
                  <a:pt x="5459904" y="792346"/>
                </a:lnTo>
                <a:lnTo>
                  <a:pt x="5444725" y="807525"/>
                </a:lnTo>
                <a:lnTo>
                  <a:pt x="5429547" y="807525"/>
                </a:lnTo>
                <a:lnTo>
                  <a:pt x="5441690" y="798417"/>
                </a:lnTo>
                <a:close/>
                <a:moveTo>
                  <a:pt x="5681519" y="774131"/>
                </a:moveTo>
                <a:lnTo>
                  <a:pt x="5687591" y="774131"/>
                </a:lnTo>
                <a:lnTo>
                  <a:pt x="5687591" y="780203"/>
                </a:lnTo>
                <a:lnTo>
                  <a:pt x="5684554" y="783238"/>
                </a:lnTo>
                <a:lnTo>
                  <a:pt x="5678483" y="783238"/>
                </a:lnTo>
                <a:close/>
                <a:moveTo>
                  <a:pt x="1994528" y="761988"/>
                </a:moveTo>
                <a:lnTo>
                  <a:pt x="2006672" y="761988"/>
                </a:lnTo>
                <a:lnTo>
                  <a:pt x="2021851" y="768060"/>
                </a:lnTo>
                <a:lnTo>
                  <a:pt x="2006672" y="771095"/>
                </a:lnTo>
                <a:close/>
                <a:moveTo>
                  <a:pt x="1976314" y="761988"/>
                </a:moveTo>
                <a:lnTo>
                  <a:pt x="1988456" y="768060"/>
                </a:lnTo>
                <a:lnTo>
                  <a:pt x="1994528" y="771095"/>
                </a:lnTo>
                <a:lnTo>
                  <a:pt x="1988456" y="774132"/>
                </a:lnTo>
                <a:lnTo>
                  <a:pt x="1979349" y="777167"/>
                </a:lnTo>
                <a:lnTo>
                  <a:pt x="1967207" y="768060"/>
                </a:lnTo>
                <a:close/>
                <a:moveTo>
                  <a:pt x="1068606" y="755917"/>
                </a:moveTo>
                <a:lnTo>
                  <a:pt x="1077713" y="768060"/>
                </a:lnTo>
                <a:lnTo>
                  <a:pt x="1083784" y="777168"/>
                </a:lnTo>
                <a:lnTo>
                  <a:pt x="1068606" y="786276"/>
                </a:lnTo>
                <a:lnTo>
                  <a:pt x="1074677" y="810562"/>
                </a:lnTo>
                <a:lnTo>
                  <a:pt x="1074677" y="822705"/>
                </a:lnTo>
                <a:lnTo>
                  <a:pt x="1074677" y="834848"/>
                </a:lnTo>
                <a:lnTo>
                  <a:pt x="1056462" y="859135"/>
                </a:lnTo>
                <a:lnTo>
                  <a:pt x="1044319" y="871278"/>
                </a:lnTo>
                <a:lnTo>
                  <a:pt x="1029140" y="859135"/>
                </a:lnTo>
                <a:lnTo>
                  <a:pt x="1032176" y="825741"/>
                </a:lnTo>
                <a:lnTo>
                  <a:pt x="1020032" y="831813"/>
                </a:lnTo>
                <a:lnTo>
                  <a:pt x="1023068" y="834848"/>
                </a:lnTo>
                <a:lnTo>
                  <a:pt x="1016997" y="868242"/>
                </a:lnTo>
                <a:lnTo>
                  <a:pt x="1007889" y="889493"/>
                </a:lnTo>
                <a:lnTo>
                  <a:pt x="983602" y="910744"/>
                </a:lnTo>
                <a:lnTo>
                  <a:pt x="977531" y="892528"/>
                </a:lnTo>
                <a:lnTo>
                  <a:pt x="971459" y="886457"/>
                </a:lnTo>
                <a:lnTo>
                  <a:pt x="968424" y="889493"/>
                </a:lnTo>
                <a:lnTo>
                  <a:pt x="953245" y="892528"/>
                </a:lnTo>
                <a:lnTo>
                  <a:pt x="947173" y="889493"/>
                </a:lnTo>
                <a:lnTo>
                  <a:pt x="947173" y="895565"/>
                </a:lnTo>
                <a:lnTo>
                  <a:pt x="944137" y="895565"/>
                </a:lnTo>
                <a:lnTo>
                  <a:pt x="925922" y="886457"/>
                </a:lnTo>
                <a:lnTo>
                  <a:pt x="938066" y="862171"/>
                </a:lnTo>
                <a:lnTo>
                  <a:pt x="950208" y="856099"/>
                </a:lnTo>
                <a:lnTo>
                  <a:pt x="959317" y="853063"/>
                </a:lnTo>
                <a:lnTo>
                  <a:pt x="965387" y="840920"/>
                </a:lnTo>
                <a:lnTo>
                  <a:pt x="971459" y="834848"/>
                </a:lnTo>
                <a:lnTo>
                  <a:pt x="983602" y="816634"/>
                </a:lnTo>
                <a:lnTo>
                  <a:pt x="995746" y="792347"/>
                </a:lnTo>
                <a:lnTo>
                  <a:pt x="1007889" y="774132"/>
                </a:lnTo>
                <a:lnTo>
                  <a:pt x="1020032" y="771096"/>
                </a:lnTo>
                <a:lnTo>
                  <a:pt x="1032176" y="768060"/>
                </a:lnTo>
                <a:lnTo>
                  <a:pt x="1035211" y="771096"/>
                </a:lnTo>
                <a:lnTo>
                  <a:pt x="1050390" y="758953"/>
                </a:lnTo>
                <a:close/>
                <a:moveTo>
                  <a:pt x="1590765" y="743774"/>
                </a:moveTo>
                <a:lnTo>
                  <a:pt x="1599872" y="746810"/>
                </a:lnTo>
                <a:lnTo>
                  <a:pt x="1615051" y="768060"/>
                </a:lnTo>
                <a:lnTo>
                  <a:pt x="1615051" y="777168"/>
                </a:lnTo>
                <a:lnTo>
                  <a:pt x="1612015" y="783239"/>
                </a:lnTo>
                <a:lnTo>
                  <a:pt x="1599872" y="786276"/>
                </a:lnTo>
                <a:lnTo>
                  <a:pt x="1584693" y="768060"/>
                </a:lnTo>
                <a:close/>
                <a:moveTo>
                  <a:pt x="5617767" y="737701"/>
                </a:moveTo>
                <a:lnTo>
                  <a:pt x="5642053" y="752880"/>
                </a:lnTo>
                <a:lnTo>
                  <a:pt x="5660268" y="771095"/>
                </a:lnTo>
                <a:lnTo>
                  <a:pt x="5666340" y="801454"/>
                </a:lnTo>
                <a:lnTo>
                  <a:pt x="5681519" y="810561"/>
                </a:lnTo>
                <a:lnTo>
                  <a:pt x="5669375" y="834847"/>
                </a:lnTo>
                <a:lnTo>
                  <a:pt x="5663304" y="843955"/>
                </a:lnTo>
                <a:lnTo>
                  <a:pt x="5660268" y="840919"/>
                </a:lnTo>
                <a:lnTo>
                  <a:pt x="5660268" y="850026"/>
                </a:lnTo>
                <a:lnTo>
                  <a:pt x="5666340" y="850026"/>
                </a:lnTo>
                <a:lnTo>
                  <a:pt x="5681519" y="850026"/>
                </a:lnTo>
                <a:lnTo>
                  <a:pt x="5693662" y="843955"/>
                </a:lnTo>
                <a:lnTo>
                  <a:pt x="5696698" y="834847"/>
                </a:lnTo>
                <a:lnTo>
                  <a:pt x="5705805" y="831812"/>
                </a:lnTo>
                <a:lnTo>
                  <a:pt x="5730092" y="828775"/>
                </a:lnTo>
                <a:lnTo>
                  <a:pt x="5757414" y="828775"/>
                </a:lnTo>
                <a:lnTo>
                  <a:pt x="5769557" y="834847"/>
                </a:lnTo>
                <a:lnTo>
                  <a:pt x="5781701" y="853062"/>
                </a:lnTo>
                <a:lnTo>
                  <a:pt x="5781701" y="856098"/>
                </a:lnTo>
                <a:lnTo>
                  <a:pt x="5790808" y="862170"/>
                </a:lnTo>
                <a:lnTo>
                  <a:pt x="5802952" y="871277"/>
                </a:lnTo>
                <a:lnTo>
                  <a:pt x="5805987" y="880385"/>
                </a:lnTo>
                <a:lnTo>
                  <a:pt x="5805987" y="886456"/>
                </a:lnTo>
                <a:lnTo>
                  <a:pt x="5809022" y="892527"/>
                </a:lnTo>
                <a:lnTo>
                  <a:pt x="5809022" y="901635"/>
                </a:lnTo>
                <a:lnTo>
                  <a:pt x="5815094" y="898599"/>
                </a:lnTo>
                <a:lnTo>
                  <a:pt x="5812059" y="922885"/>
                </a:lnTo>
                <a:lnTo>
                  <a:pt x="5809022" y="941101"/>
                </a:lnTo>
                <a:lnTo>
                  <a:pt x="5809022" y="953244"/>
                </a:lnTo>
                <a:lnTo>
                  <a:pt x="5802952" y="965387"/>
                </a:lnTo>
                <a:lnTo>
                  <a:pt x="5793843" y="977530"/>
                </a:lnTo>
                <a:lnTo>
                  <a:pt x="5787773" y="983602"/>
                </a:lnTo>
                <a:lnTo>
                  <a:pt x="5778664" y="992709"/>
                </a:lnTo>
                <a:lnTo>
                  <a:pt x="5748307" y="1016995"/>
                </a:lnTo>
                <a:lnTo>
                  <a:pt x="5736163" y="1032175"/>
                </a:lnTo>
                <a:lnTo>
                  <a:pt x="5733128" y="1038246"/>
                </a:lnTo>
                <a:lnTo>
                  <a:pt x="5733128" y="1041283"/>
                </a:lnTo>
                <a:lnTo>
                  <a:pt x="5724020" y="1047354"/>
                </a:lnTo>
                <a:lnTo>
                  <a:pt x="5714912" y="1053425"/>
                </a:lnTo>
                <a:lnTo>
                  <a:pt x="5708841" y="1062533"/>
                </a:lnTo>
                <a:lnTo>
                  <a:pt x="5705805" y="1071641"/>
                </a:lnTo>
                <a:lnTo>
                  <a:pt x="5678483" y="1080748"/>
                </a:lnTo>
                <a:lnTo>
                  <a:pt x="5675447" y="1086819"/>
                </a:lnTo>
                <a:lnTo>
                  <a:pt x="5669375" y="1101998"/>
                </a:lnTo>
                <a:lnTo>
                  <a:pt x="5675447" y="1114142"/>
                </a:lnTo>
                <a:lnTo>
                  <a:pt x="5702770" y="1108070"/>
                </a:lnTo>
                <a:lnTo>
                  <a:pt x="5730092" y="1092891"/>
                </a:lnTo>
                <a:lnTo>
                  <a:pt x="5742235" y="1086819"/>
                </a:lnTo>
                <a:lnTo>
                  <a:pt x="5751342" y="1080748"/>
                </a:lnTo>
                <a:lnTo>
                  <a:pt x="5754378" y="1074676"/>
                </a:lnTo>
                <a:lnTo>
                  <a:pt x="5748307" y="1071641"/>
                </a:lnTo>
                <a:lnTo>
                  <a:pt x="5736163" y="1077712"/>
                </a:lnTo>
                <a:lnTo>
                  <a:pt x="5727056" y="1071641"/>
                </a:lnTo>
                <a:lnTo>
                  <a:pt x="5733128" y="1056462"/>
                </a:lnTo>
                <a:lnTo>
                  <a:pt x="5742235" y="1053425"/>
                </a:lnTo>
                <a:lnTo>
                  <a:pt x="5757414" y="1053425"/>
                </a:lnTo>
                <a:lnTo>
                  <a:pt x="5760450" y="1059497"/>
                </a:lnTo>
                <a:lnTo>
                  <a:pt x="5766522" y="1068605"/>
                </a:lnTo>
                <a:lnTo>
                  <a:pt x="5778664" y="1074676"/>
                </a:lnTo>
                <a:lnTo>
                  <a:pt x="5790808" y="1074676"/>
                </a:lnTo>
                <a:lnTo>
                  <a:pt x="5796880" y="1068605"/>
                </a:lnTo>
                <a:lnTo>
                  <a:pt x="5796880" y="1056462"/>
                </a:lnTo>
                <a:lnTo>
                  <a:pt x="5802952" y="1071641"/>
                </a:lnTo>
                <a:lnTo>
                  <a:pt x="5805987" y="1092891"/>
                </a:lnTo>
                <a:lnTo>
                  <a:pt x="5805987" y="1089855"/>
                </a:lnTo>
                <a:lnTo>
                  <a:pt x="5818130" y="1083784"/>
                </a:lnTo>
                <a:lnTo>
                  <a:pt x="5842417" y="1074676"/>
                </a:lnTo>
                <a:lnTo>
                  <a:pt x="5869739" y="1077712"/>
                </a:lnTo>
                <a:lnTo>
                  <a:pt x="5897062" y="1083784"/>
                </a:lnTo>
                <a:lnTo>
                  <a:pt x="5909204" y="1092891"/>
                </a:lnTo>
                <a:lnTo>
                  <a:pt x="5909204" y="1111106"/>
                </a:lnTo>
                <a:lnTo>
                  <a:pt x="5915276" y="1114142"/>
                </a:lnTo>
                <a:lnTo>
                  <a:pt x="5936527" y="1129321"/>
                </a:lnTo>
                <a:lnTo>
                  <a:pt x="5945634" y="1126286"/>
                </a:lnTo>
                <a:lnTo>
                  <a:pt x="5972956" y="1129321"/>
                </a:lnTo>
                <a:lnTo>
                  <a:pt x="6003314" y="1141465"/>
                </a:lnTo>
                <a:lnTo>
                  <a:pt x="6012421" y="1144500"/>
                </a:lnTo>
                <a:lnTo>
                  <a:pt x="6021529" y="1144500"/>
                </a:lnTo>
                <a:lnTo>
                  <a:pt x="6039744" y="1150572"/>
                </a:lnTo>
                <a:lnTo>
                  <a:pt x="6048851" y="1159679"/>
                </a:lnTo>
                <a:lnTo>
                  <a:pt x="6051887" y="1165751"/>
                </a:lnTo>
                <a:lnTo>
                  <a:pt x="6057959" y="1171822"/>
                </a:lnTo>
                <a:lnTo>
                  <a:pt x="6067066" y="1177894"/>
                </a:lnTo>
                <a:lnTo>
                  <a:pt x="6076174" y="1174858"/>
                </a:lnTo>
                <a:lnTo>
                  <a:pt x="6082245" y="1171822"/>
                </a:lnTo>
                <a:lnTo>
                  <a:pt x="6085281" y="1168786"/>
                </a:lnTo>
                <a:lnTo>
                  <a:pt x="6091352" y="1168786"/>
                </a:lnTo>
                <a:lnTo>
                  <a:pt x="6100461" y="1171822"/>
                </a:lnTo>
                <a:lnTo>
                  <a:pt x="6127782" y="1211288"/>
                </a:lnTo>
                <a:lnTo>
                  <a:pt x="6136889" y="1235575"/>
                </a:lnTo>
                <a:lnTo>
                  <a:pt x="6149033" y="1253789"/>
                </a:lnTo>
                <a:lnTo>
                  <a:pt x="6155105" y="1262896"/>
                </a:lnTo>
                <a:lnTo>
                  <a:pt x="6161176" y="1268968"/>
                </a:lnTo>
                <a:lnTo>
                  <a:pt x="6173319" y="1275040"/>
                </a:lnTo>
                <a:lnTo>
                  <a:pt x="6188499" y="1235575"/>
                </a:lnTo>
                <a:lnTo>
                  <a:pt x="6197606" y="1208252"/>
                </a:lnTo>
                <a:lnTo>
                  <a:pt x="6206713" y="1205216"/>
                </a:lnTo>
                <a:lnTo>
                  <a:pt x="6203677" y="1211288"/>
                </a:lnTo>
                <a:lnTo>
                  <a:pt x="6209749" y="1220395"/>
                </a:lnTo>
                <a:lnTo>
                  <a:pt x="6221892" y="1229503"/>
                </a:lnTo>
                <a:lnTo>
                  <a:pt x="6234036" y="1235575"/>
                </a:lnTo>
                <a:lnTo>
                  <a:pt x="6246179" y="1232538"/>
                </a:lnTo>
                <a:lnTo>
                  <a:pt x="6267429" y="1220395"/>
                </a:lnTo>
                <a:lnTo>
                  <a:pt x="6282609" y="1226466"/>
                </a:lnTo>
                <a:lnTo>
                  <a:pt x="6291716" y="1232538"/>
                </a:lnTo>
                <a:lnTo>
                  <a:pt x="6300823" y="1235575"/>
                </a:lnTo>
                <a:lnTo>
                  <a:pt x="6309931" y="1253789"/>
                </a:lnTo>
                <a:lnTo>
                  <a:pt x="6322074" y="1238610"/>
                </a:lnTo>
                <a:lnTo>
                  <a:pt x="6316002" y="1238610"/>
                </a:lnTo>
                <a:lnTo>
                  <a:pt x="6309931" y="1235575"/>
                </a:lnTo>
                <a:lnTo>
                  <a:pt x="6316002" y="1223431"/>
                </a:lnTo>
                <a:lnTo>
                  <a:pt x="6319039" y="1220395"/>
                </a:lnTo>
                <a:lnTo>
                  <a:pt x="6331181" y="1220395"/>
                </a:lnTo>
                <a:lnTo>
                  <a:pt x="6334217" y="1226466"/>
                </a:lnTo>
                <a:lnTo>
                  <a:pt x="6340289" y="1232538"/>
                </a:lnTo>
                <a:lnTo>
                  <a:pt x="6352432" y="1223431"/>
                </a:lnTo>
                <a:lnTo>
                  <a:pt x="6349395" y="1187001"/>
                </a:lnTo>
                <a:lnTo>
                  <a:pt x="6349395" y="1180930"/>
                </a:lnTo>
                <a:lnTo>
                  <a:pt x="6344843" y="1183206"/>
                </a:lnTo>
                <a:lnTo>
                  <a:pt x="6340289" y="1180930"/>
                </a:lnTo>
                <a:lnTo>
                  <a:pt x="6340289" y="1187001"/>
                </a:lnTo>
                <a:lnTo>
                  <a:pt x="6337253" y="1180930"/>
                </a:lnTo>
                <a:lnTo>
                  <a:pt x="6343325" y="1162715"/>
                </a:lnTo>
                <a:lnTo>
                  <a:pt x="6361539" y="1162715"/>
                </a:lnTo>
                <a:lnTo>
                  <a:pt x="6370647" y="1159679"/>
                </a:lnTo>
                <a:lnTo>
                  <a:pt x="6376719" y="1156643"/>
                </a:lnTo>
                <a:lnTo>
                  <a:pt x="6373683" y="1147535"/>
                </a:lnTo>
                <a:lnTo>
                  <a:pt x="6367611" y="1135393"/>
                </a:lnTo>
                <a:lnTo>
                  <a:pt x="6373683" y="1135393"/>
                </a:lnTo>
                <a:lnTo>
                  <a:pt x="6382791" y="1138428"/>
                </a:lnTo>
                <a:lnTo>
                  <a:pt x="6394934" y="1144500"/>
                </a:lnTo>
                <a:lnTo>
                  <a:pt x="6419219" y="1147535"/>
                </a:lnTo>
                <a:lnTo>
                  <a:pt x="6446542" y="1153607"/>
                </a:lnTo>
                <a:lnTo>
                  <a:pt x="6470829" y="1159679"/>
                </a:lnTo>
                <a:lnTo>
                  <a:pt x="6495115" y="1168786"/>
                </a:lnTo>
                <a:lnTo>
                  <a:pt x="6504223" y="1171822"/>
                </a:lnTo>
                <a:lnTo>
                  <a:pt x="6528509" y="1174858"/>
                </a:lnTo>
                <a:lnTo>
                  <a:pt x="6552796" y="1183965"/>
                </a:lnTo>
                <a:lnTo>
                  <a:pt x="6561903" y="1199145"/>
                </a:lnTo>
                <a:lnTo>
                  <a:pt x="6555831" y="1211288"/>
                </a:lnTo>
                <a:lnTo>
                  <a:pt x="6546724" y="1202180"/>
                </a:lnTo>
                <a:lnTo>
                  <a:pt x="6540652" y="1211288"/>
                </a:lnTo>
                <a:lnTo>
                  <a:pt x="6537617" y="1217359"/>
                </a:lnTo>
                <a:lnTo>
                  <a:pt x="6549759" y="1217359"/>
                </a:lnTo>
                <a:lnTo>
                  <a:pt x="6558867" y="1229503"/>
                </a:lnTo>
                <a:lnTo>
                  <a:pt x="6564939" y="1226466"/>
                </a:lnTo>
                <a:lnTo>
                  <a:pt x="6574047" y="1226466"/>
                </a:lnTo>
                <a:lnTo>
                  <a:pt x="6574047" y="1241645"/>
                </a:lnTo>
                <a:lnTo>
                  <a:pt x="6595297" y="1241645"/>
                </a:lnTo>
                <a:lnTo>
                  <a:pt x="6598332" y="1247717"/>
                </a:lnTo>
                <a:lnTo>
                  <a:pt x="6616547" y="1272004"/>
                </a:lnTo>
                <a:lnTo>
                  <a:pt x="6628690" y="1268968"/>
                </a:lnTo>
                <a:lnTo>
                  <a:pt x="6652977" y="1259861"/>
                </a:lnTo>
                <a:lnTo>
                  <a:pt x="6704585" y="1253789"/>
                </a:lnTo>
                <a:lnTo>
                  <a:pt x="6728872" y="1256825"/>
                </a:lnTo>
                <a:lnTo>
                  <a:pt x="6753159" y="1272004"/>
                </a:lnTo>
                <a:lnTo>
                  <a:pt x="6762267" y="1287183"/>
                </a:lnTo>
                <a:lnTo>
                  <a:pt x="6768337" y="1308434"/>
                </a:lnTo>
                <a:lnTo>
                  <a:pt x="6762267" y="1314505"/>
                </a:lnTo>
                <a:lnTo>
                  <a:pt x="6762267" y="1326648"/>
                </a:lnTo>
                <a:lnTo>
                  <a:pt x="6771374" y="1338792"/>
                </a:lnTo>
                <a:lnTo>
                  <a:pt x="6774409" y="1341827"/>
                </a:lnTo>
                <a:lnTo>
                  <a:pt x="6780481" y="1341827"/>
                </a:lnTo>
                <a:lnTo>
                  <a:pt x="6798695" y="1357006"/>
                </a:lnTo>
                <a:lnTo>
                  <a:pt x="6819947" y="1341827"/>
                </a:lnTo>
                <a:lnTo>
                  <a:pt x="6847269" y="1338792"/>
                </a:lnTo>
                <a:lnTo>
                  <a:pt x="6853340" y="1341827"/>
                </a:lnTo>
                <a:lnTo>
                  <a:pt x="6859412" y="1344864"/>
                </a:lnTo>
                <a:lnTo>
                  <a:pt x="6868519" y="1347899"/>
                </a:lnTo>
                <a:lnTo>
                  <a:pt x="6892807" y="1350935"/>
                </a:lnTo>
                <a:lnTo>
                  <a:pt x="6917092" y="1347899"/>
                </a:lnTo>
                <a:lnTo>
                  <a:pt x="6926201" y="1335756"/>
                </a:lnTo>
                <a:lnTo>
                  <a:pt x="6935307" y="1341827"/>
                </a:lnTo>
                <a:lnTo>
                  <a:pt x="6944415" y="1363078"/>
                </a:lnTo>
                <a:lnTo>
                  <a:pt x="6956559" y="1375222"/>
                </a:lnTo>
                <a:lnTo>
                  <a:pt x="6962631" y="1375222"/>
                </a:lnTo>
                <a:lnTo>
                  <a:pt x="6962631" y="1387365"/>
                </a:lnTo>
                <a:lnTo>
                  <a:pt x="6968701" y="1393436"/>
                </a:lnTo>
                <a:lnTo>
                  <a:pt x="6983880" y="1390401"/>
                </a:lnTo>
                <a:lnTo>
                  <a:pt x="6989952" y="1384329"/>
                </a:lnTo>
                <a:lnTo>
                  <a:pt x="6996024" y="1378257"/>
                </a:lnTo>
                <a:lnTo>
                  <a:pt x="6992987" y="1363078"/>
                </a:lnTo>
                <a:lnTo>
                  <a:pt x="6986915" y="1350935"/>
                </a:lnTo>
                <a:lnTo>
                  <a:pt x="6986915" y="1332720"/>
                </a:lnTo>
                <a:lnTo>
                  <a:pt x="6983880" y="1314505"/>
                </a:lnTo>
                <a:lnTo>
                  <a:pt x="7020310" y="1323613"/>
                </a:lnTo>
                <a:lnTo>
                  <a:pt x="7038525" y="1326648"/>
                </a:lnTo>
                <a:lnTo>
                  <a:pt x="7041561" y="1326648"/>
                </a:lnTo>
                <a:lnTo>
                  <a:pt x="7044597" y="1323613"/>
                </a:lnTo>
                <a:lnTo>
                  <a:pt x="7050669" y="1329685"/>
                </a:lnTo>
                <a:lnTo>
                  <a:pt x="7065847" y="1329685"/>
                </a:lnTo>
                <a:lnTo>
                  <a:pt x="7081027" y="1329685"/>
                </a:lnTo>
                <a:lnTo>
                  <a:pt x="7090134" y="1326648"/>
                </a:lnTo>
                <a:lnTo>
                  <a:pt x="7102277" y="1329685"/>
                </a:lnTo>
                <a:lnTo>
                  <a:pt x="7126563" y="1347899"/>
                </a:lnTo>
                <a:lnTo>
                  <a:pt x="7141743" y="1353971"/>
                </a:lnTo>
                <a:lnTo>
                  <a:pt x="7144779" y="1353971"/>
                </a:lnTo>
                <a:lnTo>
                  <a:pt x="7150850" y="1353971"/>
                </a:lnTo>
                <a:lnTo>
                  <a:pt x="7175137" y="1375222"/>
                </a:lnTo>
                <a:lnTo>
                  <a:pt x="7181209" y="1381293"/>
                </a:lnTo>
                <a:lnTo>
                  <a:pt x="7196387" y="1390401"/>
                </a:lnTo>
                <a:lnTo>
                  <a:pt x="7211567" y="1402544"/>
                </a:lnTo>
                <a:lnTo>
                  <a:pt x="7208530" y="1402544"/>
                </a:lnTo>
                <a:lnTo>
                  <a:pt x="7220674" y="1420759"/>
                </a:lnTo>
                <a:lnTo>
                  <a:pt x="7226745" y="1417723"/>
                </a:lnTo>
                <a:lnTo>
                  <a:pt x="7232817" y="1420759"/>
                </a:lnTo>
                <a:lnTo>
                  <a:pt x="7260139" y="1442010"/>
                </a:lnTo>
                <a:lnTo>
                  <a:pt x="7269247" y="1448081"/>
                </a:lnTo>
                <a:lnTo>
                  <a:pt x="7281391" y="1463260"/>
                </a:lnTo>
                <a:lnTo>
                  <a:pt x="7287461" y="1472368"/>
                </a:lnTo>
                <a:lnTo>
                  <a:pt x="7287461" y="1487546"/>
                </a:lnTo>
                <a:lnTo>
                  <a:pt x="7287461" y="1502725"/>
                </a:lnTo>
                <a:lnTo>
                  <a:pt x="7284425" y="1508797"/>
                </a:lnTo>
                <a:lnTo>
                  <a:pt x="7290497" y="1514869"/>
                </a:lnTo>
                <a:lnTo>
                  <a:pt x="7302640" y="1517905"/>
                </a:lnTo>
                <a:lnTo>
                  <a:pt x="7302640" y="1527013"/>
                </a:lnTo>
                <a:lnTo>
                  <a:pt x="7302640" y="1530048"/>
                </a:lnTo>
                <a:lnTo>
                  <a:pt x="7308712" y="1523976"/>
                </a:lnTo>
                <a:lnTo>
                  <a:pt x="7308712" y="1520941"/>
                </a:lnTo>
                <a:lnTo>
                  <a:pt x="7302640" y="1493618"/>
                </a:lnTo>
                <a:lnTo>
                  <a:pt x="7290497" y="1487546"/>
                </a:lnTo>
                <a:lnTo>
                  <a:pt x="7296569" y="1484511"/>
                </a:lnTo>
                <a:lnTo>
                  <a:pt x="7305675" y="1484511"/>
                </a:lnTo>
                <a:lnTo>
                  <a:pt x="7320855" y="1487546"/>
                </a:lnTo>
                <a:lnTo>
                  <a:pt x="7336034" y="1490583"/>
                </a:lnTo>
                <a:lnTo>
                  <a:pt x="7351213" y="1496655"/>
                </a:lnTo>
                <a:lnTo>
                  <a:pt x="7360321" y="1508797"/>
                </a:lnTo>
                <a:lnTo>
                  <a:pt x="7366392" y="1514869"/>
                </a:lnTo>
                <a:lnTo>
                  <a:pt x="7378535" y="1523976"/>
                </a:lnTo>
                <a:lnTo>
                  <a:pt x="7387643" y="1533084"/>
                </a:lnTo>
                <a:lnTo>
                  <a:pt x="7390679" y="1542192"/>
                </a:lnTo>
                <a:lnTo>
                  <a:pt x="7384607" y="1545227"/>
                </a:lnTo>
                <a:lnTo>
                  <a:pt x="7375499" y="1551299"/>
                </a:lnTo>
                <a:lnTo>
                  <a:pt x="7375499" y="1560406"/>
                </a:lnTo>
                <a:lnTo>
                  <a:pt x="7372464" y="1563442"/>
                </a:lnTo>
                <a:lnTo>
                  <a:pt x="7357285" y="1566478"/>
                </a:lnTo>
                <a:lnTo>
                  <a:pt x="7351213" y="1566478"/>
                </a:lnTo>
                <a:lnTo>
                  <a:pt x="7345141" y="1566478"/>
                </a:lnTo>
                <a:lnTo>
                  <a:pt x="7342105" y="1578621"/>
                </a:lnTo>
                <a:lnTo>
                  <a:pt x="7342105" y="1587728"/>
                </a:lnTo>
                <a:lnTo>
                  <a:pt x="7329963" y="1596836"/>
                </a:lnTo>
                <a:lnTo>
                  <a:pt x="7320855" y="1602907"/>
                </a:lnTo>
                <a:lnTo>
                  <a:pt x="7329963" y="1612015"/>
                </a:lnTo>
                <a:lnTo>
                  <a:pt x="7336034" y="1621123"/>
                </a:lnTo>
                <a:lnTo>
                  <a:pt x="7329963" y="1624158"/>
                </a:lnTo>
                <a:lnTo>
                  <a:pt x="7323891" y="1627194"/>
                </a:lnTo>
                <a:lnTo>
                  <a:pt x="7314784" y="1624158"/>
                </a:lnTo>
                <a:lnTo>
                  <a:pt x="7305675" y="1621123"/>
                </a:lnTo>
                <a:lnTo>
                  <a:pt x="7302640" y="1615051"/>
                </a:lnTo>
                <a:lnTo>
                  <a:pt x="7296569" y="1608979"/>
                </a:lnTo>
                <a:lnTo>
                  <a:pt x="7284425" y="1602907"/>
                </a:lnTo>
                <a:lnTo>
                  <a:pt x="7275317" y="1602907"/>
                </a:lnTo>
                <a:lnTo>
                  <a:pt x="7269247" y="1593800"/>
                </a:lnTo>
                <a:lnTo>
                  <a:pt x="7266210" y="1581657"/>
                </a:lnTo>
                <a:lnTo>
                  <a:pt x="7263175" y="1569514"/>
                </a:lnTo>
                <a:lnTo>
                  <a:pt x="7257103" y="1566478"/>
                </a:lnTo>
                <a:lnTo>
                  <a:pt x="7235852" y="1566478"/>
                </a:lnTo>
                <a:lnTo>
                  <a:pt x="7223709" y="1569514"/>
                </a:lnTo>
                <a:lnTo>
                  <a:pt x="7211567" y="1566478"/>
                </a:lnTo>
                <a:lnTo>
                  <a:pt x="7205495" y="1545227"/>
                </a:lnTo>
                <a:lnTo>
                  <a:pt x="7202459" y="1533084"/>
                </a:lnTo>
                <a:lnTo>
                  <a:pt x="7193351" y="1536120"/>
                </a:lnTo>
                <a:lnTo>
                  <a:pt x="7184244" y="1545227"/>
                </a:lnTo>
                <a:lnTo>
                  <a:pt x="7190315" y="1560406"/>
                </a:lnTo>
                <a:lnTo>
                  <a:pt x="7190315" y="1578621"/>
                </a:lnTo>
                <a:lnTo>
                  <a:pt x="7181209" y="1587728"/>
                </a:lnTo>
                <a:lnTo>
                  <a:pt x="7169065" y="1599872"/>
                </a:lnTo>
                <a:lnTo>
                  <a:pt x="7162993" y="1602907"/>
                </a:lnTo>
                <a:lnTo>
                  <a:pt x="7141743" y="1608979"/>
                </a:lnTo>
                <a:lnTo>
                  <a:pt x="7129599" y="1602907"/>
                </a:lnTo>
                <a:lnTo>
                  <a:pt x="7126563" y="1596836"/>
                </a:lnTo>
                <a:lnTo>
                  <a:pt x="7126563" y="1602907"/>
                </a:lnTo>
                <a:lnTo>
                  <a:pt x="7126563" y="1608979"/>
                </a:lnTo>
                <a:lnTo>
                  <a:pt x="7126563" y="1615051"/>
                </a:lnTo>
                <a:lnTo>
                  <a:pt x="7135671" y="1630230"/>
                </a:lnTo>
                <a:lnTo>
                  <a:pt x="7141743" y="1630230"/>
                </a:lnTo>
                <a:lnTo>
                  <a:pt x="7144779" y="1621123"/>
                </a:lnTo>
                <a:lnTo>
                  <a:pt x="7147814" y="1630230"/>
                </a:lnTo>
                <a:lnTo>
                  <a:pt x="7147814" y="1636302"/>
                </a:lnTo>
                <a:lnTo>
                  <a:pt x="7153885" y="1642373"/>
                </a:lnTo>
                <a:lnTo>
                  <a:pt x="7153885" y="1657552"/>
                </a:lnTo>
                <a:lnTo>
                  <a:pt x="7147814" y="1657552"/>
                </a:lnTo>
                <a:lnTo>
                  <a:pt x="7144779" y="1660588"/>
                </a:lnTo>
                <a:lnTo>
                  <a:pt x="7150850" y="1666660"/>
                </a:lnTo>
                <a:lnTo>
                  <a:pt x="7162993" y="1675767"/>
                </a:lnTo>
                <a:lnTo>
                  <a:pt x="7169065" y="1684875"/>
                </a:lnTo>
                <a:lnTo>
                  <a:pt x="7172100" y="1700054"/>
                </a:lnTo>
                <a:lnTo>
                  <a:pt x="7169065" y="1706125"/>
                </a:lnTo>
                <a:lnTo>
                  <a:pt x="7159957" y="1715233"/>
                </a:lnTo>
                <a:lnTo>
                  <a:pt x="7141743" y="1709161"/>
                </a:lnTo>
                <a:lnTo>
                  <a:pt x="7117455" y="1693982"/>
                </a:lnTo>
                <a:lnTo>
                  <a:pt x="7114420" y="1709161"/>
                </a:lnTo>
                <a:lnTo>
                  <a:pt x="7105313" y="1715233"/>
                </a:lnTo>
                <a:lnTo>
                  <a:pt x="7084062" y="1727375"/>
                </a:lnTo>
                <a:lnTo>
                  <a:pt x="7062811" y="1739519"/>
                </a:lnTo>
                <a:lnTo>
                  <a:pt x="7059775" y="1739519"/>
                </a:lnTo>
                <a:lnTo>
                  <a:pt x="7050669" y="1739519"/>
                </a:lnTo>
                <a:lnTo>
                  <a:pt x="7041561" y="1754699"/>
                </a:lnTo>
                <a:lnTo>
                  <a:pt x="7032454" y="1763806"/>
                </a:lnTo>
                <a:lnTo>
                  <a:pt x="7023345" y="1763806"/>
                </a:lnTo>
                <a:lnTo>
                  <a:pt x="7023345" y="1772914"/>
                </a:lnTo>
                <a:lnTo>
                  <a:pt x="7017274" y="1775950"/>
                </a:lnTo>
                <a:lnTo>
                  <a:pt x="7011203" y="1778986"/>
                </a:lnTo>
                <a:lnTo>
                  <a:pt x="6996024" y="1794165"/>
                </a:lnTo>
                <a:lnTo>
                  <a:pt x="6983880" y="1806308"/>
                </a:lnTo>
                <a:lnTo>
                  <a:pt x="6977809" y="1818451"/>
                </a:lnTo>
                <a:lnTo>
                  <a:pt x="6968701" y="1803272"/>
                </a:lnTo>
                <a:lnTo>
                  <a:pt x="6968701" y="1797200"/>
                </a:lnTo>
                <a:lnTo>
                  <a:pt x="6959594" y="1794165"/>
                </a:lnTo>
                <a:lnTo>
                  <a:pt x="6947450" y="1791129"/>
                </a:lnTo>
                <a:lnTo>
                  <a:pt x="6923164" y="1797200"/>
                </a:lnTo>
                <a:lnTo>
                  <a:pt x="6898877" y="1821487"/>
                </a:lnTo>
                <a:lnTo>
                  <a:pt x="6895842" y="1824523"/>
                </a:lnTo>
                <a:lnTo>
                  <a:pt x="6892807" y="1815416"/>
                </a:lnTo>
                <a:lnTo>
                  <a:pt x="6898877" y="1797200"/>
                </a:lnTo>
                <a:lnTo>
                  <a:pt x="6892807" y="1797200"/>
                </a:lnTo>
                <a:lnTo>
                  <a:pt x="6889770" y="1800236"/>
                </a:lnTo>
                <a:lnTo>
                  <a:pt x="6877627" y="1809344"/>
                </a:lnTo>
                <a:lnTo>
                  <a:pt x="6868519" y="1818451"/>
                </a:lnTo>
                <a:lnTo>
                  <a:pt x="6862449" y="1815416"/>
                </a:lnTo>
                <a:lnTo>
                  <a:pt x="6850305" y="1812379"/>
                </a:lnTo>
                <a:lnTo>
                  <a:pt x="6841197" y="1815416"/>
                </a:lnTo>
                <a:lnTo>
                  <a:pt x="6838161" y="1824523"/>
                </a:lnTo>
                <a:lnTo>
                  <a:pt x="6838161" y="1833630"/>
                </a:lnTo>
                <a:lnTo>
                  <a:pt x="6835125" y="1845774"/>
                </a:lnTo>
                <a:lnTo>
                  <a:pt x="6829054" y="1854881"/>
                </a:lnTo>
                <a:lnTo>
                  <a:pt x="6810839" y="1885239"/>
                </a:lnTo>
                <a:lnTo>
                  <a:pt x="6810839" y="1900418"/>
                </a:lnTo>
                <a:lnTo>
                  <a:pt x="6813875" y="1903454"/>
                </a:lnTo>
                <a:lnTo>
                  <a:pt x="6816911" y="1906489"/>
                </a:lnTo>
                <a:lnTo>
                  <a:pt x="6819947" y="1897382"/>
                </a:lnTo>
                <a:lnTo>
                  <a:pt x="6829054" y="1900418"/>
                </a:lnTo>
                <a:lnTo>
                  <a:pt x="6835125" y="1903454"/>
                </a:lnTo>
                <a:lnTo>
                  <a:pt x="6835125" y="1909526"/>
                </a:lnTo>
                <a:lnTo>
                  <a:pt x="6826019" y="1918633"/>
                </a:lnTo>
                <a:lnTo>
                  <a:pt x="6822983" y="1924705"/>
                </a:lnTo>
                <a:lnTo>
                  <a:pt x="6826019" y="1936847"/>
                </a:lnTo>
                <a:lnTo>
                  <a:pt x="6826019" y="1945956"/>
                </a:lnTo>
                <a:lnTo>
                  <a:pt x="6835125" y="1945956"/>
                </a:lnTo>
                <a:lnTo>
                  <a:pt x="6835125" y="1964170"/>
                </a:lnTo>
                <a:lnTo>
                  <a:pt x="6829054" y="1970242"/>
                </a:lnTo>
                <a:lnTo>
                  <a:pt x="6819947" y="1964170"/>
                </a:lnTo>
                <a:lnTo>
                  <a:pt x="6819947" y="1961135"/>
                </a:lnTo>
                <a:lnTo>
                  <a:pt x="6810839" y="1970242"/>
                </a:lnTo>
                <a:lnTo>
                  <a:pt x="6807803" y="1976313"/>
                </a:lnTo>
                <a:lnTo>
                  <a:pt x="6801732" y="1994528"/>
                </a:lnTo>
                <a:lnTo>
                  <a:pt x="6804767" y="2003636"/>
                </a:lnTo>
                <a:lnTo>
                  <a:pt x="6807803" y="2009707"/>
                </a:lnTo>
                <a:lnTo>
                  <a:pt x="6810839" y="2015779"/>
                </a:lnTo>
                <a:lnTo>
                  <a:pt x="6804767" y="2024886"/>
                </a:lnTo>
                <a:lnTo>
                  <a:pt x="6798695" y="2024886"/>
                </a:lnTo>
                <a:lnTo>
                  <a:pt x="6792625" y="2024886"/>
                </a:lnTo>
                <a:lnTo>
                  <a:pt x="6792625" y="2021850"/>
                </a:lnTo>
                <a:lnTo>
                  <a:pt x="6786553" y="2021850"/>
                </a:lnTo>
                <a:lnTo>
                  <a:pt x="6777445" y="2030958"/>
                </a:lnTo>
                <a:lnTo>
                  <a:pt x="6765302" y="2043101"/>
                </a:lnTo>
                <a:lnTo>
                  <a:pt x="6762267" y="2061315"/>
                </a:lnTo>
                <a:lnTo>
                  <a:pt x="6759230" y="2070424"/>
                </a:lnTo>
                <a:lnTo>
                  <a:pt x="6756195" y="2070424"/>
                </a:lnTo>
                <a:lnTo>
                  <a:pt x="6737979" y="2076495"/>
                </a:lnTo>
                <a:lnTo>
                  <a:pt x="6737979" y="2082566"/>
                </a:lnTo>
                <a:lnTo>
                  <a:pt x="6734944" y="2088638"/>
                </a:lnTo>
                <a:lnTo>
                  <a:pt x="6698514" y="2146318"/>
                </a:lnTo>
                <a:lnTo>
                  <a:pt x="6695479" y="2131139"/>
                </a:lnTo>
                <a:lnTo>
                  <a:pt x="6695479" y="2115960"/>
                </a:lnTo>
                <a:lnTo>
                  <a:pt x="6692443" y="2097745"/>
                </a:lnTo>
                <a:lnTo>
                  <a:pt x="6683336" y="2052208"/>
                </a:lnTo>
                <a:lnTo>
                  <a:pt x="6677264" y="2012743"/>
                </a:lnTo>
                <a:lnTo>
                  <a:pt x="6674227" y="1994528"/>
                </a:lnTo>
                <a:lnTo>
                  <a:pt x="6677264" y="1973277"/>
                </a:lnTo>
                <a:lnTo>
                  <a:pt x="6683336" y="1952026"/>
                </a:lnTo>
                <a:lnTo>
                  <a:pt x="6686371" y="1942919"/>
                </a:lnTo>
                <a:lnTo>
                  <a:pt x="6692443" y="1936847"/>
                </a:lnTo>
                <a:lnTo>
                  <a:pt x="6701551" y="1927740"/>
                </a:lnTo>
                <a:lnTo>
                  <a:pt x="6704585" y="1915597"/>
                </a:lnTo>
                <a:lnTo>
                  <a:pt x="6710657" y="1903454"/>
                </a:lnTo>
                <a:lnTo>
                  <a:pt x="6734944" y="1891311"/>
                </a:lnTo>
                <a:lnTo>
                  <a:pt x="6756195" y="1867024"/>
                </a:lnTo>
                <a:lnTo>
                  <a:pt x="6762267" y="1857916"/>
                </a:lnTo>
                <a:lnTo>
                  <a:pt x="6768337" y="1845774"/>
                </a:lnTo>
                <a:lnTo>
                  <a:pt x="6792625" y="1824523"/>
                </a:lnTo>
                <a:lnTo>
                  <a:pt x="6804767" y="1809344"/>
                </a:lnTo>
                <a:lnTo>
                  <a:pt x="6807803" y="1803272"/>
                </a:lnTo>
                <a:lnTo>
                  <a:pt x="6810839" y="1794165"/>
                </a:lnTo>
                <a:lnTo>
                  <a:pt x="6822983" y="1785057"/>
                </a:lnTo>
                <a:lnTo>
                  <a:pt x="6835125" y="1782021"/>
                </a:lnTo>
                <a:lnTo>
                  <a:pt x="6841197" y="1778986"/>
                </a:lnTo>
                <a:lnTo>
                  <a:pt x="6847269" y="1769878"/>
                </a:lnTo>
                <a:lnTo>
                  <a:pt x="6850305" y="1748627"/>
                </a:lnTo>
                <a:lnTo>
                  <a:pt x="6853340" y="1730412"/>
                </a:lnTo>
                <a:lnTo>
                  <a:pt x="6850305" y="1727375"/>
                </a:lnTo>
                <a:lnTo>
                  <a:pt x="6859412" y="1712196"/>
                </a:lnTo>
                <a:lnTo>
                  <a:pt x="6871555" y="1709161"/>
                </a:lnTo>
                <a:lnTo>
                  <a:pt x="6877627" y="1709161"/>
                </a:lnTo>
                <a:lnTo>
                  <a:pt x="6853340" y="1700054"/>
                </a:lnTo>
                <a:lnTo>
                  <a:pt x="6838161" y="1706125"/>
                </a:lnTo>
                <a:lnTo>
                  <a:pt x="6832091" y="1715233"/>
                </a:lnTo>
                <a:lnTo>
                  <a:pt x="6826019" y="1736484"/>
                </a:lnTo>
                <a:lnTo>
                  <a:pt x="6826019" y="1742556"/>
                </a:lnTo>
                <a:lnTo>
                  <a:pt x="6813875" y="1748627"/>
                </a:lnTo>
                <a:lnTo>
                  <a:pt x="6789589" y="1775950"/>
                </a:lnTo>
                <a:lnTo>
                  <a:pt x="6774409" y="1788093"/>
                </a:lnTo>
                <a:lnTo>
                  <a:pt x="6771374" y="1791129"/>
                </a:lnTo>
                <a:lnTo>
                  <a:pt x="6768337" y="1778986"/>
                </a:lnTo>
                <a:lnTo>
                  <a:pt x="6765302" y="1763806"/>
                </a:lnTo>
                <a:lnTo>
                  <a:pt x="6768337" y="1754699"/>
                </a:lnTo>
                <a:lnTo>
                  <a:pt x="6771374" y="1751664"/>
                </a:lnTo>
                <a:lnTo>
                  <a:pt x="6774409" y="1742556"/>
                </a:lnTo>
                <a:lnTo>
                  <a:pt x="6774409" y="1733447"/>
                </a:lnTo>
                <a:lnTo>
                  <a:pt x="6768337" y="1736484"/>
                </a:lnTo>
                <a:lnTo>
                  <a:pt x="6756195" y="1736484"/>
                </a:lnTo>
                <a:lnTo>
                  <a:pt x="6741015" y="1736484"/>
                </a:lnTo>
                <a:lnTo>
                  <a:pt x="6728872" y="1739519"/>
                </a:lnTo>
                <a:lnTo>
                  <a:pt x="6716729" y="1739519"/>
                </a:lnTo>
                <a:lnTo>
                  <a:pt x="6704585" y="1748627"/>
                </a:lnTo>
                <a:lnTo>
                  <a:pt x="6698514" y="1754699"/>
                </a:lnTo>
                <a:lnTo>
                  <a:pt x="6692443" y="1766842"/>
                </a:lnTo>
                <a:lnTo>
                  <a:pt x="6671192" y="1794165"/>
                </a:lnTo>
                <a:lnTo>
                  <a:pt x="6662085" y="1803272"/>
                </a:lnTo>
                <a:lnTo>
                  <a:pt x="6649941" y="1818451"/>
                </a:lnTo>
                <a:lnTo>
                  <a:pt x="6646905" y="1827558"/>
                </a:lnTo>
                <a:lnTo>
                  <a:pt x="6652977" y="1833630"/>
                </a:lnTo>
                <a:lnTo>
                  <a:pt x="6662085" y="1836665"/>
                </a:lnTo>
                <a:lnTo>
                  <a:pt x="6668155" y="1842737"/>
                </a:lnTo>
                <a:lnTo>
                  <a:pt x="6668155" y="1848809"/>
                </a:lnTo>
                <a:lnTo>
                  <a:pt x="6646905" y="1854881"/>
                </a:lnTo>
                <a:lnTo>
                  <a:pt x="6637799" y="1845774"/>
                </a:lnTo>
                <a:lnTo>
                  <a:pt x="6631727" y="1845774"/>
                </a:lnTo>
                <a:lnTo>
                  <a:pt x="6625655" y="1851845"/>
                </a:lnTo>
                <a:lnTo>
                  <a:pt x="6619583" y="1860953"/>
                </a:lnTo>
                <a:lnTo>
                  <a:pt x="6616547" y="1860953"/>
                </a:lnTo>
                <a:lnTo>
                  <a:pt x="6595297" y="1860953"/>
                </a:lnTo>
                <a:lnTo>
                  <a:pt x="6592261" y="1860953"/>
                </a:lnTo>
                <a:lnTo>
                  <a:pt x="6586189" y="1857916"/>
                </a:lnTo>
                <a:lnTo>
                  <a:pt x="6583154" y="1851845"/>
                </a:lnTo>
                <a:lnTo>
                  <a:pt x="6589225" y="1851845"/>
                </a:lnTo>
                <a:lnTo>
                  <a:pt x="6601369" y="1848809"/>
                </a:lnTo>
                <a:lnTo>
                  <a:pt x="6607441" y="1848809"/>
                </a:lnTo>
                <a:lnTo>
                  <a:pt x="6604404" y="1842737"/>
                </a:lnTo>
                <a:lnTo>
                  <a:pt x="6589225" y="1833630"/>
                </a:lnTo>
                <a:lnTo>
                  <a:pt x="6580117" y="1833630"/>
                </a:lnTo>
                <a:lnTo>
                  <a:pt x="6561903" y="1827558"/>
                </a:lnTo>
                <a:lnTo>
                  <a:pt x="6552796" y="1824523"/>
                </a:lnTo>
                <a:lnTo>
                  <a:pt x="6543689" y="1833630"/>
                </a:lnTo>
                <a:lnTo>
                  <a:pt x="6537617" y="1845774"/>
                </a:lnTo>
                <a:lnTo>
                  <a:pt x="6528509" y="1845774"/>
                </a:lnTo>
                <a:lnTo>
                  <a:pt x="6501187" y="1842737"/>
                </a:lnTo>
                <a:lnTo>
                  <a:pt x="6486007" y="1845774"/>
                </a:lnTo>
                <a:lnTo>
                  <a:pt x="6476901" y="1848809"/>
                </a:lnTo>
                <a:lnTo>
                  <a:pt x="6470829" y="1839702"/>
                </a:lnTo>
                <a:lnTo>
                  <a:pt x="6467793" y="1839702"/>
                </a:lnTo>
                <a:lnTo>
                  <a:pt x="6461721" y="1839702"/>
                </a:lnTo>
                <a:lnTo>
                  <a:pt x="6458686" y="1839702"/>
                </a:lnTo>
                <a:lnTo>
                  <a:pt x="6449577" y="1839702"/>
                </a:lnTo>
                <a:lnTo>
                  <a:pt x="6452614" y="1842737"/>
                </a:lnTo>
                <a:lnTo>
                  <a:pt x="6446542" y="1839702"/>
                </a:lnTo>
                <a:lnTo>
                  <a:pt x="6437435" y="1839702"/>
                </a:lnTo>
                <a:lnTo>
                  <a:pt x="6422256" y="1842737"/>
                </a:lnTo>
                <a:lnTo>
                  <a:pt x="6407077" y="1845774"/>
                </a:lnTo>
                <a:lnTo>
                  <a:pt x="6397969" y="1854881"/>
                </a:lnTo>
                <a:lnTo>
                  <a:pt x="6379754" y="1876132"/>
                </a:lnTo>
                <a:lnTo>
                  <a:pt x="6376719" y="1879167"/>
                </a:lnTo>
                <a:lnTo>
                  <a:pt x="6370647" y="1882203"/>
                </a:lnTo>
                <a:lnTo>
                  <a:pt x="6367611" y="1888275"/>
                </a:lnTo>
                <a:lnTo>
                  <a:pt x="6364576" y="1897382"/>
                </a:lnTo>
                <a:lnTo>
                  <a:pt x="6352432" y="1912561"/>
                </a:lnTo>
                <a:lnTo>
                  <a:pt x="6343325" y="1921668"/>
                </a:lnTo>
                <a:lnTo>
                  <a:pt x="6319039" y="1945956"/>
                </a:lnTo>
                <a:lnTo>
                  <a:pt x="6316002" y="1952026"/>
                </a:lnTo>
                <a:lnTo>
                  <a:pt x="6312967" y="1958098"/>
                </a:lnTo>
                <a:lnTo>
                  <a:pt x="6300823" y="1970242"/>
                </a:lnTo>
                <a:lnTo>
                  <a:pt x="6279572" y="1988456"/>
                </a:lnTo>
                <a:lnTo>
                  <a:pt x="6264394" y="2003636"/>
                </a:lnTo>
                <a:lnTo>
                  <a:pt x="6255287" y="2018815"/>
                </a:lnTo>
                <a:lnTo>
                  <a:pt x="6264394" y="2021850"/>
                </a:lnTo>
                <a:lnTo>
                  <a:pt x="6270465" y="2021850"/>
                </a:lnTo>
                <a:lnTo>
                  <a:pt x="6279572" y="2021850"/>
                </a:lnTo>
                <a:lnTo>
                  <a:pt x="6285645" y="2021850"/>
                </a:lnTo>
                <a:lnTo>
                  <a:pt x="6285645" y="2043101"/>
                </a:lnTo>
                <a:lnTo>
                  <a:pt x="6285645" y="2049173"/>
                </a:lnTo>
                <a:lnTo>
                  <a:pt x="6288681" y="2052208"/>
                </a:lnTo>
                <a:lnTo>
                  <a:pt x="6297787" y="2046136"/>
                </a:lnTo>
                <a:lnTo>
                  <a:pt x="6297787" y="2043101"/>
                </a:lnTo>
                <a:lnTo>
                  <a:pt x="6294752" y="2037029"/>
                </a:lnTo>
                <a:lnTo>
                  <a:pt x="6306895" y="2033994"/>
                </a:lnTo>
                <a:lnTo>
                  <a:pt x="6303859" y="2046136"/>
                </a:lnTo>
                <a:lnTo>
                  <a:pt x="6300823" y="2055245"/>
                </a:lnTo>
                <a:lnTo>
                  <a:pt x="6312967" y="2061315"/>
                </a:lnTo>
                <a:lnTo>
                  <a:pt x="6319039" y="2061315"/>
                </a:lnTo>
                <a:lnTo>
                  <a:pt x="6322074" y="2061315"/>
                </a:lnTo>
                <a:lnTo>
                  <a:pt x="6328146" y="2033994"/>
                </a:lnTo>
                <a:lnTo>
                  <a:pt x="6346361" y="2033994"/>
                </a:lnTo>
                <a:lnTo>
                  <a:pt x="6358504" y="2046136"/>
                </a:lnTo>
                <a:lnTo>
                  <a:pt x="6382791" y="2070424"/>
                </a:lnTo>
                <a:lnTo>
                  <a:pt x="6382791" y="2073459"/>
                </a:lnTo>
                <a:lnTo>
                  <a:pt x="6379754" y="2082566"/>
                </a:lnTo>
                <a:lnTo>
                  <a:pt x="6382791" y="2097745"/>
                </a:lnTo>
                <a:lnTo>
                  <a:pt x="6379754" y="2115960"/>
                </a:lnTo>
                <a:lnTo>
                  <a:pt x="6376719" y="2122032"/>
                </a:lnTo>
                <a:lnTo>
                  <a:pt x="6373683" y="2125068"/>
                </a:lnTo>
                <a:lnTo>
                  <a:pt x="6367611" y="2146318"/>
                </a:lnTo>
                <a:lnTo>
                  <a:pt x="6364576" y="2155426"/>
                </a:lnTo>
                <a:lnTo>
                  <a:pt x="6364576" y="2161497"/>
                </a:lnTo>
                <a:lnTo>
                  <a:pt x="6364576" y="2176676"/>
                </a:lnTo>
                <a:lnTo>
                  <a:pt x="6364576" y="2182748"/>
                </a:lnTo>
                <a:lnTo>
                  <a:pt x="6367611" y="2188820"/>
                </a:lnTo>
                <a:lnTo>
                  <a:pt x="6361539" y="2200963"/>
                </a:lnTo>
                <a:lnTo>
                  <a:pt x="6358504" y="2222214"/>
                </a:lnTo>
                <a:lnTo>
                  <a:pt x="6352432" y="2231321"/>
                </a:lnTo>
                <a:lnTo>
                  <a:pt x="6346361" y="2240429"/>
                </a:lnTo>
                <a:lnTo>
                  <a:pt x="6328146" y="2264715"/>
                </a:lnTo>
                <a:lnTo>
                  <a:pt x="6322074" y="2276858"/>
                </a:lnTo>
                <a:lnTo>
                  <a:pt x="6316002" y="2289002"/>
                </a:lnTo>
                <a:lnTo>
                  <a:pt x="6316002" y="2292037"/>
                </a:lnTo>
                <a:lnTo>
                  <a:pt x="6306895" y="2304181"/>
                </a:lnTo>
                <a:lnTo>
                  <a:pt x="6297787" y="2313288"/>
                </a:lnTo>
                <a:lnTo>
                  <a:pt x="6288681" y="2325431"/>
                </a:lnTo>
                <a:lnTo>
                  <a:pt x="6279572" y="2337574"/>
                </a:lnTo>
                <a:lnTo>
                  <a:pt x="6270465" y="2349718"/>
                </a:lnTo>
                <a:lnTo>
                  <a:pt x="6261357" y="2358825"/>
                </a:lnTo>
                <a:lnTo>
                  <a:pt x="6261357" y="2364897"/>
                </a:lnTo>
                <a:lnTo>
                  <a:pt x="6246179" y="2377040"/>
                </a:lnTo>
                <a:lnTo>
                  <a:pt x="6221892" y="2392219"/>
                </a:lnTo>
                <a:lnTo>
                  <a:pt x="6215821" y="2395254"/>
                </a:lnTo>
                <a:lnTo>
                  <a:pt x="6209749" y="2395254"/>
                </a:lnTo>
                <a:lnTo>
                  <a:pt x="6203677" y="2392219"/>
                </a:lnTo>
                <a:lnTo>
                  <a:pt x="6197606" y="2392219"/>
                </a:lnTo>
                <a:lnTo>
                  <a:pt x="6194571" y="2383112"/>
                </a:lnTo>
                <a:lnTo>
                  <a:pt x="6191534" y="2377040"/>
                </a:lnTo>
                <a:lnTo>
                  <a:pt x="6182427" y="2386147"/>
                </a:lnTo>
                <a:lnTo>
                  <a:pt x="6173319" y="2395254"/>
                </a:lnTo>
                <a:lnTo>
                  <a:pt x="6167247" y="2401326"/>
                </a:lnTo>
                <a:lnTo>
                  <a:pt x="6161176" y="2407398"/>
                </a:lnTo>
                <a:lnTo>
                  <a:pt x="6155105" y="2407398"/>
                </a:lnTo>
                <a:lnTo>
                  <a:pt x="6145997" y="2414987"/>
                </a:lnTo>
                <a:lnTo>
                  <a:pt x="6139926" y="2424095"/>
                </a:lnTo>
                <a:lnTo>
                  <a:pt x="6142961" y="2436239"/>
                </a:lnTo>
                <a:lnTo>
                  <a:pt x="6142961" y="2445346"/>
                </a:lnTo>
                <a:lnTo>
                  <a:pt x="6139926" y="2448382"/>
                </a:lnTo>
                <a:lnTo>
                  <a:pt x="6124747" y="2460525"/>
                </a:lnTo>
                <a:lnTo>
                  <a:pt x="6103496" y="2469633"/>
                </a:lnTo>
                <a:lnTo>
                  <a:pt x="6097424" y="2475705"/>
                </a:lnTo>
                <a:lnTo>
                  <a:pt x="6097424" y="2481776"/>
                </a:lnTo>
                <a:lnTo>
                  <a:pt x="6094389" y="2487847"/>
                </a:lnTo>
                <a:lnTo>
                  <a:pt x="6097424" y="2490884"/>
                </a:lnTo>
                <a:lnTo>
                  <a:pt x="6100461" y="2490884"/>
                </a:lnTo>
                <a:lnTo>
                  <a:pt x="6106531" y="2493919"/>
                </a:lnTo>
                <a:lnTo>
                  <a:pt x="6115639" y="2503025"/>
                </a:lnTo>
                <a:lnTo>
                  <a:pt x="6115639" y="2503026"/>
                </a:lnTo>
                <a:lnTo>
                  <a:pt x="6127781" y="2530348"/>
                </a:lnTo>
                <a:lnTo>
                  <a:pt x="6136889" y="2551599"/>
                </a:lnTo>
                <a:lnTo>
                  <a:pt x="6139925" y="2569814"/>
                </a:lnTo>
                <a:lnTo>
                  <a:pt x="6136889" y="2581957"/>
                </a:lnTo>
                <a:lnTo>
                  <a:pt x="6133853" y="2594100"/>
                </a:lnTo>
                <a:lnTo>
                  <a:pt x="6124745" y="2594100"/>
                </a:lnTo>
                <a:lnTo>
                  <a:pt x="6115639" y="2600172"/>
                </a:lnTo>
                <a:lnTo>
                  <a:pt x="6109567" y="2600172"/>
                </a:lnTo>
                <a:lnTo>
                  <a:pt x="6106530" y="2597135"/>
                </a:lnTo>
                <a:lnTo>
                  <a:pt x="6103495" y="2600172"/>
                </a:lnTo>
                <a:lnTo>
                  <a:pt x="6103495" y="2603207"/>
                </a:lnTo>
                <a:lnTo>
                  <a:pt x="6094387" y="2609279"/>
                </a:lnTo>
                <a:lnTo>
                  <a:pt x="6091352" y="2609279"/>
                </a:lnTo>
                <a:lnTo>
                  <a:pt x="6082244" y="2612314"/>
                </a:lnTo>
                <a:lnTo>
                  <a:pt x="6076172" y="2615351"/>
                </a:lnTo>
                <a:lnTo>
                  <a:pt x="6073137" y="2603207"/>
                </a:lnTo>
                <a:lnTo>
                  <a:pt x="6070101" y="2594100"/>
                </a:lnTo>
                <a:lnTo>
                  <a:pt x="6073137" y="2588028"/>
                </a:lnTo>
                <a:lnTo>
                  <a:pt x="6079209" y="2572849"/>
                </a:lnTo>
                <a:lnTo>
                  <a:pt x="6076172" y="2560706"/>
                </a:lnTo>
                <a:lnTo>
                  <a:pt x="6076172" y="2557670"/>
                </a:lnTo>
                <a:lnTo>
                  <a:pt x="6070101" y="2554634"/>
                </a:lnTo>
                <a:lnTo>
                  <a:pt x="6067065" y="2551599"/>
                </a:lnTo>
                <a:lnTo>
                  <a:pt x="6082244" y="2548563"/>
                </a:lnTo>
                <a:lnTo>
                  <a:pt x="6079209" y="2530348"/>
                </a:lnTo>
                <a:lnTo>
                  <a:pt x="6076172" y="2527312"/>
                </a:lnTo>
                <a:lnTo>
                  <a:pt x="6079209" y="2527312"/>
                </a:lnTo>
                <a:lnTo>
                  <a:pt x="6079209" y="2524277"/>
                </a:lnTo>
                <a:lnTo>
                  <a:pt x="6067066" y="2524277"/>
                </a:lnTo>
                <a:lnTo>
                  <a:pt x="6057959" y="2524277"/>
                </a:lnTo>
                <a:lnTo>
                  <a:pt x="6051887" y="2530349"/>
                </a:lnTo>
                <a:lnTo>
                  <a:pt x="6048851" y="2524277"/>
                </a:lnTo>
                <a:lnTo>
                  <a:pt x="6039744" y="2518205"/>
                </a:lnTo>
                <a:lnTo>
                  <a:pt x="6039744" y="2515170"/>
                </a:lnTo>
                <a:lnTo>
                  <a:pt x="6042779" y="2509098"/>
                </a:lnTo>
                <a:lnTo>
                  <a:pt x="6048851" y="2499991"/>
                </a:lnTo>
                <a:lnTo>
                  <a:pt x="6054923" y="2484812"/>
                </a:lnTo>
                <a:lnTo>
                  <a:pt x="6042779" y="2475705"/>
                </a:lnTo>
                <a:lnTo>
                  <a:pt x="6039744" y="2475705"/>
                </a:lnTo>
                <a:lnTo>
                  <a:pt x="6036707" y="2475705"/>
                </a:lnTo>
                <a:lnTo>
                  <a:pt x="6033672" y="2472668"/>
                </a:lnTo>
                <a:lnTo>
                  <a:pt x="6033672" y="2470543"/>
                </a:lnTo>
                <a:cubicBezTo>
                  <a:pt x="6032869" y="2470724"/>
                  <a:pt x="6032131" y="2470566"/>
                  <a:pt x="6031395" y="2470391"/>
                </a:cubicBezTo>
                <a:lnTo>
                  <a:pt x="6030484" y="2469784"/>
                </a:lnTo>
                <a:lnTo>
                  <a:pt x="6027601" y="2472667"/>
                </a:lnTo>
                <a:lnTo>
                  <a:pt x="6015457" y="2472667"/>
                </a:lnTo>
                <a:lnTo>
                  <a:pt x="6006351" y="2475704"/>
                </a:lnTo>
                <a:lnTo>
                  <a:pt x="5991171" y="2481775"/>
                </a:lnTo>
                <a:lnTo>
                  <a:pt x="5982063" y="2493918"/>
                </a:lnTo>
                <a:lnTo>
                  <a:pt x="5975992" y="2496954"/>
                </a:lnTo>
                <a:lnTo>
                  <a:pt x="5972956" y="2499990"/>
                </a:lnTo>
                <a:lnTo>
                  <a:pt x="5966884" y="2503025"/>
                </a:lnTo>
                <a:lnTo>
                  <a:pt x="5963849" y="2496954"/>
                </a:lnTo>
                <a:lnTo>
                  <a:pt x="5966884" y="2496954"/>
                </a:lnTo>
                <a:lnTo>
                  <a:pt x="5972956" y="2493918"/>
                </a:lnTo>
                <a:lnTo>
                  <a:pt x="5975992" y="2490883"/>
                </a:lnTo>
                <a:lnTo>
                  <a:pt x="5975992" y="2487846"/>
                </a:lnTo>
                <a:lnTo>
                  <a:pt x="5975992" y="2484811"/>
                </a:lnTo>
                <a:lnTo>
                  <a:pt x="5972956" y="2481775"/>
                </a:lnTo>
                <a:lnTo>
                  <a:pt x="5966884" y="2481775"/>
                </a:lnTo>
                <a:lnTo>
                  <a:pt x="5972956" y="2472667"/>
                </a:lnTo>
                <a:lnTo>
                  <a:pt x="5975992" y="2469632"/>
                </a:lnTo>
                <a:lnTo>
                  <a:pt x="5982063" y="2463560"/>
                </a:lnTo>
                <a:lnTo>
                  <a:pt x="5988135" y="2454453"/>
                </a:lnTo>
                <a:lnTo>
                  <a:pt x="5985099" y="2448381"/>
                </a:lnTo>
                <a:lnTo>
                  <a:pt x="5972956" y="2445345"/>
                </a:lnTo>
                <a:lnTo>
                  <a:pt x="5966884" y="2442310"/>
                </a:lnTo>
                <a:lnTo>
                  <a:pt x="5954741" y="2454453"/>
                </a:lnTo>
                <a:lnTo>
                  <a:pt x="5951705" y="2457488"/>
                </a:lnTo>
                <a:lnTo>
                  <a:pt x="5951705" y="2460524"/>
                </a:lnTo>
                <a:lnTo>
                  <a:pt x="5945634" y="2463560"/>
                </a:lnTo>
                <a:lnTo>
                  <a:pt x="5927419" y="2484811"/>
                </a:lnTo>
                <a:lnTo>
                  <a:pt x="5915276" y="2490883"/>
                </a:lnTo>
                <a:lnTo>
                  <a:pt x="5906169" y="2493918"/>
                </a:lnTo>
                <a:lnTo>
                  <a:pt x="5903132" y="2490883"/>
                </a:lnTo>
                <a:lnTo>
                  <a:pt x="5900097" y="2487846"/>
                </a:lnTo>
                <a:lnTo>
                  <a:pt x="5894025" y="2493918"/>
                </a:lnTo>
                <a:lnTo>
                  <a:pt x="5890990" y="2503025"/>
                </a:lnTo>
                <a:lnTo>
                  <a:pt x="5897062" y="2512134"/>
                </a:lnTo>
                <a:lnTo>
                  <a:pt x="5900097" y="2518204"/>
                </a:lnTo>
                <a:lnTo>
                  <a:pt x="5909204" y="2518204"/>
                </a:lnTo>
                <a:lnTo>
                  <a:pt x="5918312" y="2515169"/>
                </a:lnTo>
                <a:lnTo>
                  <a:pt x="5918312" y="2518204"/>
                </a:lnTo>
                <a:lnTo>
                  <a:pt x="5921348" y="2527312"/>
                </a:lnTo>
                <a:lnTo>
                  <a:pt x="5921348" y="2536420"/>
                </a:lnTo>
                <a:lnTo>
                  <a:pt x="5924383" y="2542491"/>
                </a:lnTo>
                <a:lnTo>
                  <a:pt x="5936527" y="2542491"/>
                </a:lnTo>
                <a:lnTo>
                  <a:pt x="5939562" y="2539455"/>
                </a:lnTo>
                <a:lnTo>
                  <a:pt x="5948669" y="2530348"/>
                </a:lnTo>
                <a:lnTo>
                  <a:pt x="5948669" y="2527312"/>
                </a:lnTo>
                <a:lnTo>
                  <a:pt x="5951705" y="2527312"/>
                </a:lnTo>
                <a:lnTo>
                  <a:pt x="5957777" y="2524276"/>
                </a:lnTo>
                <a:lnTo>
                  <a:pt x="5966884" y="2533384"/>
                </a:lnTo>
                <a:lnTo>
                  <a:pt x="5972956" y="2536420"/>
                </a:lnTo>
                <a:lnTo>
                  <a:pt x="5982063" y="2533384"/>
                </a:lnTo>
                <a:lnTo>
                  <a:pt x="5985099" y="2533384"/>
                </a:lnTo>
                <a:lnTo>
                  <a:pt x="5988135" y="2536420"/>
                </a:lnTo>
                <a:lnTo>
                  <a:pt x="5991171" y="2536420"/>
                </a:lnTo>
                <a:lnTo>
                  <a:pt x="5997242" y="2536420"/>
                </a:lnTo>
                <a:lnTo>
                  <a:pt x="5994207" y="2542491"/>
                </a:lnTo>
                <a:lnTo>
                  <a:pt x="5991171" y="2551599"/>
                </a:lnTo>
                <a:lnTo>
                  <a:pt x="5988135" y="2548563"/>
                </a:lnTo>
                <a:lnTo>
                  <a:pt x="5979027" y="2551599"/>
                </a:lnTo>
                <a:lnTo>
                  <a:pt x="5966884" y="2554634"/>
                </a:lnTo>
                <a:lnTo>
                  <a:pt x="5960813" y="2557670"/>
                </a:lnTo>
                <a:lnTo>
                  <a:pt x="5957777" y="2563742"/>
                </a:lnTo>
                <a:lnTo>
                  <a:pt x="5954741" y="2569814"/>
                </a:lnTo>
                <a:lnTo>
                  <a:pt x="5948669" y="2569814"/>
                </a:lnTo>
                <a:lnTo>
                  <a:pt x="5942597" y="2578921"/>
                </a:lnTo>
                <a:lnTo>
                  <a:pt x="5927419" y="2594100"/>
                </a:lnTo>
                <a:lnTo>
                  <a:pt x="5924383" y="2603207"/>
                </a:lnTo>
                <a:lnTo>
                  <a:pt x="5933491" y="2609279"/>
                </a:lnTo>
                <a:lnTo>
                  <a:pt x="5948669" y="2615351"/>
                </a:lnTo>
                <a:lnTo>
                  <a:pt x="5951705" y="2624458"/>
                </a:lnTo>
                <a:lnTo>
                  <a:pt x="5951705" y="2630530"/>
                </a:lnTo>
                <a:lnTo>
                  <a:pt x="5957777" y="2642673"/>
                </a:lnTo>
                <a:lnTo>
                  <a:pt x="5960813" y="2651781"/>
                </a:lnTo>
                <a:lnTo>
                  <a:pt x="5960813" y="2657852"/>
                </a:lnTo>
                <a:lnTo>
                  <a:pt x="5966884" y="2660888"/>
                </a:lnTo>
                <a:lnTo>
                  <a:pt x="5972956" y="2666959"/>
                </a:lnTo>
                <a:lnTo>
                  <a:pt x="5982063" y="2676067"/>
                </a:lnTo>
                <a:lnTo>
                  <a:pt x="5969921" y="2676067"/>
                </a:lnTo>
                <a:lnTo>
                  <a:pt x="5957777" y="2669995"/>
                </a:lnTo>
                <a:lnTo>
                  <a:pt x="5957777" y="2676067"/>
                </a:lnTo>
                <a:lnTo>
                  <a:pt x="5963849" y="2676067"/>
                </a:lnTo>
                <a:lnTo>
                  <a:pt x="5972956" y="2685174"/>
                </a:lnTo>
                <a:lnTo>
                  <a:pt x="5982063" y="2697317"/>
                </a:lnTo>
                <a:lnTo>
                  <a:pt x="5972956" y="2700354"/>
                </a:lnTo>
                <a:lnTo>
                  <a:pt x="5954741" y="2709461"/>
                </a:lnTo>
                <a:lnTo>
                  <a:pt x="5951705" y="2709461"/>
                </a:lnTo>
                <a:lnTo>
                  <a:pt x="5945634" y="2715533"/>
                </a:lnTo>
                <a:lnTo>
                  <a:pt x="5948669" y="2715533"/>
                </a:lnTo>
                <a:lnTo>
                  <a:pt x="5954741" y="2715533"/>
                </a:lnTo>
                <a:lnTo>
                  <a:pt x="5966884" y="2712496"/>
                </a:lnTo>
                <a:lnTo>
                  <a:pt x="5972956" y="2715533"/>
                </a:lnTo>
                <a:lnTo>
                  <a:pt x="5985099" y="2721604"/>
                </a:lnTo>
                <a:lnTo>
                  <a:pt x="5979027" y="2727675"/>
                </a:lnTo>
                <a:lnTo>
                  <a:pt x="5982063" y="2733747"/>
                </a:lnTo>
                <a:lnTo>
                  <a:pt x="5982063" y="2739819"/>
                </a:lnTo>
                <a:lnTo>
                  <a:pt x="5979027" y="2742854"/>
                </a:lnTo>
                <a:lnTo>
                  <a:pt x="5975992" y="2754998"/>
                </a:lnTo>
                <a:lnTo>
                  <a:pt x="5969921" y="2761070"/>
                </a:lnTo>
                <a:lnTo>
                  <a:pt x="5957777" y="2767141"/>
                </a:lnTo>
                <a:lnTo>
                  <a:pt x="5957777" y="2773213"/>
                </a:lnTo>
                <a:lnTo>
                  <a:pt x="5951705" y="2782320"/>
                </a:lnTo>
                <a:lnTo>
                  <a:pt x="5948669" y="2788392"/>
                </a:lnTo>
                <a:lnTo>
                  <a:pt x="5942597" y="2794464"/>
                </a:lnTo>
                <a:lnTo>
                  <a:pt x="5936527" y="2794464"/>
                </a:lnTo>
                <a:lnTo>
                  <a:pt x="5933491" y="2797499"/>
                </a:lnTo>
                <a:lnTo>
                  <a:pt x="5936527" y="2800535"/>
                </a:lnTo>
                <a:lnTo>
                  <a:pt x="5936527" y="2806606"/>
                </a:lnTo>
                <a:lnTo>
                  <a:pt x="5936527" y="2812678"/>
                </a:lnTo>
                <a:lnTo>
                  <a:pt x="5933491" y="2821785"/>
                </a:lnTo>
                <a:lnTo>
                  <a:pt x="5933491" y="2827857"/>
                </a:lnTo>
                <a:lnTo>
                  <a:pt x="5918312" y="2836964"/>
                </a:lnTo>
                <a:lnTo>
                  <a:pt x="5915276" y="2843036"/>
                </a:lnTo>
                <a:lnTo>
                  <a:pt x="5912241" y="2846073"/>
                </a:lnTo>
                <a:lnTo>
                  <a:pt x="5900097" y="2855180"/>
                </a:lnTo>
                <a:lnTo>
                  <a:pt x="5894025" y="2858215"/>
                </a:lnTo>
                <a:lnTo>
                  <a:pt x="5890990" y="2861252"/>
                </a:lnTo>
                <a:lnTo>
                  <a:pt x="5887953" y="2861252"/>
                </a:lnTo>
                <a:lnTo>
                  <a:pt x="5884918" y="2867323"/>
                </a:lnTo>
                <a:lnTo>
                  <a:pt x="5878846" y="2867323"/>
                </a:lnTo>
                <a:lnTo>
                  <a:pt x="5875811" y="2870359"/>
                </a:lnTo>
                <a:lnTo>
                  <a:pt x="5875811" y="2873394"/>
                </a:lnTo>
                <a:lnTo>
                  <a:pt x="5872775" y="2876430"/>
                </a:lnTo>
                <a:lnTo>
                  <a:pt x="5869739" y="2876430"/>
                </a:lnTo>
                <a:lnTo>
                  <a:pt x="5866703" y="2882502"/>
                </a:lnTo>
                <a:lnTo>
                  <a:pt x="5854560" y="2885538"/>
                </a:lnTo>
                <a:lnTo>
                  <a:pt x="5851524" y="2885538"/>
                </a:lnTo>
                <a:lnTo>
                  <a:pt x="5848488" y="2888573"/>
                </a:lnTo>
                <a:lnTo>
                  <a:pt x="5842417" y="2885538"/>
                </a:lnTo>
                <a:lnTo>
                  <a:pt x="5836345" y="2888573"/>
                </a:lnTo>
                <a:lnTo>
                  <a:pt x="5827238" y="2891609"/>
                </a:lnTo>
                <a:lnTo>
                  <a:pt x="5821166" y="2888573"/>
                </a:lnTo>
                <a:lnTo>
                  <a:pt x="5818130" y="2891609"/>
                </a:lnTo>
                <a:lnTo>
                  <a:pt x="5815094" y="2891609"/>
                </a:lnTo>
                <a:lnTo>
                  <a:pt x="5809022" y="2882502"/>
                </a:lnTo>
                <a:lnTo>
                  <a:pt x="5809022" y="2876430"/>
                </a:lnTo>
                <a:lnTo>
                  <a:pt x="5805987" y="2879466"/>
                </a:lnTo>
                <a:lnTo>
                  <a:pt x="5802952" y="2882502"/>
                </a:lnTo>
                <a:lnTo>
                  <a:pt x="5809022" y="2885538"/>
                </a:lnTo>
                <a:lnTo>
                  <a:pt x="5809022" y="2894645"/>
                </a:lnTo>
                <a:lnTo>
                  <a:pt x="5805987" y="2897681"/>
                </a:lnTo>
                <a:lnTo>
                  <a:pt x="5802952" y="2900717"/>
                </a:lnTo>
                <a:lnTo>
                  <a:pt x="5787773" y="2906788"/>
                </a:lnTo>
                <a:lnTo>
                  <a:pt x="5781701" y="2906788"/>
                </a:lnTo>
                <a:lnTo>
                  <a:pt x="5778664" y="2906788"/>
                </a:lnTo>
                <a:lnTo>
                  <a:pt x="5775629" y="2909824"/>
                </a:lnTo>
                <a:lnTo>
                  <a:pt x="5769557" y="2912860"/>
                </a:lnTo>
                <a:lnTo>
                  <a:pt x="5763485" y="2912860"/>
                </a:lnTo>
                <a:lnTo>
                  <a:pt x="5760450" y="2912860"/>
                </a:lnTo>
                <a:lnTo>
                  <a:pt x="5757414" y="2912860"/>
                </a:lnTo>
                <a:lnTo>
                  <a:pt x="5757414" y="2915896"/>
                </a:lnTo>
                <a:lnTo>
                  <a:pt x="5751342" y="2915896"/>
                </a:lnTo>
                <a:lnTo>
                  <a:pt x="5748307" y="2918932"/>
                </a:lnTo>
                <a:lnTo>
                  <a:pt x="5745271" y="2918932"/>
                </a:lnTo>
                <a:lnTo>
                  <a:pt x="5739199" y="2921967"/>
                </a:lnTo>
                <a:lnTo>
                  <a:pt x="5739199" y="2928039"/>
                </a:lnTo>
                <a:lnTo>
                  <a:pt x="5742235" y="2928039"/>
                </a:lnTo>
                <a:lnTo>
                  <a:pt x="5742235" y="2931075"/>
                </a:lnTo>
                <a:lnTo>
                  <a:pt x="5745271" y="2934111"/>
                </a:lnTo>
                <a:lnTo>
                  <a:pt x="5742235" y="2940183"/>
                </a:lnTo>
                <a:lnTo>
                  <a:pt x="5736163" y="2940183"/>
                </a:lnTo>
                <a:lnTo>
                  <a:pt x="5730092" y="2931075"/>
                </a:lnTo>
                <a:lnTo>
                  <a:pt x="5730092" y="2928039"/>
                </a:lnTo>
                <a:lnTo>
                  <a:pt x="5727056" y="2928039"/>
                </a:lnTo>
                <a:lnTo>
                  <a:pt x="5730092" y="2921967"/>
                </a:lnTo>
                <a:lnTo>
                  <a:pt x="5730092" y="2915896"/>
                </a:lnTo>
                <a:lnTo>
                  <a:pt x="5733128" y="2915896"/>
                </a:lnTo>
                <a:lnTo>
                  <a:pt x="5733128" y="2912860"/>
                </a:lnTo>
                <a:lnTo>
                  <a:pt x="5717949" y="2915896"/>
                </a:lnTo>
                <a:lnTo>
                  <a:pt x="5714912" y="2912860"/>
                </a:lnTo>
                <a:lnTo>
                  <a:pt x="5711877" y="2906788"/>
                </a:lnTo>
                <a:lnTo>
                  <a:pt x="5705805" y="2912860"/>
                </a:lnTo>
                <a:lnTo>
                  <a:pt x="5693662" y="2912860"/>
                </a:lnTo>
                <a:lnTo>
                  <a:pt x="5690626" y="2909824"/>
                </a:lnTo>
                <a:lnTo>
                  <a:pt x="5689867" y="2909824"/>
                </a:lnTo>
                <a:lnTo>
                  <a:pt x="5689866" y="2909825"/>
                </a:lnTo>
                <a:lnTo>
                  <a:pt x="5690626" y="2909825"/>
                </a:lnTo>
                <a:lnTo>
                  <a:pt x="5693662" y="2912861"/>
                </a:lnTo>
                <a:lnTo>
                  <a:pt x="5690626" y="2912861"/>
                </a:lnTo>
                <a:lnTo>
                  <a:pt x="5681519" y="2921968"/>
                </a:lnTo>
                <a:lnTo>
                  <a:pt x="5681519" y="2925005"/>
                </a:lnTo>
                <a:lnTo>
                  <a:pt x="5675447" y="2925005"/>
                </a:lnTo>
                <a:lnTo>
                  <a:pt x="5666340" y="2931075"/>
                </a:lnTo>
                <a:lnTo>
                  <a:pt x="5663304" y="2940184"/>
                </a:lnTo>
                <a:lnTo>
                  <a:pt x="5663304" y="2943219"/>
                </a:lnTo>
                <a:lnTo>
                  <a:pt x="5654196" y="2946254"/>
                </a:lnTo>
                <a:lnTo>
                  <a:pt x="5651161" y="2949291"/>
                </a:lnTo>
                <a:lnTo>
                  <a:pt x="5648125" y="2955363"/>
                </a:lnTo>
                <a:lnTo>
                  <a:pt x="5648125" y="2961434"/>
                </a:lnTo>
                <a:lnTo>
                  <a:pt x="5648125" y="2964470"/>
                </a:lnTo>
                <a:lnTo>
                  <a:pt x="5645089" y="2967505"/>
                </a:lnTo>
                <a:lnTo>
                  <a:pt x="5648125" y="2976613"/>
                </a:lnTo>
                <a:lnTo>
                  <a:pt x="5654196" y="2982684"/>
                </a:lnTo>
                <a:lnTo>
                  <a:pt x="5663304" y="2988756"/>
                </a:lnTo>
                <a:lnTo>
                  <a:pt x="5663304" y="2997864"/>
                </a:lnTo>
                <a:lnTo>
                  <a:pt x="5675447" y="3010007"/>
                </a:lnTo>
                <a:lnTo>
                  <a:pt x="5681519" y="3019114"/>
                </a:lnTo>
                <a:lnTo>
                  <a:pt x="5687591" y="3022150"/>
                </a:lnTo>
                <a:lnTo>
                  <a:pt x="5693662" y="3025186"/>
                </a:lnTo>
                <a:lnTo>
                  <a:pt x="5696698" y="3028222"/>
                </a:lnTo>
                <a:lnTo>
                  <a:pt x="5699733" y="3031257"/>
                </a:lnTo>
                <a:lnTo>
                  <a:pt x="5708841" y="3043401"/>
                </a:lnTo>
                <a:lnTo>
                  <a:pt x="5714912" y="3058580"/>
                </a:lnTo>
                <a:lnTo>
                  <a:pt x="5717949" y="3064652"/>
                </a:lnTo>
                <a:lnTo>
                  <a:pt x="5720984" y="3076794"/>
                </a:lnTo>
                <a:lnTo>
                  <a:pt x="5720984" y="3085902"/>
                </a:lnTo>
                <a:lnTo>
                  <a:pt x="5720984" y="3095010"/>
                </a:lnTo>
                <a:lnTo>
                  <a:pt x="5724020" y="3101081"/>
                </a:lnTo>
                <a:lnTo>
                  <a:pt x="5720984" y="3110189"/>
                </a:lnTo>
                <a:lnTo>
                  <a:pt x="5720984" y="3116260"/>
                </a:lnTo>
                <a:lnTo>
                  <a:pt x="5717949" y="3122332"/>
                </a:lnTo>
                <a:lnTo>
                  <a:pt x="5711877" y="3134475"/>
                </a:lnTo>
                <a:lnTo>
                  <a:pt x="5696698" y="3140546"/>
                </a:lnTo>
                <a:lnTo>
                  <a:pt x="5681519" y="3149654"/>
                </a:lnTo>
                <a:lnTo>
                  <a:pt x="5666340" y="3149654"/>
                </a:lnTo>
                <a:lnTo>
                  <a:pt x="5660268" y="3152690"/>
                </a:lnTo>
                <a:lnTo>
                  <a:pt x="5669375" y="3155725"/>
                </a:lnTo>
                <a:lnTo>
                  <a:pt x="5666340" y="3158762"/>
                </a:lnTo>
                <a:lnTo>
                  <a:pt x="5663304" y="3161797"/>
                </a:lnTo>
                <a:lnTo>
                  <a:pt x="5663304" y="3167869"/>
                </a:lnTo>
                <a:lnTo>
                  <a:pt x="5657232" y="3170904"/>
                </a:lnTo>
                <a:lnTo>
                  <a:pt x="5654196" y="3173941"/>
                </a:lnTo>
                <a:lnTo>
                  <a:pt x="5648125" y="3176976"/>
                </a:lnTo>
                <a:lnTo>
                  <a:pt x="5642053" y="3176976"/>
                </a:lnTo>
                <a:lnTo>
                  <a:pt x="5639017" y="3183048"/>
                </a:lnTo>
                <a:lnTo>
                  <a:pt x="5629910" y="3189120"/>
                </a:lnTo>
                <a:lnTo>
                  <a:pt x="5626874" y="3183048"/>
                </a:lnTo>
                <a:lnTo>
                  <a:pt x="5626874" y="3176976"/>
                </a:lnTo>
                <a:lnTo>
                  <a:pt x="5629910" y="3176976"/>
                </a:lnTo>
                <a:lnTo>
                  <a:pt x="5629910" y="3161797"/>
                </a:lnTo>
                <a:lnTo>
                  <a:pt x="5635982" y="3161797"/>
                </a:lnTo>
                <a:lnTo>
                  <a:pt x="5629910" y="3155725"/>
                </a:lnTo>
                <a:lnTo>
                  <a:pt x="5620802" y="3149654"/>
                </a:lnTo>
                <a:lnTo>
                  <a:pt x="5614731" y="3146618"/>
                </a:lnTo>
                <a:lnTo>
                  <a:pt x="5608660" y="3143583"/>
                </a:lnTo>
                <a:lnTo>
                  <a:pt x="5602588" y="3149654"/>
                </a:lnTo>
                <a:lnTo>
                  <a:pt x="5605623" y="3143583"/>
                </a:lnTo>
                <a:lnTo>
                  <a:pt x="5605623" y="3140546"/>
                </a:lnTo>
                <a:lnTo>
                  <a:pt x="5602588" y="3134475"/>
                </a:lnTo>
                <a:lnTo>
                  <a:pt x="5599552" y="3137511"/>
                </a:lnTo>
                <a:lnTo>
                  <a:pt x="5593481" y="3140546"/>
                </a:lnTo>
                <a:lnTo>
                  <a:pt x="5593481" y="3131439"/>
                </a:lnTo>
                <a:lnTo>
                  <a:pt x="5593481" y="3128404"/>
                </a:lnTo>
                <a:lnTo>
                  <a:pt x="5590444" y="3125368"/>
                </a:lnTo>
                <a:lnTo>
                  <a:pt x="5584372" y="3116260"/>
                </a:lnTo>
                <a:lnTo>
                  <a:pt x="5575265" y="3110189"/>
                </a:lnTo>
                <a:lnTo>
                  <a:pt x="5566158" y="3104117"/>
                </a:lnTo>
                <a:lnTo>
                  <a:pt x="5554015" y="3104117"/>
                </a:lnTo>
                <a:lnTo>
                  <a:pt x="5547943" y="3101081"/>
                </a:lnTo>
                <a:lnTo>
                  <a:pt x="5547943" y="3091974"/>
                </a:lnTo>
                <a:lnTo>
                  <a:pt x="5547943" y="3085902"/>
                </a:lnTo>
                <a:lnTo>
                  <a:pt x="5544907" y="3085902"/>
                </a:lnTo>
                <a:lnTo>
                  <a:pt x="5541872" y="3082866"/>
                </a:lnTo>
                <a:lnTo>
                  <a:pt x="5535800" y="3085902"/>
                </a:lnTo>
                <a:lnTo>
                  <a:pt x="5529728" y="3088938"/>
                </a:lnTo>
                <a:lnTo>
                  <a:pt x="5529728" y="3101081"/>
                </a:lnTo>
                <a:lnTo>
                  <a:pt x="5526692" y="3110189"/>
                </a:lnTo>
                <a:lnTo>
                  <a:pt x="5517585" y="3134475"/>
                </a:lnTo>
                <a:lnTo>
                  <a:pt x="5514549" y="3146618"/>
                </a:lnTo>
                <a:lnTo>
                  <a:pt x="5511513" y="3158762"/>
                </a:lnTo>
                <a:lnTo>
                  <a:pt x="5511513" y="3170904"/>
                </a:lnTo>
                <a:lnTo>
                  <a:pt x="5514549" y="3176976"/>
                </a:lnTo>
                <a:lnTo>
                  <a:pt x="5526692" y="3173941"/>
                </a:lnTo>
                <a:lnTo>
                  <a:pt x="5529728" y="3189120"/>
                </a:lnTo>
                <a:lnTo>
                  <a:pt x="5532764" y="3192155"/>
                </a:lnTo>
                <a:lnTo>
                  <a:pt x="5535800" y="3195192"/>
                </a:lnTo>
                <a:lnTo>
                  <a:pt x="5538836" y="3210370"/>
                </a:lnTo>
                <a:lnTo>
                  <a:pt x="5535800" y="3204299"/>
                </a:lnTo>
                <a:lnTo>
                  <a:pt x="5532764" y="3210370"/>
                </a:lnTo>
                <a:lnTo>
                  <a:pt x="5535800" y="3216442"/>
                </a:lnTo>
                <a:lnTo>
                  <a:pt x="5541872" y="3219478"/>
                </a:lnTo>
                <a:lnTo>
                  <a:pt x="5550979" y="3222514"/>
                </a:lnTo>
                <a:lnTo>
                  <a:pt x="5560086" y="3225549"/>
                </a:lnTo>
                <a:lnTo>
                  <a:pt x="5572230" y="3237693"/>
                </a:lnTo>
                <a:lnTo>
                  <a:pt x="5578302" y="3237693"/>
                </a:lnTo>
                <a:lnTo>
                  <a:pt x="5587409" y="3246800"/>
                </a:lnTo>
                <a:lnTo>
                  <a:pt x="5596516" y="3261979"/>
                </a:lnTo>
                <a:lnTo>
                  <a:pt x="5599552" y="3280193"/>
                </a:lnTo>
                <a:lnTo>
                  <a:pt x="5599552" y="3286265"/>
                </a:lnTo>
                <a:lnTo>
                  <a:pt x="5599552" y="3292337"/>
                </a:lnTo>
                <a:lnTo>
                  <a:pt x="5605623" y="3310552"/>
                </a:lnTo>
                <a:lnTo>
                  <a:pt x="5608660" y="3310552"/>
                </a:lnTo>
                <a:lnTo>
                  <a:pt x="5611695" y="3316624"/>
                </a:lnTo>
                <a:lnTo>
                  <a:pt x="5614731" y="3328767"/>
                </a:lnTo>
                <a:lnTo>
                  <a:pt x="5614731" y="3337874"/>
                </a:lnTo>
                <a:lnTo>
                  <a:pt x="5605623" y="3334839"/>
                </a:lnTo>
                <a:lnTo>
                  <a:pt x="5593481" y="3328767"/>
                </a:lnTo>
                <a:lnTo>
                  <a:pt x="5584372" y="3325731"/>
                </a:lnTo>
                <a:lnTo>
                  <a:pt x="5581337" y="3322695"/>
                </a:lnTo>
                <a:lnTo>
                  <a:pt x="5563123" y="3313588"/>
                </a:lnTo>
                <a:lnTo>
                  <a:pt x="5557051" y="3307516"/>
                </a:lnTo>
                <a:lnTo>
                  <a:pt x="5557051" y="3304481"/>
                </a:lnTo>
                <a:lnTo>
                  <a:pt x="5547943" y="3289302"/>
                </a:lnTo>
                <a:lnTo>
                  <a:pt x="5544907" y="3286265"/>
                </a:lnTo>
                <a:lnTo>
                  <a:pt x="5547943" y="3283230"/>
                </a:lnTo>
                <a:lnTo>
                  <a:pt x="5541872" y="3280193"/>
                </a:lnTo>
                <a:lnTo>
                  <a:pt x="5541872" y="3274123"/>
                </a:lnTo>
                <a:lnTo>
                  <a:pt x="5538836" y="3261979"/>
                </a:lnTo>
                <a:lnTo>
                  <a:pt x="5535800" y="3243764"/>
                </a:lnTo>
                <a:lnTo>
                  <a:pt x="5532764" y="3231621"/>
                </a:lnTo>
                <a:lnTo>
                  <a:pt x="5523657" y="3225549"/>
                </a:lnTo>
                <a:lnTo>
                  <a:pt x="5523657" y="3219478"/>
                </a:lnTo>
                <a:lnTo>
                  <a:pt x="5514549" y="3213406"/>
                </a:lnTo>
                <a:lnTo>
                  <a:pt x="5508478" y="3201263"/>
                </a:lnTo>
                <a:lnTo>
                  <a:pt x="5502406" y="3192155"/>
                </a:lnTo>
                <a:lnTo>
                  <a:pt x="5496334" y="3195192"/>
                </a:lnTo>
                <a:lnTo>
                  <a:pt x="5496334" y="3198227"/>
                </a:lnTo>
                <a:lnTo>
                  <a:pt x="5493299" y="3189120"/>
                </a:lnTo>
                <a:lnTo>
                  <a:pt x="5496334" y="3173941"/>
                </a:lnTo>
                <a:lnTo>
                  <a:pt x="5499371" y="3161797"/>
                </a:lnTo>
                <a:lnTo>
                  <a:pt x="5499371" y="3158762"/>
                </a:lnTo>
                <a:lnTo>
                  <a:pt x="5496334" y="3146618"/>
                </a:lnTo>
                <a:lnTo>
                  <a:pt x="5496334" y="3143583"/>
                </a:lnTo>
                <a:lnTo>
                  <a:pt x="5499371" y="3143583"/>
                </a:lnTo>
                <a:lnTo>
                  <a:pt x="5502406" y="3131439"/>
                </a:lnTo>
                <a:lnTo>
                  <a:pt x="5502406" y="3119296"/>
                </a:lnTo>
                <a:lnTo>
                  <a:pt x="5499371" y="3110189"/>
                </a:lnTo>
                <a:lnTo>
                  <a:pt x="5502406" y="3101081"/>
                </a:lnTo>
                <a:lnTo>
                  <a:pt x="5496334" y="3088938"/>
                </a:lnTo>
                <a:lnTo>
                  <a:pt x="5493299" y="3079831"/>
                </a:lnTo>
                <a:lnTo>
                  <a:pt x="5493299" y="3076794"/>
                </a:lnTo>
                <a:lnTo>
                  <a:pt x="5490262" y="3079831"/>
                </a:lnTo>
                <a:lnTo>
                  <a:pt x="5484192" y="3061615"/>
                </a:lnTo>
                <a:lnTo>
                  <a:pt x="5484192" y="3055545"/>
                </a:lnTo>
                <a:lnTo>
                  <a:pt x="5484192" y="3052508"/>
                </a:lnTo>
                <a:lnTo>
                  <a:pt x="5484192" y="3049473"/>
                </a:lnTo>
                <a:lnTo>
                  <a:pt x="5484192" y="3046436"/>
                </a:lnTo>
                <a:lnTo>
                  <a:pt x="5481155" y="3037329"/>
                </a:lnTo>
                <a:lnTo>
                  <a:pt x="5481155" y="3028222"/>
                </a:lnTo>
                <a:lnTo>
                  <a:pt x="5481155" y="3019114"/>
                </a:lnTo>
                <a:lnTo>
                  <a:pt x="5475083" y="3022150"/>
                </a:lnTo>
                <a:lnTo>
                  <a:pt x="5472048" y="3013043"/>
                </a:lnTo>
                <a:lnTo>
                  <a:pt x="5469013" y="3006971"/>
                </a:lnTo>
                <a:lnTo>
                  <a:pt x="5465976" y="3000899"/>
                </a:lnTo>
                <a:lnTo>
                  <a:pt x="5465976" y="3003935"/>
                </a:lnTo>
                <a:lnTo>
                  <a:pt x="5459904" y="3019114"/>
                </a:lnTo>
                <a:lnTo>
                  <a:pt x="5453833" y="3025186"/>
                </a:lnTo>
                <a:lnTo>
                  <a:pt x="5447762" y="3025186"/>
                </a:lnTo>
                <a:lnTo>
                  <a:pt x="5441690" y="3031257"/>
                </a:lnTo>
                <a:lnTo>
                  <a:pt x="5432583" y="3037329"/>
                </a:lnTo>
                <a:lnTo>
                  <a:pt x="5423475" y="3037329"/>
                </a:lnTo>
                <a:lnTo>
                  <a:pt x="5420439" y="3034294"/>
                </a:lnTo>
                <a:lnTo>
                  <a:pt x="5420439" y="3028222"/>
                </a:lnTo>
                <a:lnTo>
                  <a:pt x="5420439" y="3022150"/>
                </a:lnTo>
                <a:lnTo>
                  <a:pt x="5414368" y="3031257"/>
                </a:lnTo>
                <a:lnTo>
                  <a:pt x="5411332" y="3034294"/>
                </a:lnTo>
                <a:lnTo>
                  <a:pt x="5408296" y="3028222"/>
                </a:lnTo>
                <a:lnTo>
                  <a:pt x="5417403" y="3003935"/>
                </a:lnTo>
                <a:lnTo>
                  <a:pt x="5417403" y="2997864"/>
                </a:lnTo>
                <a:lnTo>
                  <a:pt x="5414368" y="2994828"/>
                </a:lnTo>
                <a:lnTo>
                  <a:pt x="5414368" y="2985721"/>
                </a:lnTo>
                <a:lnTo>
                  <a:pt x="5414368" y="2982684"/>
                </a:lnTo>
                <a:lnTo>
                  <a:pt x="5411332" y="2976613"/>
                </a:lnTo>
                <a:lnTo>
                  <a:pt x="5408296" y="2973577"/>
                </a:lnTo>
                <a:lnTo>
                  <a:pt x="5405260" y="2970542"/>
                </a:lnTo>
                <a:lnTo>
                  <a:pt x="5405260" y="2958398"/>
                </a:lnTo>
                <a:lnTo>
                  <a:pt x="5399189" y="2952326"/>
                </a:lnTo>
                <a:lnTo>
                  <a:pt x="5396152" y="2949291"/>
                </a:lnTo>
                <a:lnTo>
                  <a:pt x="5390081" y="2946254"/>
                </a:lnTo>
                <a:lnTo>
                  <a:pt x="5387045" y="2946254"/>
                </a:lnTo>
                <a:lnTo>
                  <a:pt x="5374903" y="2937147"/>
                </a:lnTo>
                <a:lnTo>
                  <a:pt x="5368831" y="2921968"/>
                </a:lnTo>
                <a:lnTo>
                  <a:pt x="5369637" y="2919549"/>
                </a:lnTo>
                <a:lnTo>
                  <a:pt x="5369637" y="2919548"/>
                </a:lnTo>
                <a:lnTo>
                  <a:pt x="5368831" y="2921967"/>
                </a:lnTo>
                <a:lnTo>
                  <a:pt x="5359723" y="2894645"/>
                </a:lnTo>
                <a:lnTo>
                  <a:pt x="5350615" y="2885538"/>
                </a:lnTo>
                <a:lnTo>
                  <a:pt x="5344544" y="2882502"/>
                </a:lnTo>
                <a:lnTo>
                  <a:pt x="5335436" y="2879466"/>
                </a:lnTo>
                <a:lnTo>
                  <a:pt x="5335436" y="2888573"/>
                </a:lnTo>
                <a:lnTo>
                  <a:pt x="5335436" y="2897681"/>
                </a:lnTo>
                <a:lnTo>
                  <a:pt x="5326329" y="2906788"/>
                </a:lnTo>
                <a:lnTo>
                  <a:pt x="5320258" y="2903753"/>
                </a:lnTo>
                <a:lnTo>
                  <a:pt x="5314186" y="2909824"/>
                </a:lnTo>
                <a:lnTo>
                  <a:pt x="5308114" y="2909824"/>
                </a:lnTo>
                <a:lnTo>
                  <a:pt x="5305079" y="2909824"/>
                </a:lnTo>
                <a:lnTo>
                  <a:pt x="5304851" y="2909142"/>
                </a:lnTo>
                <a:lnTo>
                  <a:pt x="5305079" y="2909825"/>
                </a:lnTo>
                <a:lnTo>
                  <a:pt x="5302801" y="2909825"/>
                </a:lnTo>
                <a:lnTo>
                  <a:pt x="5302043" y="2909825"/>
                </a:lnTo>
                <a:lnTo>
                  <a:pt x="5295971" y="2912861"/>
                </a:lnTo>
                <a:lnTo>
                  <a:pt x="5283828" y="2903754"/>
                </a:lnTo>
                <a:lnTo>
                  <a:pt x="5280792" y="2903754"/>
                </a:lnTo>
                <a:lnTo>
                  <a:pt x="5271684" y="2909825"/>
                </a:lnTo>
                <a:lnTo>
                  <a:pt x="5259542" y="2915897"/>
                </a:lnTo>
                <a:lnTo>
                  <a:pt x="5259542" y="2925005"/>
                </a:lnTo>
                <a:lnTo>
                  <a:pt x="5262577" y="2931075"/>
                </a:lnTo>
                <a:lnTo>
                  <a:pt x="5247398" y="2946254"/>
                </a:lnTo>
                <a:lnTo>
                  <a:pt x="5235255" y="2952326"/>
                </a:lnTo>
                <a:lnTo>
                  <a:pt x="5214004" y="2964470"/>
                </a:lnTo>
                <a:lnTo>
                  <a:pt x="5204897" y="2979649"/>
                </a:lnTo>
                <a:lnTo>
                  <a:pt x="5201861" y="2982684"/>
                </a:lnTo>
                <a:lnTo>
                  <a:pt x="5189718" y="2988756"/>
                </a:lnTo>
                <a:lnTo>
                  <a:pt x="5180611" y="3000899"/>
                </a:lnTo>
                <a:lnTo>
                  <a:pt x="5168467" y="3006971"/>
                </a:lnTo>
                <a:lnTo>
                  <a:pt x="5162395" y="3010007"/>
                </a:lnTo>
                <a:lnTo>
                  <a:pt x="5165432" y="3016078"/>
                </a:lnTo>
                <a:lnTo>
                  <a:pt x="5162395" y="3019114"/>
                </a:lnTo>
                <a:lnTo>
                  <a:pt x="5153288" y="3025186"/>
                </a:lnTo>
                <a:lnTo>
                  <a:pt x="5144181" y="3025186"/>
                </a:lnTo>
                <a:lnTo>
                  <a:pt x="5141145" y="3031257"/>
                </a:lnTo>
                <a:lnTo>
                  <a:pt x="5135073" y="3031257"/>
                </a:lnTo>
                <a:lnTo>
                  <a:pt x="5129002" y="3034294"/>
                </a:lnTo>
                <a:lnTo>
                  <a:pt x="5125966" y="3037329"/>
                </a:lnTo>
                <a:lnTo>
                  <a:pt x="5119894" y="3040365"/>
                </a:lnTo>
                <a:lnTo>
                  <a:pt x="5116858" y="3052508"/>
                </a:lnTo>
                <a:lnTo>
                  <a:pt x="5119894" y="3061615"/>
                </a:lnTo>
                <a:lnTo>
                  <a:pt x="5119894" y="3073759"/>
                </a:lnTo>
                <a:lnTo>
                  <a:pt x="5119894" y="3079831"/>
                </a:lnTo>
                <a:lnTo>
                  <a:pt x="5122930" y="3088938"/>
                </a:lnTo>
                <a:lnTo>
                  <a:pt x="5116858" y="3110189"/>
                </a:lnTo>
                <a:lnTo>
                  <a:pt x="5110787" y="3128404"/>
                </a:lnTo>
                <a:lnTo>
                  <a:pt x="5113823" y="3137511"/>
                </a:lnTo>
                <a:lnTo>
                  <a:pt x="5113823" y="3149654"/>
                </a:lnTo>
                <a:lnTo>
                  <a:pt x="5107751" y="3152690"/>
                </a:lnTo>
                <a:lnTo>
                  <a:pt x="5101679" y="3155725"/>
                </a:lnTo>
                <a:lnTo>
                  <a:pt x="5095608" y="3164834"/>
                </a:lnTo>
                <a:lnTo>
                  <a:pt x="5089536" y="3170904"/>
                </a:lnTo>
                <a:lnTo>
                  <a:pt x="5080429" y="3180013"/>
                </a:lnTo>
                <a:lnTo>
                  <a:pt x="5077393" y="3186084"/>
                </a:lnTo>
                <a:lnTo>
                  <a:pt x="5077393" y="3189120"/>
                </a:lnTo>
                <a:lnTo>
                  <a:pt x="5068285" y="3195192"/>
                </a:lnTo>
                <a:lnTo>
                  <a:pt x="5062213" y="3198227"/>
                </a:lnTo>
                <a:lnTo>
                  <a:pt x="5056143" y="3195192"/>
                </a:lnTo>
                <a:lnTo>
                  <a:pt x="5050071" y="3189120"/>
                </a:lnTo>
                <a:lnTo>
                  <a:pt x="5043999" y="3180013"/>
                </a:lnTo>
                <a:lnTo>
                  <a:pt x="5040964" y="3164834"/>
                </a:lnTo>
                <a:lnTo>
                  <a:pt x="5034892" y="3152690"/>
                </a:lnTo>
                <a:lnTo>
                  <a:pt x="5028820" y="3137511"/>
                </a:lnTo>
                <a:lnTo>
                  <a:pt x="5022748" y="3122332"/>
                </a:lnTo>
                <a:lnTo>
                  <a:pt x="5019713" y="3116260"/>
                </a:lnTo>
                <a:lnTo>
                  <a:pt x="5016677" y="3116260"/>
                </a:lnTo>
                <a:lnTo>
                  <a:pt x="5010605" y="3101081"/>
                </a:lnTo>
                <a:lnTo>
                  <a:pt x="5007569" y="3082866"/>
                </a:lnTo>
                <a:lnTo>
                  <a:pt x="5004533" y="3076794"/>
                </a:lnTo>
                <a:lnTo>
                  <a:pt x="5001498" y="3070723"/>
                </a:lnTo>
                <a:lnTo>
                  <a:pt x="4998462" y="3064652"/>
                </a:lnTo>
                <a:lnTo>
                  <a:pt x="4992390" y="3055545"/>
                </a:lnTo>
                <a:lnTo>
                  <a:pt x="4989354" y="3043401"/>
                </a:lnTo>
                <a:lnTo>
                  <a:pt x="4986319" y="3037329"/>
                </a:lnTo>
                <a:lnTo>
                  <a:pt x="4980247" y="3028222"/>
                </a:lnTo>
                <a:lnTo>
                  <a:pt x="4977211" y="3022150"/>
                </a:lnTo>
                <a:lnTo>
                  <a:pt x="4980247" y="3022150"/>
                </a:lnTo>
                <a:lnTo>
                  <a:pt x="4977211" y="3010007"/>
                </a:lnTo>
                <a:lnTo>
                  <a:pt x="4974175" y="3003935"/>
                </a:lnTo>
                <a:lnTo>
                  <a:pt x="4974175" y="3000899"/>
                </a:lnTo>
                <a:lnTo>
                  <a:pt x="4974175" y="2997864"/>
                </a:lnTo>
                <a:lnTo>
                  <a:pt x="4974175" y="2994828"/>
                </a:lnTo>
                <a:lnTo>
                  <a:pt x="4971140" y="2991792"/>
                </a:lnTo>
                <a:lnTo>
                  <a:pt x="4971140" y="2985721"/>
                </a:lnTo>
                <a:lnTo>
                  <a:pt x="4971140" y="2982684"/>
                </a:lnTo>
                <a:lnTo>
                  <a:pt x="4968103" y="2967505"/>
                </a:lnTo>
                <a:lnTo>
                  <a:pt x="4968103" y="2961434"/>
                </a:lnTo>
                <a:lnTo>
                  <a:pt x="4965068" y="2958398"/>
                </a:lnTo>
                <a:lnTo>
                  <a:pt x="4965068" y="2949291"/>
                </a:lnTo>
                <a:lnTo>
                  <a:pt x="4971140" y="2928040"/>
                </a:lnTo>
                <a:lnTo>
                  <a:pt x="4968103" y="2928040"/>
                </a:lnTo>
                <a:lnTo>
                  <a:pt x="4965068" y="2921968"/>
                </a:lnTo>
                <a:lnTo>
                  <a:pt x="4962032" y="2915897"/>
                </a:lnTo>
                <a:lnTo>
                  <a:pt x="4965068" y="2909825"/>
                </a:lnTo>
                <a:lnTo>
                  <a:pt x="4962032" y="2900718"/>
                </a:lnTo>
                <a:lnTo>
                  <a:pt x="4962032" y="2897682"/>
                </a:lnTo>
                <a:lnTo>
                  <a:pt x="4955961" y="2894646"/>
                </a:lnTo>
                <a:lnTo>
                  <a:pt x="4952924" y="2897682"/>
                </a:lnTo>
                <a:lnTo>
                  <a:pt x="4955961" y="2906789"/>
                </a:lnTo>
                <a:lnTo>
                  <a:pt x="4958996" y="2909825"/>
                </a:lnTo>
                <a:lnTo>
                  <a:pt x="4955961" y="2912861"/>
                </a:lnTo>
                <a:lnTo>
                  <a:pt x="4949889" y="2921968"/>
                </a:lnTo>
                <a:lnTo>
                  <a:pt x="4928638" y="2931075"/>
                </a:lnTo>
                <a:lnTo>
                  <a:pt x="4916495" y="2925005"/>
                </a:lnTo>
                <a:lnTo>
                  <a:pt x="4910423" y="2918933"/>
                </a:lnTo>
                <a:lnTo>
                  <a:pt x="4892209" y="2900718"/>
                </a:lnTo>
                <a:lnTo>
                  <a:pt x="4892209" y="2894646"/>
                </a:lnTo>
                <a:lnTo>
                  <a:pt x="4904352" y="2894646"/>
                </a:lnTo>
                <a:lnTo>
                  <a:pt x="4913459" y="2888574"/>
                </a:lnTo>
                <a:lnTo>
                  <a:pt x="4919531" y="2879467"/>
                </a:lnTo>
                <a:lnTo>
                  <a:pt x="4913459" y="2879467"/>
                </a:lnTo>
                <a:lnTo>
                  <a:pt x="4904352" y="2885539"/>
                </a:lnTo>
                <a:lnTo>
                  <a:pt x="4901316" y="2885539"/>
                </a:lnTo>
                <a:lnTo>
                  <a:pt x="4895244" y="2882503"/>
                </a:lnTo>
                <a:lnTo>
                  <a:pt x="4883101" y="2876431"/>
                </a:lnTo>
                <a:lnTo>
                  <a:pt x="4877030" y="2870360"/>
                </a:lnTo>
                <a:lnTo>
                  <a:pt x="4877030" y="2867324"/>
                </a:lnTo>
                <a:lnTo>
                  <a:pt x="4873993" y="2861252"/>
                </a:lnTo>
                <a:lnTo>
                  <a:pt x="4867922" y="2858216"/>
                </a:lnTo>
                <a:lnTo>
                  <a:pt x="4858814" y="2855181"/>
                </a:lnTo>
                <a:lnTo>
                  <a:pt x="4852743" y="2852144"/>
                </a:lnTo>
                <a:lnTo>
                  <a:pt x="4849707" y="2843037"/>
                </a:lnTo>
                <a:lnTo>
                  <a:pt x="4837563" y="2821786"/>
                </a:lnTo>
                <a:lnTo>
                  <a:pt x="4834528" y="2821786"/>
                </a:lnTo>
                <a:lnTo>
                  <a:pt x="4831493" y="2821786"/>
                </a:lnTo>
                <a:lnTo>
                  <a:pt x="4828456" y="2824823"/>
                </a:lnTo>
                <a:lnTo>
                  <a:pt x="4825421" y="2824823"/>
                </a:lnTo>
                <a:lnTo>
                  <a:pt x="4807206" y="2827858"/>
                </a:lnTo>
                <a:lnTo>
                  <a:pt x="4801134" y="2827858"/>
                </a:lnTo>
                <a:lnTo>
                  <a:pt x="4798098" y="2830895"/>
                </a:lnTo>
                <a:lnTo>
                  <a:pt x="4785955" y="2827858"/>
                </a:lnTo>
                <a:lnTo>
                  <a:pt x="4776848" y="2827858"/>
                </a:lnTo>
                <a:lnTo>
                  <a:pt x="4764704" y="2827858"/>
                </a:lnTo>
                <a:lnTo>
                  <a:pt x="4746490" y="2830895"/>
                </a:lnTo>
                <a:lnTo>
                  <a:pt x="4742812" y="2830895"/>
                </a:lnTo>
                <a:cubicBezTo>
                  <a:pt x="4741715" y="2831229"/>
                  <a:pt x="4740206" y="2831723"/>
                  <a:pt x="4738140" y="2832412"/>
                </a:cubicBezTo>
                <a:lnTo>
                  <a:pt x="4735611" y="2831779"/>
                </a:lnTo>
                <a:lnTo>
                  <a:pt x="4731311" y="2833929"/>
                </a:lnTo>
                <a:lnTo>
                  <a:pt x="4725239" y="2830894"/>
                </a:lnTo>
                <a:lnTo>
                  <a:pt x="4719167" y="2827857"/>
                </a:lnTo>
                <a:lnTo>
                  <a:pt x="4713095" y="2827857"/>
                </a:lnTo>
                <a:lnTo>
                  <a:pt x="4697917" y="2824822"/>
                </a:lnTo>
                <a:lnTo>
                  <a:pt x="4685774" y="2824822"/>
                </a:lnTo>
                <a:lnTo>
                  <a:pt x="4676666" y="2821785"/>
                </a:lnTo>
                <a:lnTo>
                  <a:pt x="4661487" y="2818750"/>
                </a:lnTo>
                <a:lnTo>
                  <a:pt x="4649343" y="2818750"/>
                </a:lnTo>
                <a:lnTo>
                  <a:pt x="4646308" y="2812678"/>
                </a:lnTo>
                <a:lnTo>
                  <a:pt x="4643273" y="2806606"/>
                </a:lnTo>
                <a:lnTo>
                  <a:pt x="4643273" y="2800535"/>
                </a:lnTo>
                <a:lnTo>
                  <a:pt x="4643273" y="2797499"/>
                </a:lnTo>
                <a:lnTo>
                  <a:pt x="4637201" y="2785356"/>
                </a:lnTo>
                <a:lnTo>
                  <a:pt x="4628094" y="2785356"/>
                </a:lnTo>
                <a:lnTo>
                  <a:pt x="4622022" y="2785356"/>
                </a:lnTo>
                <a:lnTo>
                  <a:pt x="4612914" y="2788392"/>
                </a:lnTo>
                <a:lnTo>
                  <a:pt x="4606843" y="2794464"/>
                </a:lnTo>
                <a:lnTo>
                  <a:pt x="4594699" y="2800535"/>
                </a:lnTo>
                <a:lnTo>
                  <a:pt x="4579520" y="2797499"/>
                </a:lnTo>
                <a:lnTo>
                  <a:pt x="4558270" y="2785356"/>
                </a:lnTo>
                <a:lnTo>
                  <a:pt x="4552198" y="2782320"/>
                </a:lnTo>
                <a:lnTo>
                  <a:pt x="4549162" y="2776249"/>
                </a:lnTo>
                <a:lnTo>
                  <a:pt x="4540054" y="2770177"/>
                </a:lnTo>
                <a:lnTo>
                  <a:pt x="4530947" y="2770177"/>
                </a:lnTo>
                <a:lnTo>
                  <a:pt x="4524875" y="2761070"/>
                </a:lnTo>
                <a:lnTo>
                  <a:pt x="4518804" y="2748926"/>
                </a:lnTo>
                <a:lnTo>
                  <a:pt x="4509696" y="2733747"/>
                </a:lnTo>
                <a:lnTo>
                  <a:pt x="4503625" y="2721604"/>
                </a:lnTo>
                <a:lnTo>
                  <a:pt x="4491482" y="2715533"/>
                </a:lnTo>
                <a:lnTo>
                  <a:pt x="4488446" y="2718568"/>
                </a:lnTo>
                <a:lnTo>
                  <a:pt x="4482374" y="2715533"/>
                </a:lnTo>
                <a:lnTo>
                  <a:pt x="4476303" y="2715533"/>
                </a:lnTo>
                <a:lnTo>
                  <a:pt x="4473267" y="2718568"/>
                </a:lnTo>
                <a:lnTo>
                  <a:pt x="4467195" y="2721604"/>
                </a:lnTo>
                <a:lnTo>
                  <a:pt x="4462344" y="2720391"/>
                </a:lnTo>
                <a:lnTo>
                  <a:pt x="4455052" y="2719783"/>
                </a:lnTo>
                <a:lnTo>
                  <a:pt x="4455052" y="2727675"/>
                </a:lnTo>
                <a:lnTo>
                  <a:pt x="4455052" y="2736783"/>
                </a:lnTo>
                <a:lnTo>
                  <a:pt x="4459710" y="2746099"/>
                </a:lnTo>
                <a:cubicBezTo>
                  <a:pt x="4462783" y="2750577"/>
                  <a:pt x="4463811" y="2752004"/>
                  <a:pt x="4463408" y="2753495"/>
                </a:cubicBezTo>
                <a:lnTo>
                  <a:pt x="4464160" y="2754998"/>
                </a:lnTo>
                <a:lnTo>
                  <a:pt x="4463505" y="2754998"/>
                </a:lnTo>
                <a:lnTo>
                  <a:pt x="4463505" y="2754999"/>
                </a:lnTo>
                <a:lnTo>
                  <a:pt x="4464159" y="2754999"/>
                </a:lnTo>
                <a:lnTo>
                  <a:pt x="4467194" y="2754999"/>
                </a:lnTo>
                <a:lnTo>
                  <a:pt x="4467194" y="2764106"/>
                </a:lnTo>
                <a:lnTo>
                  <a:pt x="4473266" y="2773214"/>
                </a:lnTo>
                <a:lnTo>
                  <a:pt x="4479338" y="2776250"/>
                </a:lnTo>
                <a:lnTo>
                  <a:pt x="4485409" y="2785357"/>
                </a:lnTo>
                <a:lnTo>
                  <a:pt x="4497553" y="2794465"/>
                </a:lnTo>
                <a:lnTo>
                  <a:pt x="4500588" y="2809644"/>
                </a:lnTo>
                <a:lnTo>
                  <a:pt x="4497553" y="2809644"/>
                </a:lnTo>
                <a:lnTo>
                  <a:pt x="4500588" y="2818751"/>
                </a:lnTo>
                <a:lnTo>
                  <a:pt x="4509695" y="2833930"/>
                </a:lnTo>
                <a:lnTo>
                  <a:pt x="4512732" y="2840002"/>
                </a:lnTo>
                <a:lnTo>
                  <a:pt x="4518803" y="2846074"/>
                </a:lnTo>
                <a:lnTo>
                  <a:pt x="4527911" y="2843037"/>
                </a:lnTo>
                <a:lnTo>
                  <a:pt x="4527911" y="2849109"/>
                </a:lnTo>
                <a:lnTo>
                  <a:pt x="4533983" y="2855181"/>
                </a:lnTo>
                <a:lnTo>
                  <a:pt x="4546126" y="2858216"/>
                </a:lnTo>
                <a:lnTo>
                  <a:pt x="4552198" y="2855181"/>
                </a:lnTo>
                <a:lnTo>
                  <a:pt x="4558270" y="2855181"/>
                </a:lnTo>
                <a:lnTo>
                  <a:pt x="4570413" y="2855181"/>
                </a:lnTo>
                <a:lnTo>
                  <a:pt x="4588628" y="2849109"/>
                </a:lnTo>
                <a:lnTo>
                  <a:pt x="4591664" y="2843037"/>
                </a:lnTo>
                <a:lnTo>
                  <a:pt x="4594699" y="2840002"/>
                </a:lnTo>
                <a:lnTo>
                  <a:pt x="4606843" y="2827858"/>
                </a:lnTo>
                <a:lnTo>
                  <a:pt x="4615950" y="2821786"/>
                </a:lnTo>
                <a:lnTo>
                  <a:pt x="4622022" y="2809644"/>
                </a:lnTo>
                <a:lnTo>
                  <a:pt x="4625057" y="2815715"/>
                </a:lnTo>
                <a:lnTo>
                  <a:pt x="4625057" y="2815714"/>
                </a:lnTo>
                <a:lnTo>
                  <a:pt x="4622022" y="2809643"/>
                </a:lnTo>
                <a:lnTo>
                  <a:pt x="4631129" y="2806606"/>
                </a:lnTo>
                <a:lnTo>
                  <a:pt x="4625057" y="2821785"/>
                </a:lnTo>
                <a:lnTo>
                  <a:pt x="4625057" y="2821786"/>
                </a:lnTo>
                <a:lnTo>
                  <a:pt x="4628094" y="2830895"/>
                </a:lnTo>
                <a:lnTo>
                  <a:pt x="4628094" y="2836965"/>
                </a:lnTo>
                <a:lnTo>
                  <a:pt x="4640236" y="2855181"/>
                </a:lnTo>
                <a:lnTo>
                  <a:pt x="4658451" y="2864288"/>
                </a:lnTo>
                <a:lnTo>
                  <a:pt x="4664523" y="2864288"/>
                </a:lnTo>
                <a:lnTo>
                  <a:pt x="4673630" y="2867324"/>
                </a:lnTo>
                <a:lnTo>
                  <a:pt x="4682738" y="2876431"/>
                </a:lnTo>
                <a:lnTo>
                  <a:pt x="4688809" y="2882503"/>
                </a:lnTo>
                <a:lnTo>
                  <a:pt x="4691845" y="2888574"/>
                </a:lnTo>
                <a:lnTo>
                  <a:pt x="4694881" y="2888574"/>
                </a:lnTo>
                <a:lnTo>
                  <a:pt x="4700953" y="2891610"/>
                </a:lnTo>
                <a:lnTo>
                  <a:pt x="4700953" y="2897682"/>
                </a:lnTo>
                <a:lnTo>
                  <a:pt x="4691845" y="2909825"/>
                </a:lnTo>
                <a:lnTo>
                  <a:pt x="4688809" y="2915897"/>
                </a:lnTo>
                <a:lnTo>
                  <a:pt x="4685774" y="2915897"/>
                </a:lnTo>
                <a:lnTo>
                  <a:pt x="4673630" y="2937147"/>
                </a:lnTo>
                <a:lnTo>
                  <a:pt x="4667559" y="2937147"/>
                </a:lnTo>
                <a:lnTo>
                  <a:pt x="4667559" y="2934112"/>
                </a:lnTo>
                <a:lnTo>
                  <a:pt x="4661487" y="2937147"/>
                </a:lnTo>
                <a:lnTo>
                  <a:pt x="4658451" y="2946254"/>
                </a:lnTo>
                <a:lnTo>
                  <a:pt x="4655415" y="2955363"/>
                </a:lnTo>
                <a:lnTo>
                  <a:pt x="4658451" y="2967505"/>
                </a:lnTo>
                <a:lnTo>
                  <a:pt x="4652380" y="2967505"/>
                </a:lnTo>
                <a:lnTo>
                  <a:pt x="4640236" y="2970542"/>
                </a:lnTo>
                <a:lnTo>
                  <a:pt x="4634164" y="2979649"/>
                </a:lnTo>
                <a:lnTo>
                  <a:pt x="4628094" y="2988756"/>
                </a:lnTo>
                <a:lnTo>
                  <a:pt x="4615950" y="2991792"/>
                </a:lnTo>
                <a:lnTo>
                  <a:pt x="4606843" y="2997864"/>
                </a:lnTo>
                <a:lnTo>
                  <a:pt x="4603806" y="3000899"/>
                </a:lnTo>
                <a:lnTo>
                  <a:pt x="4606843" y="3000899"/>
                </a:lnTo>
                <a:lnTo>
                  <a:pt x="4600771" y="3010007"/>
                </a:lnTo>
                <a:lnTo>
                  <a:pt x="4597735" y="3013043"/>
                </a:lnTo>
                <a:lnTo>
                  <a:pt x="4597735" y="3010007"/>
                </a:lnTo>
                <a:lnTo>
                  <a:pt x="4594699" y="3013043"/>
                </a:lnTo>
                <a:lnTo>
                  <a:pt x="4594699" y="3010007"/>
                </a:lnTo>
                <a:lnTo>
                  <a:pt x="4585592" y="3010007"/>
                </a:lnTo>
                <a:lnTo>
                  <a:pt x="4561305" y="3019114"/>
                </a:lnTo>
                <a:lnTo>
                  <a:pt x="4549162" y="3025186"/>
                </a:lnTo>
                <a:lnTo>
                  <a:pt x="4543091" y="3034294"/>
                </a:lnTo>
                <a:lnTo>
                  <a:pt x="4543091" y="3040365"/>
                </a:lnTo>
                <a:lnTo>
                  <a:pt x="4540054" y="3043401"/>
                </a:lnTo>
                <a:lnTo>
                  <a:pt x="4533983" y="3046436"/>
                </a:lnTo>
                <a:lnTo>
                  <a:pt x="4515768" y="3052508"/>
                </a:lnTo>
                <a:lnTo>
                  <a:pt x="4500589" y="3055545"/>
                </a:lnTo>
                <a:lnTo>
                  <a:pt x="4497554" y="3055545"/>
                </a:lnTo>
                <a:lnTo>
                  <a:pt x="4494517" y="3055545"/>
                </a:lnTo>
                <a:lnTo>
                  <a:pt x="4479338" y="3064652"/>
                </a:lnTo>
                <a:lnTo>
                  <a:pt x="4476303" y="3067687"/>
                </a:lnTo>
                <a:lnTo>
                  <a:pt x="4470231" y="3073759"/>
                </a:lnTo>
                <a:lnTo>
                  <a:pt x="4461124" y="3073759"/>
                </a:lnTo>
                <a:lnTo>
                  <a:pt x="4455052" y="3073759"/>
                </a:lnTo>
                <a:lnTo>
                  <a:pt x="4445944" y="3079831"/>
                </a:lnTo>
                <a:lnTo>
                  <a:pt x="4442909" y="3082866"/>
                </a:lnTo>
                <a:lnTo>
                  <a:pt x="4436837" y="3082866"/>
                </a:lnTo>
                <a:lnTo>
                  <a:pt x="4424694" y="3085902"/>
                </a:lnTo>
                <a:lnTo>
                  <a:pt x="4418623" y="3088938"/>
                </a:lnTo>
                <a:lnTo>
                  <a:pt x="4406479" y="3088938"/>
                </a:lnTo>
                <a:lnTo>
                  <a:pt x="4403444" y="3091974"/>
                </a:lnTo>
                <a:lnTo>
                  <a:pt x="4400407" y="3095010"/>
                </a:lnTo>
                <a:lnTo>
                  <a:pt x="4388264" y="3101081"/>
                </a:lnTo>
                <a:lnTo>
                  <a:pt x="4376121" y="3104117"/>
                </a:lnTo>
                <a:lnTo>
                  <a:pt x="4363978" y="3101081"/>
                </a:lnTo>
                <a:lnTo>
                  <a:pt x="4357906" y="3088938"/>
                </a:lnTo>
                <a:lnTo>
                  <a:pt x="4357906" y="3079831"/>
                </a:lnTo>
                <a:lnTo>
                  <a:pt x="4354870" y="3064652"/>
                </a:lnTo>
                <a:lnTo>
                  <a:pt x="4351834" y="3052508"/>
                </a:lnTo>
                <a:lnTo>
                  <a:pt x="4348799" y="3034294"/>
                </a:lnTo>
                <a:lnTo>
                  <a:pt x="4348799" y="3025944"/>
                </a:lnTo>
                <a:lnTo>
                  <a:pt x="4348409" y="3023632"/>
                </a:lnTo>
                <a:lnTo>
                  <a:pt x="4345762" y="3013043"/>
                </a:lnTo>
                <a:lnTo>
                  <a:pt x="4336654" y="3000899"/>
                </a:lnTo>
                <a:lnTo>
                  <a:pt x="4327547" y="2991792"/>
                </a:lnTo>
                <a:lnTo>
                  <a:pt x="4318440" y="2979649"/>
                </a:lnTo>
                <a:lnTo>
                  <a:pt x="4315403" y="2967505"/>
                </a:lnTo>
                <a:lnTo>
                  <a:pt x="4300224" y="2946254"/>
                </a:lnTo>
                <a:lnTo>
                  <a:pt x="4291117" y="2940184"/>
                </a:lnTo>
                <a:lnTo>
                  <a:pt x="4282010" y="2934112"/>
                </a:lnTo>
                <a:lnTo>
                  <a:pt x="4275938" y="2925005"/>
                </a:lnTo>
                <a:lnTo>
                  <a:pt x="4272903" y="2915897"/>
                </a:lnTo>
                <a:lnTo>
                  <a:pt x="4272903" y="2888574"/>
                </a:lnTo>
                <a:lnTo>
                  <a:pt x="4269867" y="2885539"/>
                </a:lnTo>
                <a:lnTo>
                  <a:pt x="4266831" y="2876431"/>
                </a:lnTo>
                <a:lnTo>
                  <a:pt x="4260759" y="2867324"/>
                </a:lnTo>
                <a:lnTo>
                  <a:pt x="4254688" y="2858216"/>
                </a:lnTo>
                <a:lnTo>
                  <a:pt x="4245580" y="2855181"/>
                </a:lnTo>
                <a:lnTo>
                  <a:pt x="4236473" y="2846074"/>
                </a:lnTo>
                <a:lnTo>
                  <a:pt x="4233437" y="2840002"/>
                </a:lnTo>
                <a:lnTo>
                  <a:pt x="4233437" y="2833930"/>
                </a:lnTo>
                <a:lnTo>
                  <a:pt x="4218258" y="2809644"/>
                </a:lnTo>
                <a:lnTo>
                  <a:pt x="4203079" y="2788393"/>
                </a:lnTo>
                <a:lnTo>
                  <a:pt x="4200043" y="2779285"/>
                </a:lnTo>
                <a:lnTo>
                  <a:pt x="4197007" y="2776250"/>
                </a:lnTo>
                <a:lnTo>
                  <a:pt x="4190935" y="2767142"/>
                </a:lnTo>
                <a:lnTo>
                  <a:pt x="4184863" y="2764106"/>
                </a:lnTo>
                <a:lnTo>
                  <a:pt x="4181828" y="2764106"/>
                </a:lnTo>
                <a:lnTo>
                  <a:pt x="4181828" y="2761071"/>
                </a:lnTo>
                <a:lnTo>
                  <a:pt x="4184863" y="2751963"/>
                </a:lnTo>
                <a:lnTo>
                  <a:pt x="4187900" y="2733748"/>
                </a:lnTo>
                <a:lnTo>
                  <a:pt x="4190846" y="2734240"/>
                </a:lnTo>
                <a:lnTo>
                  <a:pt x="4187901" y="2733748"/>
                </a:lnTo>
                <a:lnTo>
                  <a:pt x="4187901" y="2730713"/>
                </a:lnTo>
                <a:lnTo>
                  <a:pt x="4184864" y="2730713"/>
                </a:lnTo>
                <a:lnTo>
                  <a:pt x="4178792" y="2745892"/>
                </a:lnTo>
                <a:lnTo>
                  <a:pt x="4178792" y="2754999"/>
                </a:lnTo>
                <a:lnTo>
                  <a:pt x="4175757" y="2761071"/>
                </a:lnTo>
                <a:lnTo>
                  <a:pt x="4175757" y="2767142"/>
                </a:lnTo>
                <a:lnTo>
                  <a:pt x="4172722" y="2770178"/>
                </a:lnTo>
                <a:lnTo>
                  <a:pt x="4172722" y="2773214"/>
                </a:lnTo>
                <a:lnTo>
                  <a:pt x="4166650" y="2770178"/>
                </a:lnTo>
                <a:lnTo>
                  <a:pt x="4157543" y="2758034"/>
                </a:lnTo>
                <a:lnTo>
                  <a:pt x="4151471" y="2748927"/>
                </a:lnTo>
                <a:lnTo>
                  <a:pt x="4151471" y="2745892"/>
                </a:lnTo>
                <a:lnTo>
                  <a:pt x="4148434" y="2742855"/>
                </a:lnTo>
                <a:lnTo>
                  <a:pt x="4148434" y="2739820"/>
                </a:lnTo>
                <a:lnTo>
                  <a:pt x="4142363" y="2736784"/>
                </a:lnTo>
                <a:lnTo>
                  <a:pt x="4139153" y="2728760"/>
                </a:lnTo>
                <a:lnTo>
                  <a:pt x="4139151" y="2728751"/>
                </a:lnTo>
                <a:lnTo>
                  <a:pt x="4136293" y="2721606"/>
                </a:lnTo>
                <a:lnTo>
                  <a:pt x="4133257" y="2724642"/>
                </a:lnTo>
                <a:lnTo>
                  <a:pt x="4133257" y="2730714"/>
                </a:lnTo>
                <a:lnTo>
                  <a:pt x="4142364" y="2748928"/>
                </a:lnTo>
                <a:lnTo>
                  <a:pt x="4145400" y="2748928"/>
                </a:lnTo>
                <a:lnTo>
                  <a:pt x="4146154" y="2750437"/>
                </a:lnTo>
                <a:lnTo>
                  <a:pt x="4146155" y="2750440"/>
                </a:lnTo>
                <a:lnTo>
                  <a:pt x="4151471" y="2761071"/>
                </a:lnTo>
                <a:lnTo>
                  <a:pt x="4157543" y="2770178"/>
                </a:lnTo>
                <a:lnTo>
                  <a:pt x="4157543" y="2770938"/>
                </a:lnTo>
                <a:lnTo>
                  <a:pt x="4157544" y="2770940"/>
                </a:lnTo>
                <a:lnTo>
                  <a:pt x="4157544" y="2776251"/>
                </a:lnTo>
                <a:lnTo>
                  <a:pt x="4163615" y="2788395"/>
                </a:lnTo>
                <a:lnTo>
                  <a:pt x="4166651" y="2800537"/>
                </a:lnTo>
                <a:lnTo>
                  <a:pt x="4181830" y="2827860"/>
                </a:lnTo>
                <a:lnTo>
                  <a:pt x="4197009" y="2852146"/>
                </a:lnTo>
                <a:lnTo>
                  <a:pt x="4200045" y="2876433"/>
                </a:lnTo>
                <a:lnTo>
                  <a:pt x="4206116" y="2885540"/>
                </a:lnTo>
                <a:lnTo>
                  <a:pt x="4212188" y="2888576"/>
                </a:lnTo>
                <a:lnTo>
                  <a:pt x="4221295" y="2897684"/>
                </a:lnTo>
                <a:lnTo>
                  <a:pt x="4227367" y="2900719"/>
                </a:lnTo>
                <a:lnTo>
                  <a:pt x="4230403" y="2915898"/>
                </a:lnTo>
                <a:lnTo>
                  <a:pt x="4233439" y="2934113"/>
                </a:lnTo>
                <a:lnTo>
                  <a:pt x="4233439" y="2946256"/>
                </a:lnTo>
                <a:lnTo>
                  <a:pt x="4236475" y="2967507"/>
                </a:lnTo>
                <a:lnTo>
                  <a:pt x="4239510" y="2973579"/>
                </a:lnTo>
                <a:lnTo>
                  <a:pt x="4245582" y="2973579"/>
                </a:lnTo>
                <a:lnTo>
                  <a:pt x="4245582" y="2976615"/>
                </a:lnTo>
                <a:lnTo>
                  <a:pt x="4248618" y="2976615"/>
                </a:lnTo>
                <a:lnTo>
                  <a:pt x="4251654" y="2979650"/>
                </a:lnTo>
                <a:lnTo>
                  <a:pt x="4251654" y="2982686"/>
                </a:lnTo>
                <a:lnTo>
                  <a:pt x="4260761" y="2988758"/>
                </a:lnTo>
                <a:lnTo>
                  <a:pt x="4269868" y="3003936"/>
                </a:lnTo>
                <a:lnTo>
                  <a:pt x="4272905" y="3019115"/>
                </a:lnTo>
                <a:lnTo>
                  <a:pt x="4275940" y="3034295"/>
                </a:lnTo>
                <a:lnTo>
                  <a:pt x="4288084" y="3049474"/>
                </a:lnTo>
                <a:lnTo>
                  <a:pt x="4294155" y="3055546"/>
                </a:lnTo>
                <a:lnTo>
                  <a:pt x="4297191" y="3055546"/>
                </a:lnTo>
                <a:lnTo>
                  <a:pt x="4300226" y="3055546"/>
                </a:lnTo>
                <a:lnTo>
                  <a:pt x="4315405" y="3064653"/>
                </a:lnTo>
                <a:lnTo>
                  <a:pt x="4327549" y="3076796"/>
                </a:lnTo>
                <a:lnTo>
                  <a:pt x="4333621" y="3082868"/>
                </a:lnTo>
                <a:lnTo>
                  <a:pt x="4345764" y="3095011"/>
                </a:lnTo>
                <a:lnTo>
                  <a:pt x="4354871" y="3101083"/>
                </a:lnTo>
                <a:lnTo>
                  <a:pt x="4360943" y="3116262"/>
                </a:lnTo>
                <a:lnTo>
                  <a:pt x="4354871" y="3119297"/>
                </a:lnTo>
                <a:lnTo>
                  <a:pt x="4345764" y="3122334"/>
                </a:lnTo>
                <a:lnTo>
                  <a:pt x="4345764" y="3125369"/>
                </a:lnTo>
                <a:lnTo>
                  <a:pt x="4357907" y="3128406"/>
                </a:lnTo>
                <a:lnTo>
                  <a:pt x="4360943" y="3131441"/>
                </a:lnTo>
                <a:lnTo>
                  <a:pt x="4363978" y="3134476"/>
                </a:lnTo>
                <a:lnTo>
                  <a:pt x="4370050" y="3143585"/>
                </a:lnTo>
                <a:lnTo>
                  <a:pt x="4382194" y="3149655"/>
                </a:lnTo>
                <a:lnTo>
                  <a:pt x="4394336" y="3149655"/>
                </a:lnTo>
                <a:lnTo>
                  <a:pt x="4406480" y="3143585"/>
                </a:lnTo>
                <a:lnTo>
                  <a:pt x="4418623" y="3143585"/>
                </a:lnTo>
                <a:lnTo>
                  <a:pt x="4427731" y="3143585"/>
                </a:lnTo>
                <a:lnTo>
                  <a:pt x="4433802" y="3140548"/>
                </a:lnTo>
                <a:lnTo>
                  <a:pt x="4436838" y="3137513"/>
                </a:lnTo>
                <a:lnTo>
                  <a:pt x="4452017" y="3134476"/>
                </a:lnTo>
                <a:lnTo>
                  <a:pt x="4461125" y="3134476"/>
                </a:lnTo>
                <a:lnTo>
                  <a:pt x="4464160" y="3131441"/>
                </a:lnTo>
                <a:lnTo>
                  <a:pt x="4473267" y="3134476"/>
                </a:lnTo>
                <a:lnTo>
                  <a:pt x="4497555" y="3128406"/>
                </a:lnTo>
                <a:lnTo>
                  <a:pt x="4506662" y="3122334"/>
                </a:lnTo>
                <a:lnTo>
                  <a:pt x="4509697" y="3119297"/>
                </a:lnTo>
                <a:lnTo>
                  <a:pt x="4521841" y="3119297"/>
                </a:lnTo>
                <a:lnTo>
                  <a:pt x="4521841" y="3128406"/>
                </a:lnTo>
                <a:lnTo>
                  <a:pt x="4518804" y="3134476"/>
                </a:lnTo>
                <a:lnTo>
                  <a:pt x="4518804" y="3140548"/>
                </a:lnTo>
                <a:lnTo>
                  <a:pt x="4521841" y="3146620"/>
                </a:lnTo>
                <a:lnTo>
                  <a:pt x="4518804" y="3149655"/>
                </a:lnTo>
                <a:lnTo>
                  <a:pt x="4515769" y="3158764"/>
                </a:lnTo>
                <a:lnTo>
                  <a:pt x="4512733" y="3167871"/>
                </a:lnTo>
                <a:lnTo>
                  <a:pt x="4509697" y="3176978"/>
                </a:lnTo>
                <a:lnTo>
                  <a:pt x="4500590" y="3195193"/>
                </a:lnTo>
                <a:lnTo>
                  <a:pt x="4488446" y="3213408"/>
                </a:lnTo>
                <a:lnTo>
                  <a:pt x="4479339" y="3231623"/>
                </a:lnTo>
                <a:lnTo>
                  <a:pt x="4476304" y="3237695"/>
                </a:lnTo>
                <a:lnTo>
                  <a:pt x="4473267" y="3246802"/>
                </a:lnTo>
                <a:lnTo>
                  <a:pt x="4445945" y="3283232"/>
                </a:lnTo>
                <a:lnTo>
                  <a:pt x="4418623" y="3310554"/>
                </a:lnTo>
                <a:lnTo>
                  <a:pt x="4379157" y="3337876"/>
                </a:lnTo>
                <a:lnTo>
                  <a:pt x="4363978" y="3350019"/>
                </a:lnTo>
                <a:lnTo>
                  <a:pt x="4351835" y="3365198"/>
                </a:lnTo>
                <a:lnTo>
                  <a:pt x="4345764" y="3368235"/>
                </a:lnTo>
                <a:lnTo>
                  <a:pt x="4330585" y="3383414"/>
                </a:lnTo>
                <a:lnTo>
                  <a:pt x="4321477" y="3398593"/>
                </a:lnTo>
                <a:lnTo>
                  <a:pt x="4318442" y="3404664"/>
                </a:lnTo>
                <a:lnTo>
                  <a:pt x="4312370" y="3407700"/>
                </a:lnTo>
                <a:lnTo>
                  <a:pt x="4300226" y="3416807"/>
                </a:lnTo>
                <a:lnTo>
                  <a:pt x="4294155" y="3419843"/>
                </a:lnTo>
                <a:lnTo>
                  <a:pt x="4294155" y="3425915"/>
                </a:lnTo>
                <a:lnTo>
                  <a:pt x="4285047" y="3447166"/>
                </a:lnTo>
                <a:lnTo>
                  <a:pt x="4282012" y="3453237"/>
                </a:lnTo>
                <a:lnTo>
                  <a:pt x="4278975" y="3459309"/>
                </a:lnTo>
                <a:lnTo>
                  <a:pt x="4272905" y="3462345"/>
                </a:lnTo>
                <a:lnTo>
                  <a:pt x="4272905" y="3468416"/>
                </a:lnTo>
                <a:lnTo>
                  <a:pt x="4269868" y="3480559"/>
                </a:lnTo>
                <a:lnTo>
                  <a:pt x="4266833" y="3489667"/>
                </a:lnTo>
                <a:lnTo>
                  <a:pt x="4266833" y="3495738"/>
                </a:lnTo>
                <a:lnTo>
                  <a:pt x="4269868" y="3498775"/>
                </a:lnTo>
                <a:lnTo>
                  <a:pt x="4275940" y="3501810"/>
                </a:lnTo>
                <a:lnTo>
                  <a:pt x="4275940" y="3504845"/>
                </a:lnTo>
                <a:lnTo>
                  <a:pt x="4278975" y="3513954"/>
                </a:lnTo>
                <a:lnTo>
                  <a:pt x="4275940" y="3516989"/>
                </a:lnTo>
                <a:lnTo>
                  <a:pt x="4278975" y="3529133"/>
                </a:lnTo>
                <a:lnTo>
                  <a:pt x="4275940" y="3535204"/>
                </a:lnTo>
                <a:lnTo>
                  <a:pt x="4275940" y="3541275"/>
                </a:lnTo>
                <a:lnTo>
                  <a:pt x="4282012" y="3553419"/>
                </a:lnTo>
                <a:lnTo>
                  <a:pt x="4288084" y="3571634"/>
                </a:lnTo>
                <a:lnTo>
                  <a:pt x="4294155" y="3574670"/>
                </a:lnTo>
                <a:lnTo>
                  <a:pt x="4300226" y="3580741"/>
                </a:lnTo>
                <a:lnTo>
                  <a:pt x="4303263" y="3583777"/>
                </a:lnTo>
                <a:lnTo>
                  <a:pt x="4300226" y="3595920"/>
                </a:lnTo>
                <a:lnTo>
                  <a:pt x="4300226" y="3605027"/>
                </a:lnTo>
                <a:lnTo>
                  <a:pt x="4300226" y="3611099"/>
                </a:lnTo>
                <a:lnTo>
                  <a:pt x="4300226" y="3614136"/>
                </a:lnTo>
                <a:lnTo>
                  <a:pt x="4300226" y="3620206"/>
                </a:lnTo>
                <a:lnTo>
                  <a:pt x="4300226" y="3623243"/>
                </a:lnTo>
                <a:lnTo>
                  <a:pt x="4303263" y="3623243"/>
                </a:lnTo>
                <a:lnTo>
                  <a:pt x="4303263" y="3626278"/>
                </a:lnTo>
                <a:lnTo>
                  <a:pt x="4303263" y="3629315"/>
                </a:lnTo>
                <a:lnTo>
                  <a:pt x="4300226" y="3632350"/>
                </a:lnTo>
                <a:lnTo>
                  <a:pt x="4303263" y="3641457"/>
                </a:lnTo>
                <a:lnTo>
                  <a:pt x="4303263" y="3647529"/>
                </a:lnTo>
                <a:lnTo>
                  <a:pt x="4306298" y="3662708"/>
                </a:lnTo>
                <a:lnTo>
                  <a:pt x="4309334" y="3668780"/>
                </a:lnTo>
                <a:lnTo>
                  <a:pt x="4306298" y="3674851"/>
                </a:lnTo>
                <a:lnTo>
                  <a:pt x="4303263" y="3680923"/>
                </a:lnTo>
                <a:lnTo>
                  <a:pt x="4303263" y="3683959"/>
                </a:lnTo>
                <a:lnTo>
                  <a:pt x="4297191" y="3693066"/>
                </a:lnTo>
                <a:lnTo>
                  <a:pt x="4278975" y="3711281"/>
                </a:lnTo>
                <a:lnTo>
                  <a:pt x="4272905" y="3717353"/>
                </a:lnTo>
                <a:lnTo>
                  <a:pt x="4266833" y="3720388"/>
                </a:lnTo>
                <a:lnTo>
                  <a:pt x="4254689" y="3723425"/>
                </a:lnTo>
                <a:lnTo>
                  <a:pt x="4233439" y="3735567"/>
                </a:lnTo>
                <a:lnTo>
                  <a:pt x="4227367" y="3744676"/>
                </a:lnTo>
                <a:lnTo>
                  <a:pt x="4221295" y="3750746"/>
                </a:lnTo>
                <a:lnTo>
                  <a:pt x="4218260" y="3750746"/>
                </a:lnTo>
                <a:lnTo>
                  <a:pt x="4212188" y="3759855"/>
                </a:lnTo>
                <a:lnTo>
                  <a:pt x="4212188" y="3756818"/>
                </a:lnTo>
                <a:lnTo>
                  <a:pt x="4203081" y="3762890"/>
                </a:lnTo>
                <a:lnTo>
                  <a:pt x="4200045" y="3768962"/>
                </a:lnTo>
                <a:lnTo>
                  <a:pt x="4184865" y="3781105"/>
                </a:lnTo>
                <a:lnTo>
                  <a:pt x="4181830" y="3787176"/>
                </a:lnTo>
                <a:lnTo>
                  <a:pt x="4181830" y="3793248"/>
                </a:lnTo>
                <a:lnTo>
                  <a:pt x="4184865" y="3799320"/>
                </a:lnTo>
                <a:lnTo>
                  <a:pt x="4187902" y="3805391"/>
                </a:lnTo>
                <a:lnTo>
                  <a:pt x="4190937" y="3805391"/>
                </a:lnTo>
                <a:lnTo>
                  <a:pt x="4187902" y="3811463"/>
                </a:lnTo>
                <a:lnTo>
                  <a:pt x="4190937" y="3817535"/>
                </a:lnTo>
                <a:lnTo>
                  <a:pt x="4197009" y="3829678"/>
                </a:lnTo>
                <a:lnTo>
                  <a:pt x="4197009" y="3832714"/>
                </a:lnTo>
                <a:lnTo>
                  <a:pt x="4200045" y="3832714"/>
                </a:lnTo>
                <a:lnTo>
                  <a:pt x="4197009" y="3844857"/>
                </a:lnTo>
                <a:lnTo>
                  <a:pt x="4197009" y="3857000"/>
                </a:lnTo>
                <a:lnTo>
                  <a:pt x="4197009" y="3866107"/>
                </a:lnTo>
                <a:lnTo>
                  <a:pt x="4197009" y="3875215"/>
                </a:lnTo>
                <a:lnTo>
                  <a:pt x="4190937" y="3884323"/>
                </a:lnTo>
                <a:lnTo>
                  <a:pt x="4175758" y="3890394"/>
                </a:lnTo>
                <a:lnTo>
                  <a:pt x="4157544" y="3899502"/>
                </a:lnTo>
                <a:lnTo>
                  <a:pt x="4139329" y="3914681"/>
                </a:lnTo>
                <a:lnTo>
                  <a:pt x="4139329" y="3917716"/>
                </a:lnTo>
                <a:lnTo>
                  <a:pt x="4142364" y="3923788"/>
                </a:lnTo>
                <a:lnTo>
                  <a:pt x="4145400" y="3935931"/>
                </a:lnTo>
                <a:lnTo>
                  <a:pt x="4139329" y="3954146"/>
                </a:lnTo>
                <a:lnTo>
                  <a:pt x="4136293" y="3969326"/>
                </a:lnTo>
                <a:lnTo>
                  <a:pt x="4133257" y="3978433"/>
                </a:lnTo>
                <a:lnTo>
                  <a:pt x="4127185" y="3981468"/>
                </a:lnTo>
                <a:lnTo>
                  <a:pt x="4115042" y="3990575"/>
                </a:lnTo>
                <a:lnTo>
                  <a:pt x="4108971" y="4002719"/>
                </a:lnTo>
                <a:lnTo>
                  <a:pt x="4105934" y="4008791"/>
                </a:lnTo>
                <a:lnTo>
                  <a:pt x="4090755" y="4033077"/>
                </a:lnTo>
                <a:lnTo>
                  <a:pt x="4081648" y="4042185"/>
                </a:lnTo>
                <a:lnTo>
                  <a:pt x="4072541" y="4051292"/>
                </a:lnTo>
                <a:lnTo>
                  <a:pt x="4054326" y="4072543"/>
                </a:lnTo>
                <a:lnTo>
                  <a:pt x="4030040" y="4090757"/>
                </a:lnTo>
                <a:lnTo>
                  <a:pt x="4005753" y="4099866"/>
                </a:lnTo>
                <a:lnTo>
                  <a:pt x="3996645" y="4099866"/>
                </a:lnTo>
                <a:lnTo>
                  <a:pt x="3996645" y="4108973"/>
                </a:lnTo>
                <a:lnTo>
                  <a:pt x="3984503" y="4105936"/>
                </a:lnTo>
                <a:lnTo>
                  <a:pt x="3978431" y="4108973"/>
                </a:lnTo>
                <a:lnTo>
                  <a:pt x="3972359" y="4112008"/>
                </a:lnTo>
                <a:lnTo>
                  <a:pt x="3966287" y="4108973"/>
                </a:lnTo>
                <a:lnTo>
                  <a:pt x="3957180" y="4108973"/>
                </a:lnTo>
                <a:lnTo>
                  <a:pt x="3948073" y="4108973"/>
                </a:lnTo>
                <a:lnTo>
                  <a:pt x="3929858" y="4108973"/>
                </a:lnTo>
                <a:lnTo>
                  <a:pt x="3917714" y="4115045"/>
                </a:lnTo>
                <a:lnTo>
                  <a:pt x="3911643" y="4118080"/>
                </a:lnTo>
                <a:lnTo>
                  <a:pt x="3905572" y="4118080"/>
                </a:lnTo>
                <a:lnTo>
                  <a:pt x="3893428" y="4118080"/>
                </a:lnTo>
                <a:lnTo>
                  <a:pt x="3887356" y="4121115"/>
                </a:lnTo>
                <a:lnTo>
                  <a:pt x="3878249" y="4127187"/>
                </a:lnTo>
                <a:lnTo>
                  <a:pt x="3863070" y="4121115"/>
                </a:lnTo>
                <a:lnTo>
                  <a:pt x="3856998" y="4115045"/>
                </a:lnTo>
                <a:lnTo>
                  <a:pt x="3853963" y="4108973"/>
                </a:lnTo>
                <a:lnTo>
                  <a:pt x="3847891" y="4108973"/>
                </a:lnTo>
                <a:lnTo>
                  <a:pt x="3844855" y="4105936"/>
                </a:lnTo>
                <a:lnTo>
                  <a:pt x="3844855" y="4096829"/>
                </a:lnTo>
                <a:lnTo>
                  <a:pt x="3838784" y="4084686"/>
                </a:lnTo>
                <a:lnTo>
                  <a:pt x="3832712" y="4078615"/>
                </a:lnTo>
                <a:lnTo>
                  <a:pt x="3838784" y="4078615"/>
                </a:lnTo>
                <a:lnTo>
                  <a:pt x="3844855" y="4066471"/>
                </a:lnTo>
                <a:lnTo>
                  <a:pt x="3841819" y="4051292"/>
                </a:lnTo>
                <a:lnTo>
                  <a:pt x="3826640" y="4030042"/>
                </a:lnTo>
                <a:lnTo>
                  <a:pt x="3820569" y="4014863"/>
                </a:lnTo>
                <a:lnTo>
                  <a:pt x="3817533" y="4002719"/>
                </a:lnTo>
                <a:lnTo>
                  <a:pt x="3805390" y="3975396"/>
                </a:lnTo>
                <a:lnTo>
                  <a:pt x="3796283" y="3969326"/>
                </a:lnTo>
                <a:lnTo>
                  <a:pt x="3787174" y="3957182"/>
                </a:lnTo>
                <a:lnTo>
                  <a:pt x="3778067" y="3942003"/>
                </a:lnTo>
                <a:lnTo>
                  <a:pt x="3778067" y="3932896"/>
                </a:lnTo>
                <a:lnTo>
                  <a:pt x="3775032" y="3926824"/>
                </a:lnTo>
                <a:lnTo>
                  <a:pt x="3775032" y="3923788"/>
                </a:lnTo>
                <a:lnTo>
                  <a:pt x="3771995" y="3920752"/>
                </a:lnTo>
                <a:lnTo>
                  <a:pt x="3771995" y="3917716"/>
                </a:lnTo>
                <a:lnTo>
                  <a:pt x="3771995" y="3905573"/>
                </a:lnTo>
                <a:lnTo>
                  <a:pt x="3771995" y="3899502"/>
                </a:lnTo>
                <a:lnTo>
                  <a:pt x="3771995" y="3896465"/>
                </a:lnTo>
                <a:lnTo>
                  <a:pt x="3768960" y="3890394"/>
                </a:lnTo>
                <a:lnTo>
                  <a:pt x="3762888" y="3872179"/>
                </a:lnTo>
                <a:lnTo>
                  <a:pt x="3765925" y="3866107"/>
                </a:lnTo>
                <a:lnTo>
                  <a:pt x="3765925" y="3860036"/>
                </a:lnTo>
                <a:lnTo>
                  <a:pt x="3762888" y="3853965"/>
                </a:lnTo>
                <a:lnTo>
                  <a:pt x="3765925" y="3841821"/>
                </a:lnTo>
                <a:lnTo>
                  <a:pt x="3759853" y="3826642"/>
                </a:lnTo>
                <a:lnTo>
                  <a:pt x="3747709" y="3811463"/>
                </a:lnTo>
                <a:lnTo>
                  <a:pt x="3741638" y="3802356"/>
                </a:lnTo>
                <a:lnTo>
                  <a:pt x="3735566" y="3784141"/>
                </a:lnTo>
                <a:lnTo>
                  <a:pt x="3723423" y="3762890"/>
                </a:lnTo>
                <a:lnTo>
                  <a:pt x="3720387" y="3756818"/>
                </a:lnTo>
                <a:lnTo>
                  <a:pt x="3711280" y="3744676"/>
                </a:lnTo>
                <a:lnTo>
                  <a:pt x="3708244" y="3735567"/>
                </a:lnTo>
                <a:lnTo>
                  <a:pt x="3708244" y="3723425"/>
                </a:lnTo>
                <a:lnTo>
                  <a:pt x="3708244" y="3705209"/>
                </a:lnTo>
                <a:lnTo>
                  <a:pt x="3708244" y="3696102"/>
                </a:lnTo>
                <a:lnTo>
                  <a:pt x="3711280" y="3690030"/>
                </a:lnTo>
                <a:lnTo>
                  <a:pt x="3717351" y="3674851"/>
                </a:lnTo>
                <a:lnTo>
                  <a:pt x="3720387" y="3659673"/>
                </a:lnTo>
                <a:lnTo>
                  <a:pt x="3723423" y="3641457"/>
                </a:lnTo>
                <a:lnTo>
                  <a:pt x="3726459" y="3638422"/>
                </a:lnTo>
                <a:lnTo>
                  <a:pt x="3732530" y="3632350"/>
                </a:lnTo>
                <a:lnTo>
                  <a:pt x="3732530" y="3629315"/>
                </a:lnTo>
                <a:lnTo>
                  <a:pt x="3738602" y="3626278"/>
                </a:lnTo>
                <a:lnTo>
                  <a:pt x="3744674" y="3623243"/>
                </a:lnTo>
                <a:lnTo>
                  <a:pt x="3747709" y="3611099"/>
                </a:lnTo>
                <a:lnTo>
                  <a:pt x="3750745" y="3598956"/>
                </a:lnTo>
                <a:lnTo>
                  <a:pt x="3750745" y="3589848"/>
                </a:lnTo>
                <a:lnTo>
                  <a:pt x="3747709" y="3580741"/>
                </a:lnTo>
                <a:lnTo>
                  <a:pt x="3744674" y="3574670"/>
                </a:lnTo>
                <a:lnTo>
                  <a:pt x="3735566" y="3556455"/>
                </a:lnTo>
                <a:lnTo>
                  <a:pt x="3741638" y="3538240"/>
                </a:lnTo>
                <a:lnTo>
                  <a:pt x="3735566" y="3526096"/>
                </a:lnTo>
                <a:lnTo>
                  <a:pt x="3729494" y="3513954"/>
                </a:lnTo>
                <a:lnTo>
                  <a:pt x="3723423" y="3501810"/>
                </a:lnTo>
                <a:lnTo>
                  <a:pt x="3720387" y="3489667"/>
                </a:lnTo>
                <a:lnTo>
                  <a:pt x="3720387" y="3486631"/>
                </a:lnTo>
                <a:lnTo>
                  <a:pt x="3717351" y="3483596"/>
                </a:lnTo>
                <a:lnTo>
                  <a:pt x="3714315" y="3471452"/>
                </a:lnTo>
                <a:lnTo>
                  <a:pt x="3714315" y="3468416"/>
                </a:lnTo>
                <a:lnTo>
                  <a:pt x="3705208" y="3456273"/>
                </a:lnTo>
                <a:lnTo>
                  <a:pt x="3696101" y="3447166"/>
                </a:lnTo>
                <a:lnTo>
                  <a:pt x="3696806" y="3446108"/>
                </a:lnTo>
                <a:lnTo>
                  <a:pt x="3696100" y="3447166"/>
                </a:lnTo>
                <a:lnTo>
                  <a:pt x="3685474" y="3435022"/>
                </a:lnTo>
                <a:lnTo>
                  <a:pt x="3679404" y="3425915"/>
                </a:lnTo>
                <a:lnTo>
                  <a:pt x="3676367" y="3422879"/>
                </a:lnTo>
                <a:lnTo>
                  <a:pt x="3667260" y="3413772"/>
                </a:lnTo>
                <a:lnTo>
                  <a:pt x="3664224" y="3413772"/>
                </a:lnTo>
                <a:lnTo>
                  <a:pt x="3652081" y="3389486"/>
                </a:lnTo>
                <a:lnTo>
                  <a:pt x="3652081" y="3383414"/>
                </a:lnTo>
                <a:lnTo>
                  <a:pt x="3655116" y="3377342"/>
                </a:lnTo>
                <a:lnTo>
                  <a:pt x="3658153" y="3371270"/>
                </a:lnTo>
                <a:lnTo>
                  <a:pt x="3661188" y="3362163"/>
                </a:lnTo>
                <a:lnTo>
                  <a:pt x="3661188" y="3356091"/>
                </a:lnTo>
                <a:lnTo>
                  <a:pt x="3658153" y="3353056"/>
                </a:lnTo>
                <a:lnTo>
                  <a:pt x="3661188" y="3346984"/>
                </a:lnTo>
                <a:lnTo>
                  <a:pt x="3664603" y="3345846"/>
                </a:lnTo>
                <a:lnTo>
                  <a:pt x="3665743" y="3342429"/>
                </a:lnTo>
                <a:lnTo>
                  <a:pt x="3661188" y="3340911"/>
                </a:lnTo>
                <a:lnTo>
                  <a:pt x="3661188" y="3334839"/>
                </a:lnTo>
                <a:lnTo>
                  <a:pt x="3667260" y="3331804"/>
                </a:lnTo>
                <a:lnTo>
                  <a:pt x="3667260" y="3322696"/>
                </a:lnTo>
                <a:lnTo>
                  <a:pt x="3670295" y="3316625"/>
                </a:lnTo>
                <a:lnTo>
                  <a:pt x="3670295" y="3298411"/>
                </a:lnTo>
                <a:lnTo>
                  <a:pt x="3670295" y="3289304"/>
                </a:lnTo>
                <a:lnTo>
                  <a:pt x="3664224" y="3289304"/>
                </a:lnTo>
                <a:lnTo>
                  <a:pt x="3664224" y="3286267"/>
                </a:lnTo>
                <a:lnTo>
                  <a:pt x="3658153" y="3283232"/>
                </a:lnTo>
                <a:lnTo>
                  <a:pt x="3652081" y="3277160"/>
                </a:lnTo>
                <a:lnTo>
                  <a:pt x="3646009" y="3268053"/>
                </a:lnTo>
                <a:lnTo>
                  <a:pt x="3642974" y="3265016"/>
                </a:lnTo>
                <a:lnTo>
                  <a:pt x="3639938" y="3265016"/>
                </a:lnTo>
                <a:lnTo>
                  <a:pt x="3636902" y="3265016"/>
                </a:lnTo>
                <a:lnTo>
                  <a:pt x="3636902" y="3271088"/>
                </a:lnTo>
                <a:lnTo>
                  <a:pt x="3630830" y="3271088"/>
                </a:lnTo>
                <a:lnTo>
                  <a:pt x="3627794" y="3271088"/>
                </a:lnTo>
                <a:lnTo>
                  <a:pt x="3621723" y="3268053"/>
                </a:lnTo>
                <a:lnTo>
                  <a:pt x="3594401" y="3274125"/>
                </a:lnTo>
                <a:lnTo>
                  <a:pt x="3591364" y="3274125"/>
                </a:lnTo>
                <a:lnTo>
                  <a:pt x="3585294" y="3274125"/>
                </a:lnTo>
                <a:lnTo>
                  <a:pt x="3582257" y="3268053"/>
                </a:lnTo>
                <a:lnTo>
                  <a:pt x="3579222" y="3265016"/>
                </a:lnTo>
                <a:lnTo>
                  <a:pt x="3579222" y="3258946"/>
                </a:lnTo>
                <a:lnTo>
                  <a:pt x="3573150" y="3243766"/>
                </a:lnTo>
                <a:lnTo>
                  <a:pt x="3564043" y="3240730"/>
                </a:lnTo>
                <a:lnTo>
                  <a:pt x="3557971" y="3234658"/>
                </a:lnTo>
                <a:lnTo>
                  <a:pt x="3536720" y="3228587"/>
                </a:lnTo>
                <a:lnTo>
                  <a:pt x="3536720" y="3231623"/>
                </a:lnTo>
                <a:lnTo>
                  <a:pt x="3530649" y="3234658"/>
                </a:lnTo>
                <a:lnTo>
                  <a:pt x="3521541" y="3234658"/>
                </a:lnTo>
                <a:lnTo>
                  <a:pt x="3518505" y="3234658"/>
                </a:lnTo>
                <a:lnTo>
                  <a:pt x="3506362" y="3234658"/>
                </a:lnTo>
                <a:lnTo>
                  <a:pt x="3503326" y="3234658"/>
                </a:lnTo>
                <a:lnTo>
                  <a:pt x="3491183" y="3240730"/>
                </a:lnTo>
                <a:lnTo>
                  <a:pt x="3485112" y="3246802"/>
                </a:lnTo>
                <a:lnTo>
                  <a:pt x="3482075" y="3246802"/>
                </a:lnTo>
                <a:lnTo>
                  <a:pt x="3479040" y="3246802"/>
                </a:lnTo>
                <a:lnTo>
                  <a:pt x="3476005" y="3246802"/>
                </a:lnTo>
                <a:lnTo>
                  <a:pt x="3466896" y="3249837"/>
                </a:lnTo>
                <a:lnTo>
                  <a:pt x="3433503" y="3261981"/>
                </a:lnTo>
                <a:lnTo>
                  <a:pt x="3427431" y="3268053"/>
                </a:lnTo>
                <a:lnTo>
                  <a:pt x="3418324" y="3265016"/>
                </a:lnTo>
                <a:lnTo>
                  <a:pt x="3406181" y="3258946"/>
                </a:lnTo>
                <a:lnTo>
                  <a:pt x="3357607" y="3258946"/>
                </a:lnTo>
                <a:lnTo>
                  <a:pt x="3342428" y="3261981"/>
                </a:lnTo>
                <a:lnTo>
                  <a:pt x="3327249" y="3268053"/>
                </a:lnTo>
                <a:lnTo>
                  <a:pt x="3312070" y="3274125"/>
                </a:lnTo>
                <a:lnTo>
                  <a:pt x="3287784" y="3268053"/>
                </a:lnTo>
                <a:lnTo>
                  <a:pt x="3269569" y="3252874"/>
                </a:lnTo>
                <a:lnTo>
                  <a:pt x="3257425" y="3243766"/>
                </a:lnTo>
                <a:lnTo>
                  <a:pt x="3248318" y="3237695"/>
                </a:lnTo>
                <a:lnTo>
                  <a:pt x="3245283" y="3234658"/>
                </a:lnTo>
                <a:lnTo>
                  <a:pt x="3242247" y="3231623"/>
                </a:lnTo>
                <a:lnTo>
                  <a:pt x="3239211" y="3228587"/>
                </a:lnTo>
                <a:lnTo>
                  <a:pt x="3230104" y="3222516"/>
                </a:lnTo>
                <a:lnTo>
                  <a:pt x="3227068" y="3222516"/>
                </a:lnTo>
                <a:lnTo>
                  <a:pt x="3211889" y="3213408"/>
                </a:lnTo>
                <a:lnTo>
                  <a:pt x="3205817" y="3207336"/>
                </a:lnTo>
                <a:lnTo>
                  <a:pt x="3196710" y="3201265"/>
                </a:lnTo>
                <a:lnTo>
                  <a:pt x="3193674" y="3189122"/>
                </a:lnTo>
                <a:lnTo>
                  <a:pt x="3193674" y="3180014"/>
                </a:lnTo>
                <a:lnTo>
                  <a:pt x="3184566" y="3161799"/>
                </a:lnTo>
                <a:lnTo>
                  <a:pt x="3184566" y="3158764"/>
                </a:lnTo>
                <a:lnTo>
                  <a:pt x="3178495" y="3155727"/>
                </a:lnTo>
                <a:lnTo>
                  <a:pt x="3172424" y="3155727"/>
                </a:lnTo>
                <a:lnTo>
                  <a:pt x="3166352" y="3149655"/>
                </a:lnTo>
                <a:lnTo>
                  <a:pt x="3163315" y="3146620"/>
                </a:lnTo>
                <a:lnTo>
                  <a:pt x="3157245" y="3143585"/>
                </a:lnTo>
                <a:lnTo>
                  <a:pt x="3157245" y="3140548"/>
                </a:lnTo>
                <a:lnTo>
                  <a:pt x="3157245" y="3137513"/>
                </a:lnTo>
                <a:lnTo>
                  <a:pt x="3154208" y="3137513"/>
                </a:lnTo>
                <a:lnTo>
                  <a:pt x="3148136" y="3134476"/>
                </a:lnTo>
                <a:lnTo>
                  <a:pt x="3148136" y="3128406"/>
                </a:lnTo>
                <a:lnTo>
                  <a:pt x="3148136" y="3125369"/>
                </a:lnTo>
                <a:lnTo>
                  <a:pt x="3145101" y="3122334"/>
                </a:lnTo>
                <a:lnTo>
                  <a:pt x="3145101" y="3119297"/>
                </a:lnTo>
                <a:lnTo>
                  <a:pt x="3139029" y="3122334"/>
                </a:lnTo>
                <a:lnTo>
                  <a:pt x="3129922" y="3116262"/>
                </a:lnTo>
                <a:lnTo>
                  <a:pt x="3135994" y="3110190"/>
                </a:lnTo>
                <a:lnTo>
                  <a:pt x="3120815" y="3110190"/>
                </a:lnTo>
                <a:lnTo>
                  <a:pt x="3120815" y="3104118"/>
                </a:lnTo>
                <a:lnTo>
                  <a:pt x="3120815" y="3095011"/>
                </a:lnTo>
                <a:lnTo>
                  <a:pt x="3120815" y="3088940"/>
                </a:lnTo>
                <a:lnTo>
                  <a:pt x="3123850" y="3085904"/>
                </a:lnTo>
                <a:lnTo>
                  <a:pt x="3123850" y="3082868"/>
                </a:lnTo>
                <a:lnTo>
                  <a:pt x="3126886" y="3073761"/>
                </a:lnTo>
                <a:lnTo>
                  <a:pt x="3120815" y="3073761"/>
                </a:lnTo>
                <a:lnTo>
                  <a:pt x="3117779" y="3070725"/>
                </a:lnTo>
                <a:lnTo>
                  <a:pt x="3111707" y="3061617"/>
                </a:lnTo>
                <a:lnTo>
                  <a:pt x="3114743" y="3058582"/>
                </a:lnTo>
                <a:lnTo>
                  <a:pt x="3120815" y="3046438"/>
                </a:lnTo>
                <a:lnTo>
                  <a:pt x="3123850" y="3037331"/>
                </a:lnTo>
                <a:lnTo>
                  <a:pt x="3126886" y="3031259"/>
                </a:lnTo>
                <a:lnTo>
                  <a:pt x="3132958" y="3010008"/>
                </a:lnTo>
                <a:lnTo>
                  <a:pt x="3135994" y="2985722"/>
                </a:lnTo>
                <a:lnTo>
                  <a:pt x="3132958" y="2970543"/>
                </a:lnTo>
                <a:lnTo>
                  <a:pt x="3129922" y="2952328"/>
                </a:lnTo>
                <a:lnTo>
                  <a:pt x="3132958" y="2946256"/>
                </a:lnTo>
                <a:lnTo>
                  <a:pt x="3132958" y="2940185"/>
                </a:lnTo>
                <a:lnTo>
                  <a:pt x="3126886" y="2934113"/>
                </a:lnTo>
                <a:lnTo>
                  <a:pt x="3114743" y="2918934"/>
                </a:lnTo>
                <a:lnTo>
                  <a:pt x="3114743" y="2912863"/>
                </a:lnTo>
                <a:lnTo>
                  <a:pt x="3117779" y="2900719"/>
                </a:lnTo>
                <a:lnTo>
                  <a:pt x="3120815" y="2897684"/>
                </a:lnTo>
                <a:lnTo>
                  <a:pt x="3123850" y="2894647"/>
                </a:lnTo>
                <a:lnTo>
                  <a:pt x="3129922" y="2888576"/>
                </a:lnTo>
                <a:lnTo>
                  <a:pt x="3132958" y="2876433"/>
                </a:lnTo>
                <a:lnTo>
                  <a:pt x="3142065" y="2858218"/>
                </a:lnTo>
                <a:lnTo>
                  <a:pt x="3148136" y="2855182"/>
                </a:lnTo>
                <a:lnTo>
                  <a:pt x="3160280" y="2833931"/>
                </a:lnTo>
                <a:lnTo>
                  <a:pt x="3160280" y="2824824"/>
                </a:lnTo>
                <a:lnTo>
                  <a:pt x="3166352" y="2812681"/>
                </a:lnTo>
                <a:lnTo>
                  <a:pt x="3169387" y="2806609"/>
                </a:lnTo>
                <a:lnTo>
                  <a:pt x="3175459" y="2803574"/>
                </a:lnTo>
                <a:lnTo>
                  <a:pt x="3184566" y="2797502"/>
                </a:lnTo>
                <a:lnTo>
                  <a:pt x="3190638" y="2785358"/>
                </a:lnTo>
                <a:lnTo>
                  <a:pt x="3193674" y="2773216"/>
                </a:lnTo>
                <a:lnTo>
                  <a:pt x="3196710" y="2770179"/>
                </a:lnTo>
                <a:lnTo>
                  <a:pt x="3208853" y="2767144"/>
                </a:lnTo>
                <a:lnTo>
                  <a:pt x="3220996" y="2764107"/>
                </a:lnTo>
                <a:lnTo>
                  <a:pt x="3230104" y="2755000"/>
                </a:lnTo>
                <a:lnTo>
                  <a:pt x="3239211" y="2748928"/>
                </a:lnTo>
                <a:lnTo>
                  <a:pt x="3248318" y="2742857"/>
                </a:lnTo>
                <a:lnTo>
                  <a:pt x="3257425" y="2733749"/>
                </a:lnTo>
                <a:lnTo>
                  <a:pt x="3269569" y="2709463"/>
                </a:lnTo>
                <a:lnTo>
                  <a:pt x="3263497" y="2688212"/>
                </a:lnTo>
                <a:lnTo>
                  <a:pt x="3272604" y="2669997"/>
                </a:lnTo>
                <a:lnTo>
                  <a:pt x="3275641" y="2660890"/>
                </a:lnTo>
                <a:lnTo>
                  <a:pt x="3278676" y="2654818"/>
                </a:lnTo>
                <a:lnTo>
                  <a:pt x="3293855" y="2639639"/>
                </a:lnTo>
                <a:lnTo>
                  <a:pt x="3327249" y="2621425"/>
                </a:lnTo>
                <a:lnTo>
                  <a:pt x="3330285" y="2615353"/>
                </a:lnTo>
                <a:lnTo>
                  <a:pt x="3345465" y="2578923"/>
                </a:lnTo>
                <a:lnTo>
                  <a:pt x="3354054" y="2573197"/>
                </a:lnTo>
                <a:lnTo>
                  <a:pt x="3354572" y="2573170"/>
                </a:lnTo>
                <a:lnTo>
                  <a:pt x="3354572" y="2575887"/>
                </a:lnTo>
                <a:lnTo>
                  <a:pt x="3366714" y="2591066"/>
                </a:lnTo>
                <a:lnTo>
                  <a:pt x="3384930" y="2594102"/>
                </a:lnTo>
                <a:lnTo>
                  <a:pt x="3397073" y="2594102"/>
                </a:lnTo>
                <a:lnTo>
                  <a:pt x="3403144" y="2591066"/>
                </a:lnTo>
                <a:lnTo>
                  <a:pt x="3409216" y="2594102"/>
                </a:lnTo>
                <a:lnTo>
                  <a:pt x="3418324" y="2594102"/>
                </a:lnTo>
                <a:lnTo>
                  <a:pt x="3421360" y="2594102"/>
                </a:lnTo>
                <a:lnTo>
                  <a:pt x="3424395" y="2594102"/>
                </a:lnTo>
                <a:lnTo>
                  <a:pt x="3430467" y="2594102"/>
                </a:lnTo>
                <a:lnTo>
                  <a:pt x="3439575" y="2584995"/>
                </a:lnTo>
                <a:lnTo>
                  <a:pt x="3442610" y="2581959"/>
                </a:lnTo>
                <a:lnTo>
                  <a:pt x="3445646" y="2578923"/>
                </a:lnTo>
                <a:lnTo>
                  <a:pt x="3451717" y="2578923"/>
                </a:lnTo>
                <a:lnTo>
                  <a:pt x="3460825" y="2575887"/>
                </a:lnTo>
                <a:lnTo>
                  <a:pt x="3469933" y="2569816"/>
                </a:lnTo>
                <a:lnTo>
                  <a:pt x="3488147" y="2560708"/>
                </a:lnTo>
                <a:lnTo>
                  <a:pt x="3500291" y="2557672"/>
                </a:lnTo>
                <a:lnTo>
                  <a:pt x="3515470" y="2554636"/>
                </a:lnTo>
                <a:lnTo>
                  <a:pt x="3527613" y="2554636"/>
                </a:lnTo>
                <a:lnTo>
                  <a:pt x="3542792" y="2551601"/>
                </a:lnTo>
                <a:lnTo>
                  <a:pt x="3561006" y="2548565"/>
                </a:lnTo>
                <a:lnTo>
                  <a:pt x="3573150" y="2554636"/>
                </a:lnTo>
                <a:lnTo>
                  <a:pt x="3594401" y="2551601"/>
                </a:lnTo>
                <a:lnTo>
                  <a:pt x="3609580" y="2548565"/>
                </a:lnTo>
                <a:lnTo>
                  <a:pt x="3621723" y="2545529"/>
                </a:lnTo>
                <a:lnTo>
                  <a:pt x="3630830" y="2551601"/>
                </a:lnTo>
                <a:lnTo>
                  <a:pt x="3642974" y="2548565"/>
                </a:lnTo>
                <a:lnTo>
                  <a:pt x="3652081" y="2542494"/>
                </a:lnTo>
                <a:lnTo>
                  <a:pt x="3664224" y="2539457"/>
                </a:lnTo>
                <a:lnTo>
                  <a:pt x="3670295" y="2539457"/>
                </a:lnTo>
                <a:lnTo>
                  <a:pt x="3679404" y="2542494"/>
                </a:lnTo>
                <a:lnTo>
                  <a:pt x="3676367" y="2542494"/>
                </a:lnTo>
                <a:lnTo>
                  <a:pt x="3679404" y="2551601"/>
                </a:lnTo>
                <a:lnTo>
                  <a:pt x="3691546" y="2545529"/>
                </a:lnTo>
                <a:lnTo>
                  <a:pt x="3694583" y="2545529"/>
                </a:lnTo>
                <a:lnTo>
                  <a:pt x="3694583" y="2548565"/>
                </a:lnTo>
                <a:lnTo>
                  <a:pt x="3688511" y="2557672"/>
                </a:lnTo>
                <a:lnTo>
                  <a:pt x="3685474" y="2560708"/>
                </a:lnTo>
                <a:lnTo>
                  <a:pt x="3682439" y="2563744"/>
                </a:lnTo>
                <a:lnTo>
                  <a:pt x="3682439" y="2572851"/>
                </a:lnTo>
                <a:lnTo>
                  <a:pt x="3688511" y="2578923"/>
                </a:lnTo>
                <a:lnTo>
                  <a:pt x="3694583" y="2591066"/>
                </a:lnTo>
                <a:lnTo>
                  <a:pt x="3691546" y="2600174"/>
                </a:lnTo>
                <a:lnTo>
                  <a:pt x="3682439" y="2609281"/>
                </a:lnTo>
                <a:lnTo>
                  <a:pt x="3673332" y="2621425"/>
                </a:lnTo>
                <a:lnTo>
                  <a:pt x="3688511" y="2636604"/>
                </a:lnTo>
                <a:lnTo>
                  <a:pt x="3696101" y="2642676"/>
                </a:lnTo>
                <a:lnTo>
                  <a:pt x="3699136" y="2639639"/>
                </a:lnTo>
                <a:lnTo>
                  <a:pt x="3702173" y="2642676"/>
                </a:lnTo>
                <a:lnTo>
                  <a:pt x="3708243" y="2645711"/>
                </a:lnTo>
                <a:lnTo>
                  <a:pt x="3729493" y="2651783"/>
                </a:lnTo>
                <a:lnTo>
                  <a:pt x="3738601" y="2648746"/>
                </a:lnTo>
                <a:lnTo>
                  <a:pt x="3750744" y="2651783"/>
                </a:lnTo>
                <a:lnTo>
                  <a:pt x="3778066" y="2660890"/>
                </a:lnTo>
                <a:lnTo>
                  <a:pt x="3781103" y="2669997"/>
                </a:lnTo>
                <a:lnTo>
                  <a:pt x="3784138" y="2679105"/>
                </a:lnTo>
                <a:lnTo>
                  <a:pt x="3805389" y="2691248"/>
                </a:lnTo>
                <a:lnTo>
                  <a:pt x="3814497" y="2691248"/>
                </a:lnTo>
                <a:lnTo>
                  <a:pt x="3826640" y="2694284"/>
                </a:lnTo>
                <a:lnTo>
                  <a:pt x="3838784" y="2700356"/>
                </a:lnTo>
                <a:lnTo>
                  <a:pt x="3847891" y="2709463"/>
                </a:lnTo>
                <a:lnTo>
                  <a:pt x="3869142" y="2709463"/>
                </a:lnTo>
                <a:lnTo>
                  <a:pt x="3881284" y="2691248"/>
                </a:lnTo>
                <a:lnTo>
                  <a:pt x="3878249" y="2666962"/>
                </a:lnTo>
                <a:lnTo>
                  <a:pt x="3899500" y="2651783"/>
                </a:lnTo>
                <a:lnTo>
                  <a:pt x="3923786" y="2648746"/>
                </a:lnTo>
                <a:lnTo>
                  <a:pt x="3938965" y="2654818"/>
                </a:lnTo>
                <a:lnTo>
                  <a:pt x="3942001" y="2654818"/>
                </a:lnTo>
                <a:lnTo>
                  <a:pt x="3942001" y="2660890"/>
                </a:lnTo>
                <a:lnTo>
                  <a:pt x="3960216" y="2669997"/>
                </a:lnTo>
                <a:lnTo>
                  <a:pt x="3972359" y="2669997"/>
                </a:lnTo>
                <a:lnTo>
                  <a:pt x="3981466" y="2673033"/>
                </a:lnTo>
                <a:lnTo>
                  <a:pt x="3984503" y="2679105"/>
                </a:lnTo>
                <a:lnTo>
                  <a:pt x="3999682" y="2679105"/>
                </a:lnTo>
                <a:lnTo>
                  <a:pt x="4023968" y="2685176"/>
                </a:lnTo>
                <a:lnTo>
                  <a:pt x="4027004" y="2688212"/>
                </a:lnTo>
                <a:lnTo>
                  <a:pt x="4033075" y="2691248"/>
                </a:lnTo>
                <a:lnTo>
                  <a:pt x="4042183" y="2694284"/>
                </a:lnTo>
                <a:lnTo>
                  <a:pt x="4054326" y="2694284"/>
                </a:lnTo>
                <a:lnTo>
                  <a:pt x="4063434" y="2700356"/>
                </a:lnTo>
                <a:lnTo>
                  <a:pt x="4075576" y="2694284"/>
                </a:lnTo>
                <a:lnTo>
                  <a:pt x="4090755" y="2688212"/>
                </a:lnTo>
                <a:lnTo>
                  <a:pt x="4093792" y="2685176"/>
                </a:lnTo>
                <a:lnTo>
                  <a:pt x="4121114" y="2682141"/>
                </a:lnTo>
                <a:lnTo>
                  <a:pt x="4134907" y="2690023"/>
                </a:lnTo>
                <a:lnTo>
                  <a:pt x="4134907" y="2690022"/>
                </a:lnTo>
                <a:lnTo>
                  <a:pt x="4142363" y="2694283"/>
                </a:lnTo>
                <a:lnTo>
                  <a:pt x="4145399" y="2694283"/>
                </a:lnTo>
                <a:lnTo>
                  <a:pt x="4148434" y="2691247"/>
                </a:lnTo>
                <a:lnTo>
                  <a:pt x="4157543" y="2694283"/>
                </a:lnTo>
                <a:lnTo>
                  <a:pt x="4172722" y="2688211"/>
                </a:lnTo>
                <a:lnTo>
                  <a:pt x="4175757" y="2682139"/>
                </a:lnTo>
                <a:lnTo>
                  <a:pt x="4184864" y="2654817"/>
                </a:lnTo>
                <a:lnTo>
                  <a:pt x="4187901" y="2645710"/>
                </a:lnTo>
                <a:lnTo>
                  <a:pt x="4193972" y="2639638"/>
                </a:lnTo>
                <a:lnTo>
                  <a:pt x="4193972" y="2633566"/>
                </a:lnTo>
                <a:lnTo>
                  <a:pt x="4200044" y="2621424"/>
                </a:lnTo>
                <a:lnTo>
                  <a:pt x="4200044" y="2615352"/>
                </a:lnTo>
                <a:lnTo>
                  <a:pt x="4206115" y="2609280"/>
                </a:lnTo>
                <a:lnTo>
                  <a:pt x="4206115" y="2606245"/>
                </a:lnTo>
                <a:lnTo>
                  <a:pt x="4206115" y="2603208"/>
                </a:lnTo>
                <a:lnTo>
                  <a:pt x="4206115" y="2597136"/>
                </a:lnTo>
                <a:lnTo>
                  <a:pt x="4206115" y="2584994"/>
                </a:lnTo>
                <a:lnTo>
                  <a:pt x="4203079" y="2581957"/>
                </a:lnTo>
                <a:lnTo>
                  <a:pt x="4206115" y="2572850"/>
                </a:lnTo>
                <a:lnTo>
                  <a:pt x="4206115" y="2569815"/>
                </a:lnTo>
                <a:lnTo>
                  <a:pt x="4203080" y="2563743"/>
                </a:lnTo>
                <a:lnTo>
                  <a:pt x="4206115" y="2560707"/>
                </a:lnTo>
                <a:lnTo>
                  <a:pt x="4212187" y="2554635"/>
                </a:lnTo>
                <a:lnTo>
                  <a:pt x="4209152" y="2548564"/>
                </a:lnTo>
                <a:lnTo>
                  <a:pt x="4200044" y="2557672"/>
                </a:lnTo>
                <a:lnTo>
                  <a:pt x="4197008" y="2557672"/>
                </a:lnTo>
                <a:lnTo>
                  <a:pt x="4184864" y="2554635"/>
                </a:lnTo>
                <a:lnTo>
                  <a:pt x="4184864" y="2551600"/>
                </a:lnTo>
                <a:lnTo>
                  <a:pt x="4175757" y="2554635"/>
                </a:lnTo>
                <a:lnTo>
                  <a:pt x="4166650" y="2563743"/>
                </a:lnTo>
                <a:lnTo>
                  <a:pt x="4142363" y="2569815"/>
                </a:lnTo>
                <a:lnTo>
                  <a:pt x="4127184" y="2560707"/>
                </a:lnTo>
                <a:lnTo>
                  <a:pt x="4118077" y="2554635"/>
                </a:lnTo>
                <a:lnTo>
                  <a:pt x="4108970" y="2551600"/>
                </a:lnTo>
                <a:lnTo>
                  <a:pt x="4102898" y="2551600"/>
                </a:lnTo>
                <a:lnTo>
                  <a:pt x="4096826" y="2554635"/>
                </a:lnTo>
                <a:lnTo>
                  <a:pt x="4093791" y="2563743"/>
                </a:lnTo>
                <a:lnTo>
                  <a:pt x="4087719" y="2563743"/>
                </a:lnTo>
                <a:lnTo>
                  <a:pt x="4081647" y="2566779"/>
                </a:lnTo>
                <a:lnTo>
                  <a:pt x="4078612" y="2566779"/>
                </a:lnTo>
                <a:lnTo>
                  <a:pt x="4075575" y="2566779"/>
                </a:lnTo>
                <a:lnTo>
                  <a:pt x="4069504" y="2563743"/>
                </a:lnTo>
                <a:lnTo>
                  <a:pt x="4060396" y="2554635"/>
                </a:lnTo>
                <a:lnTo>
                  <a:pt x="4048253" y="2545528"/>
                </a:lnTo>
                <a:lnTo>
                  <a:pt x="4030038" y="2545528"/>
                </a:lnTo>
                <a:lnTo>
                  <a:pt x="4027003" y="2533385"/>
                </a:lnTo>
                <a:lnTo>
                  <a:pt x="4027003" y="2521242"/>
                </a:lnTo>
                <a:lnTo>
                  <a:pt x="4014860" y="2518205"/>
                </a:lnTo>
                <a:lnTo>
                  <a:pt x="4011823" y="2518205"/>
                </a:lnTo>
                <a:lnTo>
                  <a:pt x="4008788" y="2515170"/>
                </a:lnTo>
                <a:lnTo>
                  <a:pt x="4011823" y="2503027"/>
                </a:lnTo>
                <a:lnTo>
                  <a:pt x="4017895" y="2503027"/>
                </a:lnTo>
                <a:lnTo>
                  <a:pt x="4020931" y="2496955"/>
                </a:lnTo>
                <a:lnTo>
                  <a:pt x="4014860" y="2487848"/>
                </a:lnTo>
                <a:lnTo>
                  <a:pt x="4017895" y="2484812"/>
                </a:lnTo>
                <a:lnTo>
                  <a:pt x="4020931" y="2481776"/>
                </a:lnTo>
                <a:lnTo>
                  <a:pt x="4002716" y="2481776"/>
                </a:lnTo>
                <a:lnTo>
                  <a:pt x="4005752" y="2466597"/>
                </a:lnTo>
                <a:lnTo>
                  <a:pt x="4008788" y="2469633"/>
                </a:lnTo>
                <a:lnTo>
                  <a:pt x="4017895" y="2460525"/>
                </a:lnTo>
                <a:lnTo>
                  <a:pt x="4027003" y="2454454"/>
                </a:lnTo>
                <a:lnTo>
                  <a:pt x="4030038" y="2457490"/>
                </a:lnTo>
                <a:lnTo>
                  <a:pt x="4036110" y="2460525"/>
                </a:lnTo>
                <a:lnTo>
                  <a:pt x="4039146" y="2457490"/>
                </a:lnTo>
                <a:lnTo>
                  <a:pt x="4045217" y="2454454"/>
                </a:lnTo>
                <a:lnTo>
                  <a:pt x="4054325" y="2457490"/>
                </a:lnTo>
                <a:lnTo>
                  <a:pt x="4060396" y="2454454"/>
                </a:lnTo>
                <a:lnTo>
                  <a:pt x="4063433" y="2451418"/>
                </a:lnTo>
                <a:lnTo>
                  <a:pt x="4066468" y="2442311"/>
                </a:lnTo>
                <a:lnTo>
                  <a:pt x="4066468" y="2433204"/>
                </a:lnTo>
                <a:lnTo>
                  <a:pt x="4090754" y="2436239"/>
                </a:lnTo>
                <a:lnTo>
                  <a:pt x="4096826" y="2436239"/>
                </a:lnTo>
                <a:lnTo>
                  <a:pt x="4112005" y="2436239"/>
                </a:lnTo>
                <a:lnTo>
                  <a:pt x="4127184" y="2424095"/>
                </a:lnTo>
                <a:lnTo>
                  <a:pt x="4130220" y="2424095"/>
                </a:lnTo>
                <a:lnTo>
                  <a:pt x="4133256" y="2421060"/>
                </a:lnTo>
                <a:lnTo>
                  <a:pt x="4139328" y="2418025"/>
                </a:lnTo>
                <a:lnTo>
                  <a:pt x="4142363" y="2418025"/>
                </a:lnTo>
                <a:lnTo>
                  <a:pt x="4148435" y="2414988"/>
                </a:lnTo>
                <a:lnTo>
                  <a:pt x="4157543" y="2411953"/>
                </a:lnTo>
                <a:lnTo>
                  <a:pt x="4169685" y="2414988"/>
                </a:lnTo>
                <a:lnTo>
                  <a:pt x="4178793" y="2414988"/>
                </a:lnTo>
                <a:lnTo>
                  <a:pt x="4187901" y="2411953"/>
                </a:lnTo>
                <a:lnTo>
                  <a:pt x="4206115" y="2424095"/>
                </a:lnTo>
                <a:lnTo>
                  <a:pt x="4209152" y="2421060"/>
                </a:lnTo>
                <a:lnTo>
                  <a:pt x="4212187" y="2427132"/>
                </a:lnTo>
                <a:lnTo>
                  <a:pt x="4215224" y="2433204"/>
                </a:lnTo>
                <a:lnTo>
                  <a:pt x="4221294" y="2430167"/>
                </a:lnTo>
                <a:lnTo>
                  <a:pt x="4227366" y="2433204"/>
                </a:lnTo>
                <a:lnTo>
                  <a:pt x="4230403" y="2433204"/>
                </a:lnTo>
                <a:lnTo>
                  <a:pt x="4230403" y="2436239"/>
                </a:lnTo>
                <a:lnTo>
                  <a:pt x="4239510" y="2439275"/>
                </a:lnTo>
                <a:lnTo>
                  <a:pt x="4248617" y="2442311"/>
                </a:lnTo>
                <a:lnTo>
                  <a:pt x="4266832" y="2439275"/>
                </a:lnTo>
                <a:lnTo>
                  <a:pt x="4278975" y="2439275"/>
                </a:lnTo>
                <a:lnTo>
                  <a:pt x="4291118" y="2442311"/>
                </a:lnTo>
                <a:lnTo>
                  <a:pt x="4297190" y="2442311"/>
                </a:lnTo>
                <a:lnTo>
                  <a:pt x="4312369" y="2433204"/>
                </a:lnTo>
                <a:lnTo>
                  <a:pt x="4321476" y="2427132"/>
                </a:lnTo>
                <a:lnTo>
                  <a:pt x="4321476" y="2424095"/>
                </a:lnTo>
                <a:lnTo>
                  <a:pt x="4327548" y="2408916"/>
                </a:lnTo>
                <a:lnTo>
                  <a:pt x="4321476" y="2398291"/>
                </a:lnTo>
                <a:lnTo>
                  <a:pt x="4321476" y="2395255"/>
                </a:lnTo>
                <a:lnTo>
                  <a:pt x="4312369" y="2389184"/>
                </a:lnTo>
                <a:lnTo>
                  <a:pt x="4306297" y="2386147"/>
                </a:lnTo>
                <a:lnTo>
                  <a:pt x="4294155" y="2377040"/>
                </a:lnTo>
                <a:lnTo>
                  <a:pt x="4291118" y="2377040"/>
                </a:lnTo>
                <a:lnTo>
                  <a:pt x="4272904" y="2358825"/>
                </a:lnTo>
                <a:lnTo>
                  <a:pt x="4254689" y="2346682"/>
                </a:lnTo>
                <a:lnTo>
                  <a:pt x="4245581" y="2340611"/>
                </a:lnTo>
                <a:lnTo>
                  <a:pt x="4239510" y="2337574"/>
                </a:lnTo>
                <a:lnTo>
                  <a:pt x="4230403" y="2331503"/>
                </a:lnTo>
                <a:lnTo>
                  <a:pt x="4227366" y="2322395"/>
                </a:lnTo>
                <a:lnTo>
                  <a:pt x="4236474" y="2322395"/>
                </a:lnTo>
                <a:lnTo>
                  <a:pt x="4245581" y="2307216"/>
                </a:lnTo>
                <a:lnTo>
                  <a:pt x="4248617" y="2301145"/>
                </a:lnTo>
                <a:lnTo>
                  <a:pt x="4254689" y="2298109"/>
                </a:lnTo>
                <a:lnTo>
                  <a:pt x="4260760" y="2298109"/>
                </a:lnTo>
                <a:lnTo>
                  <a:pt x="4248617" y="2289002"/>
                </a:lnTo>
                <a:lnTo>
                  <a:pt x="4245581" y="2279895"/>
                </a:lnTo>
                <a:lnTo>
                  <a:pt x="4257724" y="2273823"/>
                </a:lnTo>
                <a:lnTo>
                  <a:pt x="4263796" y="2273823"/>
                </a:lnTo>
                <a:lnTo>
                  <a:pt x="4275939" y="2267751"/>
                </a:lnTo>
                <a:lnTo>
                  <a:pt x="4275939" y="2264715"/>
                </a:lnTo>
                <a:lnTo>
                  <a:pt x="4275939" y="2261679"/>
                </a:lnTo>
                <a:lnTo>
                  <a:pt x="4272904" y="2261679"/>
                </a:lnTo>
                <a:lnTo>
                  <a:pt x="4269868" y="2261679"/>
                </a:lnTo>
                <a:lnTo>
                  <a:pt x="4266832" y="2264715"/>
                </a:lnTo>
                <a:lnTo>
                  <a:pt x="4254689" y="2267751"/>
                </a:lnTo>
                <a:lnTo>
                  <a:pt x="4239510" y="2267751"/>
                </a:lnTo>
                <a:lnTo>
                  <a:pt x="4221294" y="2276858"/>
                </a:lnTo>
                <a:lnTo>
                  <a:pt x="4193973" y="2289002"/>
                </a:lnTo>
                <a:lnTo>
                  <a:pt x="4190936" y="2285966"/>
                </a:lnTo>
                <a:lnTo>
                  <a:pt x="4184864" y="2295074"/>
                </a:lnTo>
                <a:lnTo>
                  <a:pt x="4184864" y="2298109"/>
                </a:lnTo>
                <a:lnTo>
                  <a:pt x="4187901" y="2310253"/>
                </a:lnTo>
                <a:lnTo>
                  <a:pt x="4197008" y="2322395"/>
                </a:lnTo>
                <a:lnTo>
                  <a:pt x="4203080" y="2319360"/>
                </a:lnTo>
                <a:lnTo>
                  <a:pt x="4209152" y="2316324"/>
                </a:lnTo>
                <a:lnTo>
                  <a:pt x="4212187" y="2316324"/>
                </a:lnTo>
                <a:lnTo>
                  <a:pt x="4218259" y="2316324"/>
                </a:lnTo>
                <a:lnTo>
                  <a:pt x="4218259" y="2328467"/>
                </a:lnTo>
                <a:lnTo>
                  <a:pt x="4212187" y="2328467"/>
                </a:lnTo>
                <a:lnTo>
                  <a:pt x="4206115" y="2328467"/>
                </a:lnTo>
                <a:lnTo>
                  <a:pt x="4200044" y="2325432"/>
                </a:lnTo>
                <a:lnTo>
                  <a:pt x="4193973" y="2328467"/>
                </a:lnTo>
                <a:lnTo>
                  <a:pt x="4178793" y="2337574"/>
                </a:lnTo>
                <a:lnTo>
                  <a:pt x="4160578" y="2346682"/>
                </a:lnTo>
                <a:lnTo>
                  <a:pt x="4154507" y="2340611"/>
                </a:lnTo>
                <a:lnTo>
                  <a:pt x="4157543" y="2340611"/>
                </a:lnTo>
                <a:lnTo>
                  <a:pt x="4157543" y="2334539"/>
                </a:lnTo>
                <a:lnTo>
                  <a:pt x="4154507" y="2325432"/>
                </a:lnTo>
                <a:lnTo>
                  <a:pt x="4142363" y="2319360"/>
                </a:lnTo>
                <a:lnTo>
                  <a:pt x="4136292" y="2319360"/>
                </a:lnTo>
                <a:lnTo>
                  <a:pt x="4142363" y="2313288"/>
                </a:lnTo>
                <a:lnTo>
                  <a:pt x="4151471" y="2307216"/>
                </a:lnTo>
                <a:lnTo>
                  <a:pt x="4160578" y="2304181"/>
                </a:lnTo>
                <a:lnTo>
                  <a:pt x="4160578" y="2298109"/>
                </a:lnTo>
                <a:lnTo>
                  <a:pt x="4148435" y="2295074"/>
                </a:lnTo>
                <a:lnTo>
                  <a:pt x="4136292" y="2298109"/>
                </a:lnTo>
                <a:lnTo>
                  <a:pt x="4124149" y="2289002"/>
                </a:lnTo>
                <a:lnTo>
                  <a:pt x="4118077" y="2282930"/>
                </a:lnTo>
                <a:lnTo>
                  <a:pt x="4108970" y="2282930"/>
                </a:lnTo>
                <a:lnTo>
                  <a:pt x="4099863" y="2285966"/>
                </a:lnTo>
                <a:lnTo>
                  <a:pt x="4093791" y="2298109"/>
                </a:lnTo>
                <a:lnTo>
                  <a:pt x="4087719" y="2304181"/>
                </a:lnTo>
                <a:lnTo>
                  <a:pt x="4081647" y="2304181"/>
                </a:lnTo>
                <a:lnTo>
                  <a:pt x="4075575" y="2310253"/>
                </a:lnTo>
                <a:lnTo>
                  <a:pt x="4075575" y="2316324"/>
                </a:lnTo>
                <a:lnTo>
                  <a:pt x="4078612" y="2316324"/>
                </a:lnTo>
                <a:lnTo>
                  <a:pt x="4078612" y="2322395"/>
                </a:lnTo>
                <a:lnTo>
                  <a:pt x="4075575" y="2334539"/>
                </a:lnTo>
                <a:lnTo>
                  <a:pt x="4066468" y="2337574"/>
                </a:lnTo>
                <a:lnTo>
                  <a:pt x="4060396" y="2340611"/>
                </a:lnTo>
                <a:lnTo>
                  <a:pt x="4057361" y="2349718"/>
                </a:lnTo>
                <a:lnTo>
                  <a:pt x="4057361" y="2352754"/>
                </a:lnTo>
                <a:lnTo>
                  <a:pt x="4054325" y="2364897"/>
                </a:lnTo>
                <a:lnTo>
                  <a:pt x="4051289" y="2374005"/>
                </a:lnTo>
                <a:lnTo>
                  <a:pt x="4048253" y="2374005"/>
                </a:lnTo>
                <a:lnTo>
                  <a:pt x="4042182" y="2383112"/>
                </a:lnTo>
                <a:lnTo>
                  <a:pt x="4036110" y="2404363"/>
                </a:lnTo>
                <a:lnTo>
                  <a:pt x="4042182" y="2414988"/>
                </a:lnTo>
                <a:lnTo>
                  <a:pt x="4042182" y="2418025"/>
                </a:lnTo>
                <a:lnTo>
                  <a:pt x="4045217" y="2424095"/>
                </a:lnTo>
                <a:lnTo>
                  <a:pt x="4057361" y="2430167"/>
                </a:lnTo>
                <a:lnTo>
                  <a:pt x="4063433" y="2433204"/>
                </a:lnTo>
                <a:lnTo>
                  <a:pt x="4066468" y="2433204"/>
                </a:lnTo>
                <a:lnTo>
                  <a:pt x="4060396" y="2442311"/>
                </a:lnTo>
                <a:lnTo>
                  <a:pt x="4045217" y="2439275"/>
                </a:lnTo>
                <a:lnTo>
                  <a:pt x="4036110" y="2439275"/>
                </a:lnTo>
                <a:lnTo>
                  <a:pt x="4033074" y="2442311"/>
                </a:lnTo>
                <a:lnTo>
                  <a:pt x="4033074" y="2445346"/>
                </a:lnTo>
                <a:lnTo>
                  <a:pt x="4030038" y="2448382"/>
                </a:lnTo>
                <a:lnTo>
                  <a:pt x="4027003" y="2451418"/>
                </a:lnTo>
                <a:lnTo>
                  <a:pt x="4011823" y="2463561"/>
                </a:lnTo>
                <a:lnTo>
                  <a:pt x="4005752" y="2466597"/>
                </a:lnTo>
                <a:lnTo>
                  <a:pt x="4005752" y="2460525"/>
                </a:lnTo>
                <a:lnTo>
                  <a:pt x="4014860" y="2454454"/>
                </a:lnTo>
                <a:lnTo>
                  <a:pt x="4017895" y="2451418"/>
                </a:lnTo>
                <a:lnTo>
                  <a:pt x="4014860" y="2451418"/>
                </a:lnTo>
                <a:lnTo>
                  <a:pt x="4005752" y="2451418"/>
                </a:lnTo>
                <a:lnTo>
                  <a:pt x="4002716" y="2448382"/>
                </a:lnTo>
                <a:lnTo>
                  <a:pt x="4004916" y="2446183"/>
                </a:lnTo>
                <a:lnTo>
                  <a:pt x="4004915" y="2446182"/>
                </a:lnTo>
                <a:lnTo>
                  <a:pt x="4002715" y="2448382"/>
                </a:lnTo>
                <a:lnTo>
                  <a:pt x="3987536" y="2442311"/>
                </a:lnTo>
                <a:lnTo>
                  <a:pt x="3975393" y="2445346"/>
                </a:lnTo>
                <a:lnTo>
                  <a:pt x="3963250" y="2445346"/>
                </a:lnTo>
                <a:lnTo>
                  <a:pt x="3957178" y="2445346"/>
                </a:lnTo>
                <a:lnTo>
                  <a:pt x="3954142" y="2454454"/>
                </a:lnTo>
                <a:lnTo>
                  <a:pt x="3954142" y="2460525"/>
                </a:lnTo>
                <a:lnTo>
                  <a:pt x="3948071" y="2460525"/>
                </a:lnTo>
                <a:lnTo>
                  <a:pt x="3938963" y="2451418"/>
                </a:lnTo>
                <a:lnTo>
                  <a:pt x="3932892" y="2454454"/>
                </a:lnTo>
                <a:lnTo>
                  <a:pt x="3929856" y="2463561"/>
                </a:lnTo>
                <a:lnTo>
                  <a:pt x="3932892" y="2469633"/>
                </a:lnTo>
                <a:lnTo>
                  <a:pt x="3945035" y="2487848"/>
                </a:lnTo>
                <a:lnTo>
                  <a:pt x="3945035" y="2490884"/>
                </a:lnTo>
                <a:lnTo>
                  <a:pt x="3941999" y="2490884"/>
                </a:lnTo>
                <a:lnTo>
                  <a:pt x="3938963" y="2484812"/>
                </a:lnTo>
                <a:lnTo>
                  <a:pt x="3935927" y="2490884"/>
                </a:lnTo>
                <a:lnTo>
                  <a:pt x="3938963" y="2490884"/>
                </a:lnTo>
                <a:lnTo>
                  <a:pt x="3935927" y="2496955"/>
                </a:lnTo>
                <a:lnTo>
                  <a:pt x="3929856" y="2496955"/>
                </a:lnTo>
                <a:lnTo>
                  <a:pt x="3932892" y="2499991"/>
                </a:lnTo>
                <a:lnTo>
                  <a:pt x="3935927" y="2499991"/>
                </a:lnTo>
                <a:lnTo>
                  <a:pt x="3945035" y="2493919"/>
                </a:lnTo>
                <a:lnTo>
                  <a:pt x="3954142" y="2503027"/>
                </a:lnTo>
                <a:lnTo>
                  <a:pt x="3960214" y="2503027"/>
                </a:lnTo>
                <a:lnTo>
                  <a:pt x="3963250" y="2509098"/>
                </a:lnTo>
                <a:lnTo>
                  <a:pt x="3966285" y="2515170"/>
                </a:lnTo>
                <a:lnTo>
                  <a:pt x="3972357" y="2518205"/>
                </a:lnTo>
                <a:lnTo>
                  <a:pt x="3969322" y="2521242"/>
                </a:lnTo>
                <a:lnTo>
                  <a:pt x="3966285" y="2518205"/>
                </a:lnTo>
                <a:lnTo>
                  <a:pt x="3960214" y="2509098"/>
                </a:lnTo>
                <a:lnTo>
                  <a:pt x="3951106" y="2506063"/>
                </a:lnTo>
                <a:lnTo>
                  <a:pt x="3941999" y="2499991"/>
                </a:lnTo>
                <a:lnTo>
                  <a:pt x="3938963" y="2499991"/>
                </a:lnTo>
                <a:lnTo>
                  <a:pt x="3941999" y="2503027"/>
                </a:lnTo>
                <a:lnTo>
                  <a:pt x="3957178" y="2512135"/>
                </a:lnTo>
                <a:lnTo>
                  <a:pt x="3960214" y="2515170"/>
                </a:lnTo>
                <a:lnTo>
                  <a:pt x="3963250" y="2524277"/>
                </a:lnTo>
                <a:lnTo>
                  <a:pt x="3960214" y="2530349"/>
                </a:lnTo>
                <a:lnTo>
                  <a:pt x="3954142" y="2527314"/>
                </a:lnTo>
                <a:lnTo>
                  <a:pt x="3948071" y="2521242"/>
                </a:lnTo>
                <a:lnTo>
                  <a:pt x="3941999" y="2521242"/>
                </a:lnTo>
                <a:lnTo>
                  <a:pt x="3938963" y="2527314"/>
                </a:lnTo>
                <a:lnTo>
                  <a:pt x="3935927" y="2536421"/>
                </a:lnTo>
                <a:lnTo>
                  <a:pt x="3938963" y="2542493"/>
                </a:lnTo>
                <a:lnTo>
                  <a:pt x="3941999" y="2557672"/>
                </a:lnTo>
                <a:lnTo>
                  <a:pt x="3941999" y="2560707"/>
                </a:lnTo>
                <a:lnTo>
                  <a:pt x="3935927" y="2551600"/>
                </a:lnTo>
                <a:lnTo>
                  <a:pt x="3929856" y="2551600"/>
                </a:lnTo>
                <a:lnTo>
                  <a:pt x="3929856" y="2560707"/>
                </a:lnTo>
                <a:lnTo>
                  <a:pt x="3926820" y="2560707"/>
                </a:lnTo>
                <a:lnTo>
                  <a:pt x="3926820" y="2554635"/>
                </a:lnTo>
                <a:lnTo>
                  <a:pt x="3923784" y="2548564"/>
                </a:lnTo>
                <a:lnTo>
                  <a:pt x="3917712" y="2545528"/>
                </a:lnTo>
                <a:lnTo>
                  <a:pt x="3917712" y="2551600"/>
                </a:lnTo>
                <a:lnTo>
                  <a:pt x="3911641" y="2545528"/>
                </a:lnTo>
                <a:lnTo>
                  <a:pt x="3911641" y="2542493"/>
                </a:lnTo>
                <a:lnTo>
                  <a:pt x="3911641" y="2539456"/>
                </a:lnTo>
                <a:lnTo>
                  <a:pt x="3905570" y="2530349"/>
                </a:lnTo>
                <a:lnTo>
                  <a:pt x="3902533" y="2521242"/>
                </a:lnTo>
                <a:lnTo>
                  <a:pt x="3905570" y="2515170"/>
                </a:lnTo>
                <a:lnTo>
                  <a:pt x="3914677" y="2515170"/>
                </a:lnTo>
                <a:lnTo>
                  <a:pt x="3923784" y="2515170"/>
                </a:lnTo>
                <a:lnTo>
                  <a:pt x="3932892" y="2521242"/>
                </a:lnTo>
                <a:lnTo>
                  <a:pt x="3941999" y="2518205"/>
                </a:lnTo>
                <a:lnTo>
                  <a:pt x="3941999" y="2515170"/>
                </a:lnTo>
                <a:lnTo>
                  <a:pt x="3926820" y="2509098"/>
                </a:lnTo>
                <a:lnTo>
                  <a:pt x="3914677" y="2509098"/>
                </a:lnTo>
                <a:lnTo>
                  <a:pt x="3902533" y="2512135"/>
                </a:lnTo>
                <a:lnTo>
                  <a:pt x="3896462" y="2503027"/>
                </a:lnTo>
                <a:lnTo>
                  <a:pt x="3893426" y="2499991"/>
                </a:lnTo>
                <a:lnTo>
                  <a:pt x="3890391" y="2490884"/>
                </a:lnTo>
                <a:lnTo>
                  <a:pt x="3887354" y="2487848"/>
                </a:lnTo>
                <a:lnTo>
                  <a:pt x="3884319" y="2487848"/>
                </a:lnTo>
                <a:lnTo>
                  <a:pt x="3881282" y="2481776"/>
                </a:lnTo>
                <a:lnTo>
                  <a:pt x="3878247" y="2475705"/>
                </a:lnTo>
                <a:lnTo>
                  <a:pt x="3878248" y="2475704"/>
                </a:lnTo>
                <a:lnTo>
                  <a:pt x="3875213" y="2466597"/>
                </a:lnTo>
                <a:lnTo>
                  <a:pt x="3866104" y="2463561"/>
                </a:lnTo>
                <a:lnTo>
                  <a:pt x="3863069" y="2454454"/>
                </a:lnTo>
                <a:lnTo>
                  <a:pt x="3869141" y="2424095"/>
                </a:lnTo>
                <a:lnTo>
                  <a:pt x="3866104" y="2418025"/>
                </a:lnTo>
                <a:lnTo>
                  <a:pt x="3853962" y="2408916"/>
                </a:lnTo>
                <a:lnTo>
                  <a:pt x="3847890" y="2404363"/>
                </a:lnTo>
                <a:lnTo>
                  <a:pt x="3847890" y="2401326"/>
                </a:lnTo>
                <a:lnTo>
                  <a:pt x="3844854" y="2398291"/>
                </a:lnTo>
                <a:lnTo>
                  <a:pt x="3829675" y="2392219"/>
                </a:lnTo>
                <a:lnTo>
                  <a:pt x="3829675" y="2389184"/>
                </a:lnTo>
                <a:lnTo>
                  <a:pt x="3799317" y="2370969"/>
                </a:lnTo>
                <a:lnTo>
                  <a:pt x="3781103" y="2358825"/>
                </a:lnTo>
                <a:lnTo>
                  <a:pt x="3775031" y="2346682"/>
                </a:lnTo>
                <a:lnTo>
                  <a:pt x="3771994" y="2334539"/>
                </a:lnTo>
                <a:lnTo>
                  <a:pt x="3768959" y="2322395"/>
                </a:lnTo>
                <a:lnTo>
                  <a:pt x="3759852" y="2322395"/>
                </a:lnTo>
                <a:lnTo>
                  <a:pt x="3756815" y="2331503"/>
                </a:lnTo>
                <a:lnTo>
                  <a:pt x="3750744" y="2334539"/>
                </a:lnTo>
                <a:lnTo>
                  <a:pt x="3747708" y="2328467"/>
                </a:lnTo>
                <a:lnTo>
                  <a:pt x="3747708" y="2313288"/>
                </a:lnTo>
                <a:lnTo>
                  <a:pt x="3750744" y="2310253"/>
                </a:lnTo>
                <a:lnTo>
                  <a:pt x="3750743" y="2310252"/>
                </a:lnTo>
                <a:lnTo>
                  <a:pt x="3747707" y="2313287"/>
                </a:lnTo>
                <a:lnTo>
                  <a:pt x="3747707" y="2310252"/>
                </a:lnTo>
                <a:lnTo>
                  <a:pt x="3744672" y="2307215"/>
                </a:lnTo>
                <a:lnTo>
                  <a:pt x="3729492" y="2310252"/>
                </a:lnTo>
                <a:lnTo>
                  <a:pt x="3717349" y="2316324"/>
                </a:lnTo>
                <a:lnTo>
                  <a:pt x="3714313" y="2322394"/>
                </a:lnTo>
                <a:lnTo>
                  <a:pt x="3720385" y="2322394"/>
                </a:lnTo>
                <a:lnTo>
                  <a:pt x="3720385" y="2325431"/>
                </a:lnTo>
                <a:lnTo>
                  <a:pt x="3720385" y="2328466"/>
                </a:lnTo>
                <a:lnTo>
                  <a:pt x="3723421" y="2331502"/>
                </a:lnTo>
                <a:lnTo>
                  <a:pt x="3720385" y="2334538"/>
                </a:lnTo>
                <a:lnTo>
                  <a:pt x="3717349" y="2334538"/>
                </a:lnTo>
                <a:lnTo>
                  <a:pt x="3717349" y="2343645"/>
                </a:lnTo>
                <a:lnTo>
                  <a:pt x="3723421" y="2355789"/>
                </a:lnTo>
                <a:lnTo>
                  <a:pt x="3738600" y="2367932"/>
                </a:lnTo>
                <a:lnTo>
                  <a:pt x="3741635" y="2367932"/>
                </a:lnTo>
                <a:lnTo>
                  <a:pt x="3744672" y="2374004"/>
                </a:lnTo>
                <a:lnTo>
                  <a:pt x="3750743" y="2389183"/>
                </a:lnTo>
                <a:lnTo>
                  <a:pt x="3756814" y="2401325"/>
                </a:lnTo>
                <a:lnTo>
                  <a:pt x="3781102" y="2414987"/>
                </a:lnTo>
                <a:lnTo>
                  <a:pt x="3790209" y="2414987"/>
                </a:lnTo>
                <a:lnTo>
                  <a:pt x="3799316" y="2418024"/>
                </a:lnTo>
                <a:lnTo>
                  <a:pt x="3793244" y="2424094"/>
                </a:lnTo>
                <a:lnTo>
                  <a:pt x="3799316" y="2430166"/>
                </a:lnTo>
                <a:lnTo>
                  <a:pt x="3811459" y="2436238"/>
                </a:lnTo>
                <a:lnTo>
                  <a:pt x="3823602" y="2442310"/>
                </a:lnTo>
                <a:lnTo>
                  <a:pt x="3835746" y="2451417"/>
                </a:lnTo>
                <a:lnTo>
                  <a:pt x="3844853" y="2460524"/>
                </a:lnTo>
                <a:lnTo>
                  <a:pt x="3847889" y="2466596"/>
                </a:lnTo>
                <a:lnTo>
                  <a:pt x="3844853" y="2472668"/>
                </a:lnTo>
                <a:lnTo>
                  <a:pt x="3838782" y="2469632"/>
                </a:lnTo>
                <a:lnTo>
                  <a:pt x="3835746" y="2463560"/>
                </a:lnTo>
                <a:lnTo>
                  <a:pt x="3832710" y="2460524"/>
                </a:lnTo>
                <a:lnTo>
                  <a:pt x="3817531" y="2454453"/>
                </a:lnTo>
                <a:lnTo>
                  <a:pt x="3811459" y="2460524"/>
                </a:lnTo>
                <a:lnTo>
                  <a:pt x="3805388" y="2472668"/>
                </a:lnTo>
                <a:lnTo>
                  <a:pt x="3811459" y="2478739"/>
                </a:lnTo>
                <a:lnTo>
                  <a:pt x="3817531" y="2484811"/>
                </a:lnTo>
                <a:lnTo>
                  <a:pt x="3814495" y="2496954"/>
                </a:lnTo>
                <a:lnTo>
                  <a:pt x="3808423" y="2499990"/>
                </a:lnTo>
                <a:lnTo>
                  <a:pt x="3808423" y="2506062"/>
                </a:lnTo>
                <a:lnTo>
                  <a:pt x="3802352" y="2515169"/>
                </a:lnTo>
                <a:lnTo>
                  <a:pt x="3796281" y="2521241"/>
                </a:lnTo>
                <a:lnTo>
                  <a:pt x="3787172" y="2521241"/>
                </a:lnTo>
                <a:lnTo>
                  <a:pt x="3790209" y="2515169"/>
                </a:lnTo>
                <a:lnTo>
                  <a:pt x="3793244" y="2509097"/>
                </a:lnTo>
                <a:lnTo>
                  <a:pt x="3796281" y="2503026"/>
                </a:lnTo>
                <a:lnTo>
                  <a:pt x="3799316" y="2496954"/>
                </a:lnTo>
                <a:lnTo>
                  <a:pt x="3796281" y="2484811"/>
                </a:lnTo>
                <a:lnTo>
                  <a:pt x="3790209" y="2469632"/>
                </a:lnTo>
                <a:lnTo>
                  <a:pt x="3784137" y="2463560"/>
                </a:lnTo>
                <a:lnTo>
                  <a:pt x="3771993" y="2460524"/>
                </a:lnTo>
                <a:lnTo>
                  <a:pt x="3771993" y="2454453"/>
                </a:lnTo>
                <a:lnTo>
                  <a:pt x="3768958" y="2448382"/>
                </a:lnTo>
                <a:lnTo>
                  <a:pt x="3750743" y="2439274"/>
                </a:lnTo>
                <a:lnTo>
                  <a:pt x="3744672" y="2433203"/>
                </a:lnTo>
                <a:lnTo>
                  <a:pt x="3732528" y="2433203"/>
                </a:lnTo>
                <a:lnTo>
                  <a:pt x="3717349" y="2421059"/>
                </a:lnTo>
                <a:lnTo>
                  <a:pt x="3708242" y="2411952"/>
                </a:lnTo>
                <a:lnTo>
                  <a:pt x="3699134" y="2404362"/>
                </a:lnTo>
                <a:lnTo>
                  <a:pt x="3688509" y="2389183"/>
                </a:lnTo>
                <a:lnTo>
                  <a:pt x="3685472" y="2383111"/>
                </a:lnTo>
                <a:lnTo>
                  <a:pt x="3682437" y="2377039"/>
                </a:lnTo>
                <a:lnTo>
                  <a:pt x="3679402" y="2361860"/>
                </a:lnTo>
                <a:lnTo>
                  <a:pt x="3670293" y="2355789"/>
                </a:lnTo>
                <a:lnTo>
                  <a:pt x="3658151" y="2349717"/>
                </a:lnTo>
                <a:lnTo>
                  <a:pt x="3649043" y="2346681"/>
                </a:lnTo>
                <a:lnTo>
                  <a:pt x="3639935" y="2352753"/>
                </a:lnTo>
                <a:lnTo>
                  <a:pt x="3633864" y="2361860"/>
                </a:lnTo>
                <a:lnTo>
                  <a:pt x="3621722" y="2364896"/>
                </a:lnTo>
                <a:lnTo>
                  <a:pt x="3621721" y="2364896"/>
                </a:lnTo>
                <a:lnTo>
                  <a:pt x="3618686" y="2364896"/>
                </a:lnTo>
                <a:lnTo>
                  <a:pt x="3615650" y="2367932"/>
                </a:lnTo>
                <a:lnTo>
                  <a:pt x="3606543" y="2374004"/>
                </a:lnTo>
                <a:lnTo>
                  <a:pt x="3594400" y="2383111"/>
                </a:lnTo>
                <a:lnTo>
                  <a:pt x="3576184" y="2380075"/>
                </a:lnTo>
                <a:lnTo>
                  <a:pt x="3573149" y="2377039"/>
                </a:lnTo>
                <a:lnTo>
                  <a:pt x="3567077" y="2377039"/>
                </a:lnTo>
                <a:lnTo>
                  <a:pt x="3564042" y="2370968"/>
                </a:lnTo>
                <a:lnTo>
                  <a:pt x="3557970" y="2374004"/>
                </a:lnTo>
                <a:lnTo>
                  <a:pt x="3548863" y="2370968"/>
                </a:lnTo>
                <a:lnTo>
                  <a:pt x="3545826" y="2370968"/>
                </a:lnTo>
                <a:lnTo>
                  <a:pt x="3539755" y="2377039"/>
                </a:lnTo>
                <a:lnTo>
                  <a:pt x="3533683" y="2380075"/>
                </a:lnTo>
                <a:lnTo>
                  <a:pt x="3533683" y="2397531"/>
                </a:lnTo>
                <a:lnTo>
                  <a:pt x="3533683" y="2401325"/>
                </a:lnTo>
                <a:lnTo>
                  <a:pt x="3531154" y="2401325"/>
                </a:lnTo>
                <a:lnTo>
                  <a:pt x="3531154" y="2401326"/>
                </a:lnTo>
                <a:lnTo>
                  <a:pt x="3533683" y="2401326"/>
                </a:lnTo>
                <a:lnTo>
                  <a:pt x="3533683" y="2407398"/>
                </a:lnTo>
                <a:lnTo>
                  <a:pt x="3533683" y="2414987"/>
                </a:lnTo>
                <a:lnTo>
                  <a:pt x="3527612" y="2421060"/>
                </a:lnTo>
                <a:lnTo>
                  <a:pt x="3509397" y="2430167"/>
                </a:lnTo>
                <a:lnTo>
                  <a:pt x="3491182" y="2436239"/>
                </a:lnTo>
                <a:lnTo>
                  <a:pt x="3482074" y="2442311"/>
                </a:lnTo>
                <a:lnTo>
                  <a:pt x="3485111" y="2448382"/>
                </a:lnTo>
                <a:lnTo>
                  <a:pt x="3476003" y="2457490"/>
                </a:lnTo>
                <a:lnTo>
                  <a:pt x="3472967" y="2463561"/>
                </a:lnTo>
                <a:lnTo>
                  <a:pt x="3469932" y="2466597"/>
                </a:lnTo>
                <a:lnTo>
                  <a:pt x="3466895" y="2466597"/>
                </a:lnTo>
                <a:lnTo>
                  <a:pt x="3460823" y="2478740"/>
                </a:lnTo>
                <a:lnTo>
                  <a:pt x="3460823" y="2493919"/>
                </a:lnTo>
                <a:lnTo>
                  <a:pt x="3469932" y="2503027"/>
                </a:lnTo>
                <a:lnTo>
                  <a:pt x="3454753" y="2515170"/>
                </a:lnTo>
                <a:lnTo>
                  <a:pt x="3448681" y="2524277"/>
                </a:lnTo>
                <a:lnTo>
                  <a:pt x="3451716" y="2530349"/>
                </a:lnTo>
                <a:lnTo>
                  <a:pt x="3430466" y="2539456"/>
                </a:lnTo>
                <a:lnTo>
                  <a:pt x="3424394" y="2551600"/>
                </a:lnTo>
                <a:lnTo>
                  <a:pt x="3418323" y="2551600"/>
                </a:lnTo>
                <a:lnTo>
                  <a:pt x="3415287" y="2551600"/>
                </a:lnTo>
                <a:lnTo>
                  <a:pt x="3412251" y="2554635"/>
                </a:lnTo>
                <a:lnTo>
                  <a:pt x="3406179" y="2551600"/>
                </a:lnTo>
                <a:lnTo>
                  <a:pt x="3378857" y="2554635"/>
                </a:lnTo>
                <a:lnTo>
                  <a:pt x="3375821" y="2554635"/>
                </a:lnTo>
                <a:lnTo>
                  <a:pt x="3369750" y="2560707"/>
                </a:lnTo>
                <a:lnTo>
                  <a:pt x="3366713" y="2560707"/>
                </a:lnTo>
                <a:lnTo>
                  <a:pt x="3354571" y="2566779"/>
                </a:lnTo>
                <a:lnTo>
                  <a:pt x="3354571" y="2569815"/>
                </a:lnTo>
                <a:lnTo>
                  <a:pt x="3348499" y="2569815"/>
                </a:lnTo>
                <a:lnTo>
                  <a:pt x="3339392" y="2563743"/>
                </a:lnTo>
                <a:lnTo>
                  <a:pt x="3333320" y="2554635"/>
                </a:lnTo>
                <a:lnTo>
                  <a:pt x="3333320" y="2548564"/>
                </a:lnTo>
                <a:lnTo>
                  <a:pt x="3327248" y="2542493"/>
                </a:lnTo>
                <a:lnTo>
                  <a:pt x="3315105" y="2542493"/>
                </a:lnTo>
                <a:lnTo>
                  <a:pt x="3314386" y="2540335"/>
                </a:lnTo>
                <a:lnTo>
                  <a:pt x="3314385" y="2540335"/>
                </a:lnTo>
                <a:lnTo>
                  <a:pt x="3315104" y="2542493"/>
                </a:lnTo>
                <a:lnTo>
                  <a:pt x="3312068" y="2542493"/>
                </a:lnTo>
                <a:lnTo>
                  <a:pt x="3305997" y="2545528"/>
                </a:lnTo>
                <a:lnTo>
                  <a:pt x="3293853" y="2545528"/>
                </a:lnTo>
                <a:lnTo>
                  <a:pt x="3284746" y="2539456"/>
                </a:lnTo>
                <a:lnTo>
                  <a:pt x="3284746" y="2530349"/>
                </a:lnTo>
                <a:lnTo>
                  <a:pt x="3284746" y="2515170"/>
                </a:lnTo>
                <a:lnTo>
                  <a:pt x="3281710" y="2509098"/>
                </a:lnTo>
                <a:lnTo>
                  <a:pt x="3278674" y="2509098"/>
                </a:lnTo>
                <a:lnTo>
                  <a:pt x="3278674" y="2499991"/>
                </a:lnTo>
                <a:lnTo>
                  <a:pt x="3269567" y="2503027"/>
                </a:lnTo>
                <a:lnTo>
                  <a:pt x="3281710" y="2469633"/>
                </a:lnTo>
                <a:lnTo>
                  <a:pt x="3287782" y="2436239"/>
                </a:lnTo>
                <a:lnTo>
                  <a:pt x="3284746" y="2427132"/>
                </a:lnTo>
                <a:lnTo>
                  <a:pt x="3284746" y="2414988"/>
                </a:lnTo>
                <a:lnTo>
                  <a:pt x="3287783" y="2413470"/>
                </a:lnTo>
                <a:lnTo>
                  <a:pt x="3284747" y="2414987"/>
                </a:lnTo>
                <a:lnTo>
                  <a:pt x="3281711" y="2414987"/>
                </a:lnTo>
                <a:lnTo>
                  <a:pt x="3284747" y="2404363"/>
                </a:lnTo>
                <a:lnTo>
                  <a:pt x="3281711" y="2395255"/>
                </a:lnTo>
                <a:lnTo>
                  <a:pt x="3275640" y="2383112"/>
                </a:lnTo>
                <a:lnTo>
                  <a:pt x="3278675" y="2380076"/>
                </a:lnTo>
                <a:lnTo>
                  <a:pt x="3284747" y="2377040"/>
                </a:lnTo>
                <a:lnTo>
                  <a:pt x="3293854" y="2370969"/>
                </a:lnTo>
                <a:lnTo>
                  <a:pt x="3302962" y="2364897"/>
                </a:lnTo>
                <a:lnTo>
                  <a:pt x="3312069" y="2367933"/>
                </a:lnTo>
                <a:lnTo>
                  <a:pt x="3318141" y="2370969"/>
                </a:lnTo>
                <a:lnTo>
                  <a:pt x="3336355" y="2370969"/>
                </a:lnTo>
                <a:lnTo>
                  <a:pt x="3354571" y="2370969"/>
                </a:lnTo>
                <a:lnTo>
                  <a:pt x="3372785" y="2377040"/>
                </a:lnTo>
                <a:lnTo>
                  <a:pt x="3387964" y="2370969"/>
                </a:lnTo>
                <a:lnTo>
                  <a:pt x="3394036" y="2374005"/>
                </a:lnTo>
                <a:lnTo>
                  <a:pt x="3400108" y="2377040"/>
                </a:lnTo>
                <a:lnTo>
                  <a:pt x="3415287" y="2377040"/>
                </a:lnTo>
                <a:lnTo>
                  <a:pt x="3430466" y="2377040"/>
                </a:lnTo>
                <a:lnTo>
                  <a:pt x="3432719" y="2378328"/>
                </a:lnTo>
                <a:lnTo>
                  <a:pt x="3432720" y="2378327"/>
                </a:lnTo>
                <a:lnTo>
                  <a:pt x="3430466" y="2377039"/>
                </a:lnTo>
                <a:lnTo>
                  <a:pt x="3439574" y="2358824"/>
                </a:lnTo>
                <a:lnTo>
                  <a:pt x="3442609" y="2325431"/>
                </a:lnTo>
                <a:lnTo>
                  <a:pt x="3439574" y="2310252"/>
                </a:lnTo>
                <a:lnTo>
                  <a:pt x="3445644" y="2307215"/>
                </a:lnTo>
                <a:lnTo>
                  <a:pt x="3442609" y="2295073"/>
                </a:lnTo>
                <a:lnTo>
                  <a:pt x="3433502" y="2289001"/>
                </a:lnTo>
                <a:lnTo>
                  <a:pt x="3424394" y="2279894"/>
                </a:lnTo>
                <a:lnTo>
                  <a:pt x="3424394" y="2270786"/>
                </a:lnTo>
                <a:lnTo>
                  <a:pt x="3430466" y="2264714"/>
                </a:lnTo>
                <a:lnTo>
                  <a:pt x="3424394" y="2261678"/>
                </a:lnTo>
                <a:lnTo>
                  <a:pt x="3418323" y="2261678"/>
                </a:lnTo>
                <a:lnTo>
                  <a:pt x="3409215" y="2255607"/>
                </a:lnTo>
                <a:lnTo>
                  <a:pt x="3391000" y="2246500"/>
                </a:lnTo>
                <a:lnTo>
                  <a:pt x="3369750" y="2237392"/>
                </a:lnTo>
                <a:lnTo>
                  <a:pt x="3369750" y="2228284"/>
                </a:lnTo>
                <a:lnTo>
                  <a:pt x="3366713" y="2225249"/>
                </a:lnTo>
                <a:lnTo>
                  <a:pt x="3372785" y="2222213"/>
                </a:lnTo>
                <a:lnTo>
                  <a:pt x="3381893" y="2219177"/>
                </a:lnTo>
                <a:lnTo>
                  <a:pt x="3391000" y="2219177"/>
                </a:lnTo>
                <a:lnTo>
                  <a:pt x="3394036" y="2216142"/>
                </a:lnTo>
                <a:lnTo>
                  <a:pt x="3400108" y="2213105"/>
                </a:lnTo>
                <a:lnTo>
                  <a:pt x="3403143" y="2216142"/>
                </a:lnTo>
                <a:lnTo>
                  <a:pt x="3409215" y="2222213"/>
                </a:lnTo>
                <a:lnTo>
                  <a:pt x="3415287" y="2219177"/>
                </a:lnTo>
                <a:lnTo>
                  <a:pt x="3418323" y="2219177"/>
                </a:lnTo>
                <a:lnTo>
                  <a:pt x="3439574" y="2219177"/>
                </a:lnTo>
                <a:lnTo>
                  <a:pt x="3433502" y="2216142"/>
                </a:lnTo>
                <a:lnTo>
                  <a:pt x="3433502" y="2210070"/>
                </a:lnTo>
                <a:lnTo>
                  <a:pt x="3433502" y="2200963"/>
                </a:lnTo>
                <a:lnTo>
                  <a:pt x="3430466" y="2194891"/>
                </a:lnTo>
                <a:lnTo>
                  <a:pt x="3427430" y="2188819"/>
                </a:lnTo>
                <a:lnTo>
                  <a:pt x="3433502" y="2188819"/>
                </a:lnTo>
                <a:lnTo>
                  <a:pt x="3439574" y="2185784"/>
                </a:lnTo>
                <a:lnTo>
                  <a:pt x="3439574" y="2191855"/>
                </a:lnTo>
                <a:lnTo>
                  <a:pt x="3439574" y="2194891"/>
                </a:lnTo>
                <a:lnTo>
                  <a:pt x="3460823" y="2200963"/>
                </a:lnTo>
                <a:lnTo>
                  <a:pt x="3476003" y="2194891"/>
                </a:lnTo>
                <a:lnTo>
                  <a:pt x="3469932" y="2194891"/>
                </a:lnTo>
                <a:lnTo>
                  <a:pt x="3472967" y="2185784"/>
                </a:lnTo>
                <a:lnTo>
                  <a:pt x="3482074" y="2179712"/>
                </a:lnTo>
                <a:lnTo>
                  <a:pt x="3491182" y="2176676"/>
                </a:lnTo>
                <a:lnTo>
                  <a:pt x="3500289" y="2167568"/>
                </a:lnTo>
                <a:lnTo>
                  <a:pt x="3500289" y="2152389"/>
                </a:lnTo>
                <a:lnTo>
                  <a:pt x="3506361" y="2146318"/>
                </a:lnTo>
                <a:lnTo>
                  <a:pt x="3518504" y="2143282"/>
                </a:lnTo>
                <a:lnTo>
                  <a:pt x="3533683" y="2131140"/>
                </a:lnTo>
                <a:lnTo>
                  <a:pt x="3536719" y="2131140"/>
                </a:lnTo>
                <a:lnTo>
                  <a:pt x="3545826" y="2125068"/>
                </a:lnTo>
                <a:lnTo>
                  <a:pt x="3554933" y="2131140"/>
                </a:lnTo>
                <a:lnTo>
                  <a:pt x="3551898" y="2112925"/>
                </a:lnTo>
                <a:lnTo>
                  <a:pt x="3557970" y="2100782"/>
                </a:lnTo>
                <a:lnTo>
                  <a:pt x="3564042" y="2088638"/>
                </a:lnTo>
                <a:lnTo>
                  <a:pt x="3567077" y="2079531"/>
                </a:lnTo>
                <a:lnTo>
                  <a:pt x="3579221" y="2073459"/>
                </a:lnTo>
                <a:lnTo>
                  <a:pt x="3588328" y="2064352"/>
                </a:lnTo>
                <a:lnTo>
                  <a:pt x="3606543" y="2061316"/>
                </a:lnTo>
                <a:lnTo>
                  <a:pt x="3612613" y="2064352"/>
                </a:lnTo>
                <a:lnTo>
                  <a:pt x="3618685" y="2055245"/>
                </a:lnTo>
                <a:lnTo>
                  <a:pt x="3630828" y="2052209"/>
                </a:lnTo>
                <a:lnTo>
                  <a:pt x="3639935" y="2058280"/>
                </a:lnTo>
                <a:lnTo>
                  <a:pt x="3646007" y="2046137"/>
                </a:lnTo>
                <a:lnTo>
                  <a:pt x="3652079" y="2040066"/>
                </a:lnTo>
                <a:lnTo>
                  <a:pt x="3652079" y="2030958"/>
                </a:lnTo>
                <a:lnTo>
                  <a:pt x="3649043" y="2018815"/>
                </a:lnTo>
                <a:lnTo>
                  <a:pt x="3646007" y="2009707"/>
                </a:lnTo>
                <a:lnTo>
                  <a:pt x="3650250" y="2011404"/>
                </a:lnTo>
                <a:lnTo>
                  <a:pt x="3650250" y="2011403"/>
                </a:lnTo>
                <a:lnTo>
                  <a:pt x="3646008" y="2009707"/>
                </a:lnTo>
                <a:lnTo>
                  <a:pt x="3646008" y="2003636"/>
                </a:lnTo>
                <a:lnTo>
                  <a:pt x="3642973" y="1991493"/>
                </a:lnTo>
                <a:lnTo>
                  <a:pt x="3636901" y="1985421"/>
                </a:lnTo>
                <a:lnTo>
                  <a:pt x="3633865" y="1967206"/>
                </a:lnTo>
                <a:lnTo>
                  <a:pt x="3633865" y="1948991"/>
                </a:lnTo>
                <a:lnTo>
                  <a:pt x="3636901" y="1939884"/>
                </a:lnTo>
                <a:lnTo>
                  <a:pt x="3642973" y="1930776"/>
                </a:lnTo>
                <a:lnTo>
                  <a:pt x="3652080" y="1930776"/>
                </a:lnTo>
                <a:lnTo>
                  <a:pt x="3661187" y="1927740"/>
                </a:lnTo>
                <a:lnTo>
                  <a:pt x="3670294" y="1918633"/>
                </a:lnTo>
                <a:lnTo>
                  <a:pt x="3679402" y="1909526"/>
                </a:lnTo>
                <a:lnTo>
                  <a:pt x="3682438" y="1912562"/>
                </a:lnTo>
                <a:lnTo>
                  <a:pt x="3682438" y="1921669"/>
                </a:lnTo>
                <a:lnTo>
                  <a:pt x="3676366" y="1933812"/>
                </a:lnTo>
                <a:lnTo>
                  <a:pt x="3679402" y="1948991"/>
                </a:lnTo>
                <a:lnTo>
                  <a:pt x="3682438" y="1952027"/>
                </a:lnTo>
                <a:lnTo>
                  <a:pt x="3688510" y="1952027"/>
                </a:lnTo>
                <a:lnTo>
                  <a:pt x="3691545" y="1961135"/>
                </a:lnTo>
                <a:lnTo>
                  <a:pt x="3682438" y="1970242"/>
                </a:lnTo>
                <a:lnTo>
                  <a:pt x="3667259" y="1988456"/>
                </a:lnTo>
                <a:lnTo>
                  <a:pt x="3661187" y="2003636"/>
                </a:lnTo>
                <a:lnTo>
                  <a:pt x="3664223" y="2009707"/>
                </a:lnTo>
                <a:lnTo>
                  <a:pt x="3661187" y="2015779"/>
                </a:lnTo>
                <a:lnTo>
                  <a:pt x="3660555" y="2015526"/>
                </a:lnTo>
                <a:lnTo>
                  <a:pt x="3659923" y="2015273"/>
                </a:lnTo>
                <a:lnTo>
                  <a:pt x="3659922" y="2015273"/>
                </a:lnTo>
                <a:lnTo>
                  <a:pt x="3660555" y="2015526"/>
                </a:lnTo>
                <a:lnTo>
                  <a:pt x="3661186" y="2015779"/>
                </a:lnTo>
                <a:lnTo>
                  <a:pt x="3670293" y="2018815"/>
                </a:lnTo>
                <a:lnTo>
                  <a:pt x="3682437" y="2027922"/>
                </a:lnTo>
                <a:lnTo>
                  <a:pt x="3694580" y="2030958"/>
                </a:lnTo>
                <a:lnTo>
                  <a:pt x="3691544" y="2046137"/>
                </a:lnTo>
                <a:lnTo>
                  <a:pt x="3699134" y="2043101"/>
                </a:lnTo>
                <a:lnTo>
                  <a:pt x="3705206" y="2043101"/>
                </a:lnTo>
                <a:lnTo>
                  <a:pt x="3720385" y="2030958"/>
                </a:lnTo>
                <a:lnTo>
                  <a:pt x="3732528" y="2027922"/>
                </a:lnTo>
                <a:lnTo>
                  <a:pt x="3735564" y="2030958"/>
                </a:lnTo>
                <a:lnTo>
                  <a:pt x="3738600" y="2033994"/>
                </a:lnTo>
                <a:lnTo>
                  <a:pt x="3747707" y="2037030"/>
                </a:lnTo>
                <a:lnTo>
                  <a:pt x="3750743" y="2049173"/>
                </a:lnTo>
                <a:lnTo>
                  <a:pt x="3757372" y="2053592"/>
                </a:lnTo>
                <a:cubicBezTo>
                  <a:pt x="3757783" y="2052654"/>
                  <a:pt x="3758549" y="2052332"/>
                  <a:pt x="3759852" y="2052209"/>
                </a:cubicBezTo>
                <a:lnTo>
                  <a:pt x="3759852" y="2049173"/>
                </a:lnTo>
                <a:lnTo>
                  <a:pt x="3759852" y="2046137"/>
                </a:lnTo>
                <a:lnTo>
                  <a:pt x="3765924" y="2043101"/>
                </a:lnTo>
                <a:lnTo>
                  <a:pt x="3799317" y="2030958"/>
                </a:lnTo>
                <a:lnTo>
                  <a:pt x="3808424" y="2021851"/>
                </a:lnTo>
                <a:lnTo>
                  <a:pt x="3820568" y="2015779"/>
                </a:lnTo>
                <a:lnTo>
                  <a:pt x="3844854" y="2015779"/>
                </a:lnTo>
                <a:lnTo>
                  <a:pt x="3847890" y="2015779"/>
                </a:lnTo>
                <a:lnTo>
                  <a:pt x="3847890" y="2027922"/>
                </a:lnTo>
                <a:lnTo>
                  <a:pt x="3856997" y="2030958"/>
                </a:lnTo>
                <a:lnTo>
                  <a:pt x="3869141" y="2027922"/>
                </a:lnTo>
                <a:lnTo>
                  <a:pt x="3878248" y="2015779"/>
                </a:lnTo>
                <a:lnTo>
                  <a:pt x="3878248" y="2009707"/>
                </a:lnTo>
                <a:lnTo>
                  <a:pt x="3881283" y="2009707"/>
                </a:lnTo>
                <a:lnTo>
                  <a:pt x="3887355" y="2009707"/>
                </a:lnTo>
                <a:lnTo>
                  <a:pt x="3896463" y="1997564"/>
                </a:lnTo>
                <a:lnTo>
                  <a:pt x="3899499" y="1994528"/>
                </a:lnTo>
                <a:lnTo>
                  <a:pt x="3899499" y="1988456"/>
                </a:lnTo>
                <a:lnTo>
                  <a:pt x="3899499" y="1979349"/>
                </a:lnTo>
                <a:lnTo>
                  <a:pt x="3899499" y="1970242"/>
                </a:lnTo>
                <a:lnTo>
                  <a:pt x="3899499" y="1961135"/>
                </a:lnTo>
                <a:lnTo>
                  <a:pt x="3899499" y="1942919"/>
                </a:lnTo>
                <a:lnTo>
                  <a:pt x="3908606" y="1924705"/>
                </a:lnTo>
                <a:lnTo>
                  <a:pt x="3914678" y="1912562"/>
                </a:lnTo>
                <a:lnTo>
                  <a:pt x="3926821" y="1906490"/>
                </a:lnTo>
                <a:lnTo>
                  <a:pt x="3935928" y="1915597"/>
                </a:lnTo>
                <a:lnTo>
                  <a:pt x="3942000" y="1924705"/>
                </a:lnTo>
                <a:lnTo>
                  <a:pt x="3945036" y="1930776"/>
                </a:lnTo>
                <a:lnTo>
                  <a:pt x="3960215" y="1930776"/>
                </a:lnTo>
                <a:lnTo>
                  <a:pt x="3969323" y="1924705"/>
                </a:lnTo>
                <a:lnTo>
                  <a:pt x="3966286" y="1906490"/>
                </a:lnTo>
                <a:lnTo>
                  <a:pt x="3966286" y="1900418"/>
                </a:lnTo>
                <a:lnTo>
                  <a:pt x="3972358" y="1882204"/>
                </a:lnTo>
                <a:lnTo>
                  <a:pt x="3966286" y="1882204"/>
                </a:lnTo>
                <a:lnTo>
                  <a:pt x="3966286" y="1885239"/>
                </a:lnTo>
                <a:lnTo>
                  <a:pt x="3957179" y="1882204"/>
                </a:lnTo>
                <a:lnTo>
                  <a:pt x="3951107" y="1873096"/>
                </a:lnTo>
                <a:lnTo>
                  <a:pt x="3948072" y="1863988"/>
                </a:lnTo>
                <a:lnTo>
                  <a:pt x="3951107" y="1845774"/>
                </a:lnTo>
                <a:lnTo>
                  <a:pt x="3966286" y="1839702"/>
                </a:lnTo>
                <a:lnTo>
                  <a:pt x="3990573" y="1836666"/>
                </a:lnTo>
                <a:lnTo>
                  <a:pt x="4002716" y="1830595"/>
                </a:lnTo>
                <a:lnTo>
                  <a:pt x="4014860" y="1833630"/>
                </a:lnTo>
                <a:lnTo>
                  <a:pt x="4020931" y="1836666"/>
                </a:lnTo>
                <a:lnTo>
                  <a:pt x="4039146" y="1839702"/>
                </a:lnTo>
                <a:lnTo>
                  <a:pt x="4042182" y="1836666"/>
                </a:lnTo>
                <a:lnTo>
                  <a:pt x="4045217" y="1830595"/>
                </a:lnTo>
                <a:lnTo>
                  <a:pt x="4057361" y="1824523"/>
                </a:lnTo>
                <a:lnTo>
                  <a:pt x="4063433" y="1821487"/>
                </a:lnTo>
                <a:lnTo>
                  <a:pt x="4066468" y="1815416"/>
                </a:lnTo>
                <a:lnTo>
                  <a:pt x="4063433" y="1806308"/>
                </a:lnTo>
                <a:lnTo>
                  <a:pt x="4051289" y="1794165"/>
                </a:lnTo>
                <a:lnTo>
                  <a:pt x="4039146" y="1794165"/>
                </a:lnTo>
                <a:lnTo>
                  <a:pt x="4027003" y="1797201"/>
                </a:lnTo>
                <a:lnTo>
                  <a:pt x="4014860" y="1797201"/>
                </a:lnTo>
                <a:lnTo>
                  <a:pt x="3987537" y="1806308"/>
                </a:lnTo>
                <a:lnTo>
                  <a:pt x="3975393" y="1812380"/>
                </a:lnTo>
                <a:lnTo>
                  <a:pt x="3966286" y="1815416"/>
                </a:lnTo>
                <a:lnTo>
                  <a:pt x="3966286" y="1812380"/>
                </a:lnTo>
                <a:lnTo>
                  <a:pt x="3963251" y="1815416"/>
                </a:lnTo>
                <a:lnTo>
                  <a:pt x="3942000" y="1818451"/>
                </a:lnTo>
                <a:lnTo>
                  <a:pt x="3935928" y="1809344"/>
                </a:lnTo>
                <a:lnTo>
                  <a:pt x="3929857" y="1800236"/>
                </a:lnTo>
                <a:lnTo>
                  <a:pt x="3920749" y="1797201"/>
                </a:lnTo>
                <a:lnTo>
                  <a:pt x="3908606" y="1794165"/>
                </a:lnTo>
                <a:lnTo>
                  <a:pt x="3905570" y="1785057"/>
                </a:lnTo>
                <a:lnTo>
                  <a:pt x="3905570" y="1769878"/>
                </a:lnTo>
                <a:lnTo>
                  <a:pt x="3908606" y="1763806"/>
                </a:lnTo>
                <a:lnTo>
                  <a:pt x="3911642" y="1748627"/>
                </a:lnTo>
                <a:lnTo>
                  <a:pt x="3902534" y="1724341"/>
                </a:lnTo>
                <a:lnTo>
                  <a:pt x="3902534" y="1693983"/>
                </a:lnTo>
                <a:lnTo>
                  <a:pt x="3914678" y="1678804"/>
                </a:lnTo>
                <a:lnTo>
                  <a:pt x="3917713" y="1678804"/>
                </a:lnTo>
                <a:lnTo>
                  <a:pt x="3920749" y="1675768"/>
                </a:lnTo>
                <a:lnTo>
                  <a:pt x="3926821" y="1666661"/>
                </a:lnTo>
                <a:lnTo>
                  <a:pt x="3926821" y="1660589"/>
                </a:lnTo>
                <a:lnTo>
                  <a:pt x="3932893" y="1654517"/>
                </a:lnTo>
                <a:lnTo>
                  <a:pt x="3948072" y="1639338"/>
                </a:lnTo>
                <a:lnTo>
                  <a:pt x="3966286" y="1618088"/>
                </a:lnTo>
                <a:lnTo>
                  <a:pt x="3969323" y="1612016"/>
                </a:lnTo>
                <a:lnTo>
                  <a:pt x="3969323" y="1605945"/>
                </a:lnTo>
                <a:lnTo>
                  <a:pt x="3981465" y="1596837"/>
                </a:lnTo>
                <a:lnTo>
                  <a:pt x="3987537" y="1599873"/>
                </a:lnTo>
                <a:lnTo>
                  <a:pt x="3987537" y="1572551"/>
                </a:lnTo>
                <a:lnTo>
                  <a:pt x="3978430" y="1560407"/>
                </a:lnTo>
                <a:lnTo>
                  <a:pt x="3975393" y="1560407"/>
                </a:lnTo>
                <a:lnTo>
                  <a:pt x="3972358" y="1554336"/>
                </a:lnTo>
                <a:lnTo>
                  <a:pt x="3969323" y="1554336"/>
                </a:lnTo>
                <a:lnTo>
                  <a:pt x="3966781" y="1553065"/>
                </a:lnTo>
                <a:lnTo>
                  <a:pt x="3963598" y="1553861"/>
                </a:lnTo>
                <a:cubicBezTo>
                  <a:pt x="3961678" y="1553220"/>
                  <a:pt x="3960171" y="1552725"/>
                  <a:pt x="3958993" y="1552365"/>
                </a:cubicBezTo>
                <a:lnTo>
                  <a:pt x="3951106" y="1554336"/>
                </a:lnTo>
                <a:lnTo>
                  <a:pt x="3935927" y="1551300"/>
                </a:lnTo>
                <a:lnTo>
                  <a:pt x="3926820" y="1551300"/>
                </a:lnTo>
                <a:lnTo>
                  <a:pt x="3920748" y="1563444"/>
                </a:lnTo>
                <a:lnTo>
                  <a:pt x="3917712" y="1572551"/>
                </a:lnTo>
                <a:lnTo>
                  <a:pt x="3908605" y="1593801"/>
                </a:lnTo>
                <a:lnTo>
                  <a:pt x="3902533" y="1599873"/>
                </a:lnTo>
                <a:lnTo>
                  <a:pt x="3905570" y="1612016"/>
                </a:lnTo>
                <a:lnTo>
                  <a:pt x="3905570" y="1615052"/>
                </a:lnTo>
                <a:lnTo>
                  <a:pt x="3905570" y="1624159"/>
                </a:lnTo>
                <a:lnTo>
                  <a:pt x="3902533" y="1630231"/>
                </a:lnTo>
                <a:lnTo>
                  <a:pt x="3890391" y="1648447"/>
                </a:lnTo>
                <a:lnTo>
                  <a:pt x="3878247" y="1657554"/>
                </a:lnTo>
                <a:lnTo>
                  <a:pt x="3863068" y="1666661"/>
                </a:lnTo>
                <a:lnTo>
                  <a:pt x="3860033" y="1672733"/>
                </a:lnTo>
                <a:lnTo>
                  <a:pt x="3844853" y="1687912"/>
                </a:lnTo>
                <a:lnTo>
                  <a:pt x="3847889" y="1690947"/>
                </a:lnTo>
                <a:lnTo>
                  <a:pt x="3838782" y="1700055"/>
                </a:lnTo>
                <a:lnTo>
                  <a:pt x="3832710" y="1709162"/>
                </a:lnTo>
                <a:lnTo>
                  <a:pt x="3829674" y="1709162"/>
                </a:lnTo>
                <a:lnTo>
                  <a:pt x="3826638" y="1709162"/>
                </a:lnTo>
                <a:lnTo>
                  <a:pt x="3823601" y="1727377"/>
                </a:lnTo>
                <a:lnTo>
                  <a:pt x="3823601" y="1742557"/>
                </a:lnTo>
                <a:lnTo>
                  <a:pt x="3817530" y="1745592"/>
                </a:lnTo>
                <a:lnTo>
                  <a:pt x="3817530" y="1754699"/>
                </a:lnTo>
                <a:lnTo>
                  <a:pt x="3820566" y="1760771"/>
                </a:lnTo>
                <a:lnTo>
                  <a:pt x="3820566" y="1763806"/>
                </a:lnTo>
                <a:lnTo>
                  <a:pt x="3820566" y="1775950"/>
                </a:lnTo>
                <a:lnTo>
                  <a:pt x="3826638" y="1788094"/>
                </a:lnTo>
                <a:lnTo>
                  <a:pt x="3835746" y="1791129"/>
                </a:lnTo>
                <a:lnTo>
                  <a:pt x="3847889" y="1806308"/>
                </a:lnTo>
                <a:lnTo>
                  <a:pt x="3853961" y="1809344"/>
                </a:lnTo>
                <a:lnTo>
                  <a:pt x="3853961" y="1818451"/>
                </a:lnTo>
                <a:lnTo>
                  <a:pt x="3850925" y="1830595"/>
                </a:lnTo>
                <a:lnTo>
                  <a:pt x="3835746" y="1857917"/>
                </a:lnTo>
                <a:lnTo>
                  <a:pt x="3820566" y="1867025"/>
                </a:lnTo>
                <a:lnTo>
                  <a:pt x="3814494" y="1870060"/>
                </a:lnTo>
                <a:lnTo>
                  <a:pt x="3811458" y="1882204"/>
                </a:lnTo>
                <a:lnTo>
                  <a:pt x="3808422" y="1897383"/>
                </a:lnTo>
                <a:lnTo>
                  <a:pt x="3811458" y="1906490"/>
                </a:lnTo>
                <a:lnTo>
                  <a:pt x="3811458" y="1909526"/>
                </a:lnTo>
                <a:lnTo>
                  <a:pt x="3808422" y="1918633"/>
                </a:lnTo>
                <a:lnTo>
                  <a:pt x="3802351" y="1942919"/>
                </a:lnTo>
                <a:lnTo>
                  <a:pt x="3796280" y="1964170"/>
                </a:lnTo>
                <a:lnTo>
                  <a:pt x="3787171" y="1964170"/>
                </a:lnTo>
                <a:lnTo>
                  <a:pt x="3771992" y="1964170"/>
                </a:lnTo>
                <a:lnTo>
                  <a:pt x="3759850" y="1973277"/>
                </a:lnTo>
                <a:lnTo>
                  <a:pt x="3756813" y="1979349"/>
                </a:lnTo>
                <a:lnTo>
                  <a:pt x="3759850" y="1985421"/>
                </a:lnTo>
                <a:lnTo>
                  <a:pt x="3759850" y="1988456"/>
                </a:lnTo>
                <a:lnTo>
                  <a:pt x="3756813" y="1994528"/>
                </a:lnTo>
                <a:lnTo>
                  <a:pt x="3750742" y="1994528"/>
                </a:lnTo>
                <a:lnTo>
                  <a:pt x="3744671" y="1994528"/>
                </a:lnTo>
                <a:lnTo>
                  <a:pt x="3732527" y="1994528"/>
                </a:lnTo>
                <a:lnTo>
                  <a:pt x="3732527" y="1985421"/>
                </a:lnTo>
                <a:lnTo>
                  <a:pt x="3729491" y="1976314"/>
                </a:lnTo>
                <a:lnTo>
                  <a:pt x="3726456" y="1961135"/>
                </a:lnTo>
                <a:lnTo>
                  <a:pt x="3729491" y="1948991"/>
                </a:lnTo>
                <a:lnTo>
                  <a:pt x="3726456" y="1942919"/>
                </a:lnTo>
                <a:lnTo>
                  <a:pt x="3717348" y="1933812"/>
                </a:lnTo>
                <a:lnTo>
                  <a:pt x="3714312" y="1921669"/>
                </a:lnTo>
                <a:lnTo>
                  <a:pt x="3711277" y="1909526"/>
                </a:lnTo>
                <a:lnTo>
                  <a:pt x="3708241" y="1894346"/>
                </a:lnTo>
                <a:lnTo>
                  <a:pt x="3702169" y="1882204"/>
                </a:lnTo>
                <a:lnTo>
                  <a:pt x="3696098" y="1876132"/>
                </a:lnTo>
                <a:lnTo>
                  <a:pt x="3694580" y="1857917"/>
                </a:lnTo>
                <a:lnTo>
                  <a:pt x="3696098" y="1851846"/>
                </a:lnTo>
                <a:lnTo>
                  <a:pt x="3705205" y="1860953"/>
                </a:lnTo>
                <a:lnTo>
                  <a:pt x="3705205" y="1860951"/>
                </a:lnTo>
                <a:lnTo>
                  <a:pt x="3696100" y="1851846"/>
                </a:lnTo>
                <a:lnTo>
                  <a:pt x="3696098" y="1851846"/>
                </a:lnTo>
                <a:lnTo>
                  <a:pt x="3691545" y="1851846"/>
                </a:lnTo>
                <a:lnTo>
                  <a:pt x="3682438" y="1848809"/>
                </a:lnTo>
                <a:lnTo>
                  <a:pt x="3673331" y="1857917"/>
                </a:lnTo>
                <a:lnTo>
                  <a:pt x="3649044" y="1879167"/>
                </a:lnTo>
                <a:lnTo>
                  <a:pt x="3636901" y="1891311"/>
                </a:lnTo>
                <a:lnTo>
                  <a:pt x="3624757" y="1894346"/>
                </a:lnTo>
                <a:lnTo>
                  <a:pt x="3600471" y="1888275"/>
                </a:lnTo>
                <a:lnTo>
                  <a:pt x="3588328" y="1879167"/>
                </a:lnTo>
                <a:lnTo>
                  <a:pt x="3579221" y="1867025"/>
                </a:lnTo>
                <a:lnTo>
                  <a:pt x="3582256" y="1857917"/>
                </a:lnTo>
                <a:lnTo>
                  <a:pt x="3588328" y="1854881"/>
                </a:lnTo>
                <a:lnTo>
                  <a:pt x="3594400" y="1842738"/>
                </a:lnTo>
                <a:lnTo>
                  <a:pt x="3585292" y="1842738"/>
                </a:lnTo>
                <a:lnTo>
                  <a:pt x="3579221" y="1845774"/>
                </a:lnTo>
                <a:lnTo>
                  <a:pt x="3576184" y="1842738"/>
                </a:lnTo>
                <a:lnTo>
                  <a:pt x="3576184" y="1830595"/>
                </a:lnTo>
                <a:lnTo>
                  <a:pt x="3579221" y="1827559"/>
                </a:lnTo>
                <a:lnTo>
                  <a:pt x="3585292" y="1818451"/>
                </a:lnTo>
                <a:lnTo>
                  <a:pt x="3585292" y="1815416"/>
                </a:lnTo>
                <a:lnTo>
                  <a:pt x="3582256" y="1809344"/>
                </a:lnTo>
                <a:lnTo>
                  <a:pt x="3576184" y="1809344"/>
                </a:lnTo>
                <a:lnTo>
                  <a:pt x="3573149" y="1800236"/>
                </a:lnTo>
                <a:lnTo>
                  <a:pt x="3576184" y="1794165"/>
                </a:lnTo>
                <a:lnTo>
                  <a:pt x="3573149" y="1782022"/>
                </a:lnTo>
                <a:lnTo>
                  <a:pt x="3570113" y="1772915"/>
                </a:lnTo>
                <a:lnTo>
                  <a:pt x="3570113" y="1766843"/>
                </a:lnTo>
                <a:lnTo>
                  <a:pt x="3573149" y="1760771"/>
                </a:lnTo>
                <a:lnTo>
                  <a:pt x="3573149" y="1754699"/>
                </a:lnTo>
                <a:lnTo>
                  <a:pt x="3567077" y="1745592"/>
                </a:lnTo>
                <a:lnTo>
                  <a:pt x="3573149" y="1736485"/>
                </a:lnTo>
                <a:lnTo>
                  <a:pt x="3573149" y="1721306"/>
                </a:lnTo>
                <a:lnTo>
                  <a:pt x="3582256" y="1721306"/>
                </a:lnTo>
                <a:lnTo>
                  <a:pt x="3591363" y="1718270"/>
                </a:lnTo>
                <a:lnTo>
                  <a:pt x="3594400" y="1706126"/>
                </a:lnTo>
                <a:lnTo>
                  <a:pt x="3597435" y="1703091"/>
                </a:lnTo>
                <a:lnTo>
                  <a:pt x="3609579" y="1703091"/>
                </a:lnTo>
                <a:lnTo>
                  <a:pt x="3609579" y="1697019"/>
                </a:lnTo>
                <a:lnTo>
                  <a:pt x="3609579" y="1687912"/>
                </a:lnTo>
                <a:lnTo>
                  <a:pt x="3618686" y="1684876"/>
                </a:lnTo>
                <a:lnTo>
                  <a:pt x="3630829" y="1687912"/>
                </a:lnTo>
                <a:lnTo>
                  <a:pt x="3633865" y="1681840"/>
                </a:lnTo>
                <a:lnTo>
                  <a:pt x="3642973" y="1669696"/>
                </a:lnTo>
                <a:lnTo>
                  <a:pt x="3658152" y="1666661"/>
                </a:lnTo>
                <a:lnTo>
                  <a:pt x="3658152" y="1660589"/>
                </a:lnTo>
                <a:lnTo>
                  <a:pt x="3664223" y="1657554"/>
                </a:lnTo>
                <a:lnTo>
                  <a:pt x="3664223" y="1648447"/>
                </a:lnTo>
                <a:lnTo>
                  <a:pt x="3673331" y="1636303"/>
                </a:lnTo>
                <a:lnTo>
                  <a:pt x="3679402" y="1630231"/>
                </a:lnTo>
                <a:lnTo>
                  <a:pt x="3682438" y="1621124"/>
                </a:lnTo>
                <a:lnTo>
                  <a:pt x="3691545" y="1621124"/>
                </a:lnTo>
                <a:lnTo>
                  <a:pt x="3691545" y="1615052"/>
                </a:lnTo>
                <a:lnTo>
                  <a:pt x="3694581" y="1615052"/>
                </a:lnTo>
                <a:lnTo>
                  <a:pt x="3699135" y="1618088"/>
                </a:lnTo>
                <a:lnTo>
                  <a:pt x="3705207" y="1615052"/>
                </a:lnTo>
                <a:lnTo>
                  <a:pt x="3699135" y="1608980"/>
                </a:lnTo>
                <a:lnTo>
                  <a:pt x="3696100" y="1602909"/>
                </a:lnTo>
                <a:lnTo>
                  <a:pt x="3702171" y="1593801"/>
                </a:lnTo>
                <a:lnTo>
                  <a:pt x="3711279" y="1587730"/>
                </a:lnTo>
                <a:lnTo>
                  <a:pt x="3720386" y="1587730"/>
                </a:lnTo>
                <a:lnTo>
                  <a:pt x="3723422" y="1575586"/>
                </a:lnTo>
                <a:lnTo>
                  <a:pt x="3720386" y="1563444"/>
                </a:lnTo>
                <a:lnTo>
                  <a:pt x="3720386" y="1554336"/>
                </a:lnTo>
                <a:lnTo>
                  <a:pt x="3726457" y="1539156"/>
                </a:lnTo>
                <a:lnTo>
                  <a:pt x="3729493" y="1536121"/>
                </a:lnTo>
                <a:lnTo>
                  <a:pt x="3732529" y="1523977"/>
                </a:lnTo>
                <a:lnTo>
                  <a:pt x="3735565" y="1514870"/>
                </a:lnTo>
                <a:lnTo>
                  <a:pt x="3747708" y="1493620"/>
                </a:lnTo>
                <a:lnTo>
                  <a:pt x="3756815" y="1493620"/>
                </a:lnTo>
                <a:lnTo>
                  <a:pt x="3762887" y="1481476"/>
                </a:lnTo>
                <a:lnTo>
                  <a:pt x="3771994" y="1478441"/>
                </a:lnTo>
                <a:lnTo>
                  <a:pt x="3768959" y="1463262"/>
                </a:lnTo>
                <a:lnTo>
                  <a:pt x="3778066" y="1451118"/>
                </a:lnTo>
                <a:lnTo>
                  <a:pt x="3768959" y="1448083"/>
                </a:lnTo>
                <a:lnTo>
                  <a:pt x="3775031" y="1442011"/>
                </a:lnTo>
                <a:lnTo>
                  <a:pt x="3781103" y="1442011"/>
                </a:lnTo>
                <a:lnTo>
                  <a:pt x="3790210" y="1442011"/>
                </a:lnTo>
                <a:lnTo>
                  <a:pt x="3793245" y="1435939"/>
                </a:lnTo>
                <a:lnTo>
                  <a:pt x="3799317" y="1438976"/>
                </a:lnTo>
                <a:lnTo>
                  <a:pt x="3811460" y="1432904"/>
                </a:lnTo>
                <a:lnTo>
                  <a:pt x="3805389" y="1423796"/>
                </a:lnTo>
                <a:lnTo>
                  <a:pt x="3805389" y="1411653"/>
                </a:lnTo>
                <a:lnTo>
                  <a:pt x="3808424" y="1402545"/>
                </a:lnTo>
                <a:lnTo>
                  <a:pt x="3811460" y="1399509"/>
                </a:lnTo>
                <a:lnTo>
                  <a:pt x="3820568" y="1390402"/>
                </a:lnTo>
                <a:lnTo>
                  <a:pt x="3826639" y="1384330"/>
                </a:lnTo>
                <a:lnTo>
                  <a:pt x="3829675" y="1375223"/>
                </a:lnTo>
                <a:lnTo>
                  <a:pt x="3841818" y="1353972"/>
                </a:lnTo>
                <a:lnTo>
                  <a:pt x="3844854" y="1350936"/>
                </a:lnTo>
                <a:lnTo>
                  <a:pt x="3847890" y="1347900"/>
                </a:lnTo>
                <a:lnTo>
                  <a:pt x="3853962" y="1341829"/>
                </a:lnTo>
                <a:lnTo>
                  <a:pt x="3881283" y="1323614"/>
                </a:lnTo>
                <a:lnTo>
                  <a:pt x="3887355" y="1326650"/>
                </a:lnTo>
                <a:lnTo>
                  <a:pt x="3890392" y="1335757"/>
                </a:lnTo>
                <a:lnTo>
                  <a:pt x="3896463" y="1329686"/>
                </a:lnTo>
                <a:lnTo>
                  <a:pt x="3902534" y="1320578"/>
                </a:lnTo>
                <a:lnTo>
                  <a:pt x="3902534" y="1308435"/>
                </a:lnTo>
                <a:lnTo>
                  <a:pt x="3920749" y="1302364"/>
                </a:lnTo>
                <a:lnTo>
                  <a:pt x="3929857" y="1305399"/>
                </a:lnTo>
                <a:lnTo>
                  <a:pt x="3938964" y="1308435"/>
                </a:lnTo>
                <a:lnTo>
                  <a:pt x="3951107" y="1302364"/>
                </a:lnTo>
                <a:lnTo>
                  <a:pt x="3960215" y="1284148"/>
                </a:lnTo>
                <a:lnTo>
                  <a:pt x="3966286" y="1268969"/>
                </a:lnTo>
                <a:lnTo>
                  <a:pt x="3972358" y="1272006"/>
                </a:lnTo>
                <a:lnTo>
                  <a:pt x="3975393" y="1262897"/>
                </a:lnTo>
                <a:lnTo>
                  <a:pt x="3987537" y="1262897"/>
                </a:lnTo>
                <a:lnTo>
                  <a:pt x="3993609" y="1262897"/>
                </a:lnTo>
                <a:lnTo>
                  <a:pt x="3999681" y="1268969"/>
                </a:lnTo>
                <a:lnTo>
                  <a:pt x="3993609" y="1281113"/>
                </a:lnTo>
                <a:lnTo>
                  <a:pt x="3984502" y="1290220"/>
                </a:lnTo>
                <a:lnTo>
                  <a:pt x="3981465" y="1311471"/>
                </a:lnTo>
                <a:lnTo>
                  <a:pt x="3984502" y="1317543"/>
                </a:lnTo>
                <a:lnTo>
                  <a:pt x="3990573" y="1308435"/>
                </a:lnTo>
                <a:lnTo>
                  <a:pt x="3996644" y="1293256"/>
                </a:lnTo>
                <a:lnTo>
                  <a:pt x="4008788" y="1268969"/>
                </a:lnTo>
                <a:lnTo>
                  <a:pt x="4014860" y="1272006"/>
                </a:lnTo>
                <a:lnTo>
                  <a:pt x="4014860" y="1287185"/>
                </a:lnTo>
                <a:lnTo>
                  <a:pt x="4011823" y="1299327"/>
                </a:lnTo>
                <a:lnTo>
                  <a:pt x="4020931" y="1293256"/>
                </a:lnTo>
                <a:lnTo>
                  <a:pt x="4023967" y="1275041"/>
                </a:lnTo>
                <a:lnTo>
                  <a:pt x="4023967" y="1265934"/>
                </a:lnTo>
                <a:lnTo>
                  <a:pt x="4033074" y="1256827"/>
                </a:lnTo>
                <a:lnTo>
                  <a:pt x="4048253" y="1253790"/>
                </a:lnTo>
                <a:lnTo>
                  <a:pt x="4054325" y="1259862"/>
                </a:lnTo>
                <a:lnTo>
                  <a:pt x="4051289" y="1268969"/>
                </a:lnTo>
                <a:lnTo>
                  <a:pt x="4054325" y="1275041"/>
                </a:lnTo>
                <a:lnTo>
                  <a:pt x="4072540" y="1275041"/>
                </a:lnTo>
                <a:lnTo>
                  <a:pt x="4069504" y="1281113"/>
                </a:lnTo>
                <a:lnTo>
                  <a:pt x="4075575" y="1278076"/>
                </a:lnTo>
                <a:lnTo>
                  <a:pt x="4078612" y="1275041"/>
                </a:lnTo>
                <a:lnTo>
                  <a:pt x="4087719" y="1278076"/>
                </a:lnTo>
                <a:lnTo>
                  <a:pt x="4099863" y="1290220"/>
                </a:lnTo>
                <a:lnTo>
                  <a:pt x="4105933" y="1296292"/>
                </a:lnTo>
                <a:lnTo>
                  <a:pt x="4105933" y="1305399"/>
                </a:lnTo>
                <a:lnTo>
                  <a:pt x="4078612" y="1317543"/>
                </a:lnTo>
                <a:lnTo>
                  <a:pt x="4066468" y="1314506"/>
                </a:lnTo>
                <a:lnTo>
                  <a:pt x="4054325" y="1311471"/>
                </a:lnTo>
                <a:lnTo>
                  <a:pt x="4069504" y="1320578"/>
                </a:lnTo>
                <a:lnTo>
                  <a:pt x="4078612" y="1323614"/>
                </a:lnTo>
                <a:lnTo>
                  <a:pt x="4078612" y="1335757"/>
                </a:lnTo>
                <a:lnTo>
                  <a:pt x="4084683" y="1335757"/>
                </a:lnTo>
                <a:lnTo>
                  <a:pt x="4087719" y="1341829"/>
                </a:lnTo>
                <a:lnTo>
                  <a:pt x="4087719" y="1335757"/>
                </a:lnTo>
                <a:lnTo>
                  <a:pt x="4087719" y="1329686"/>
                </a:lnTo>
                <a:lnTo>
                  <a:pt x="4090754" y="1329686"/>
                </a:lnTo>
                <a:lnTo>
                  <a:pt x="4099863" y="1332721"/>
                </a:lnTo>
                <a:lnTo>
                  <a:pt x="4102898" y="1332721"/>
                </a:lnTo>
                <a:lnTo>
                  <a:pt x="4112005" y="1338792"/>
                </a:lnTo>
                <a:lnTo>
                  <a:pt x="4118077" y="1338792"/>
                </a:lnTo>
                <a:lnTo>
                  <a:pt x="4121113" y="1332721"/>
                </a:lnTo>
                <a:lnTo>
                  <a:pt x="4127184" y="1323613"/>
                </a:lnTo>
                <a:lnTo>
                  <a:pt x="4139328" y="1332721"/>
                </a:lnTo>
                <a:lnTo>
                  <a:pt x="4148435" y="1335756"/>
                </a:lnTo>
                <a:lnTo>
                  <a:pt x="4145399" y="1347899"/>
                </a:lnTo>
                <a:lnTo>
                  <a:pt x="4154507" y="1353971"/>
                </a:lnTo>
                <a:lnTo>
                  <a:pt x="4166650" y="1360043"/>
                </a:lnTo>
                <a:lnTo>
                  <a:pt x="4184864" y="1363078"/>
                </a:lnTo>
                <a:lnTo>
                  <a:pt x="4206115" y="1369150"/>
                </a:lnTo>
                <a:lnTo>
                  <a:pt x="4233438" y="1390401"/>
                </a:lnTo>
                <a:lnTo>
                  <a:pt x="4245581" y="1399508"/>
                </a:lnTo>
                <a:lnTo>
                  <a:pt x="4257724" y="1411652"/>
                </a:lnTo>
                <a:lnTo>
                  <a:pt x="4272904" y="1426831"/>
                </a:lnTo>
                <a:lnTo>
                  <a:pt x="4282011" y="1432903"/>
                </a:lnTo>
                <a:lnTo>
                  <a:pt x="4309334" y="1451117"/>
                </a:lnTo>
                <a:lnTo>
                  <a:pt x="4318441" y="1478440"/>
                </a:lnTo>
                <a:lnTo>
                  <a:pt x="4315404" y="1499690"/>
                </a:lnTo>
                <a:lnTo>
                  <a:pt x="4306297" y="1514869"/>
                </a:lnTo>
                <a:lnTo>
                  <a:pt x="4294155" y="1527013"/>
                </a:lnTo>
                <a:lnTo>
                  <a:pt x="4269868" y="1536120"/>
                </a:lnTo>
                <a:lnTo>
                  <a:pt x="4245581" y="1536120"/>
                </a:lnTo>
                <a:lnTo>
                  <a:pt x="4218259" y="1527013"/>
                </a:lnTo>
                <a:lnTo>
                  <a:pt x="4190936" y="1517906"/>
                </a:lnTo>
                <a:lnTo>
                  <a:pt x="4166650" y="1505762"/>
                </a:lnTo>
                <a:lnTo>
                  <a:pt x="4154507" y="1502726"/>
                </a:lnTo>
                <a:lnTo>
                  <a:pt x="4142363" y="1490583"/>
                </a:lnTo>
                <a:lnTo>
                  <a:pt x="4142363" y="1487547"/>
                </a:lnTo>
                <a:lnTo>
                  <a:pt x="4136292" y="1481475"/>
                </a:lnTo>
                <a:lnTo>
                  <a:pt x="4121113" y="1481475"/>
                </a:lnTo>
                <a:lnTo>
                  <a:pt x="4133256" y="1493619"/>
                </a:lnTo>
                <a:lnTo>
                  <a:pt x="4139328" y="1499690"/>
                </a:lnTo>
                <a:lnTo>
                  <a:pt x="4142363" y="1508798"/>
                </a:lnTo>
                <a:lnTo>
                  <a:pt x="4154507" y="1517906"/>
                </a:lnTo>
                <a:lnTo>
                  <a:pt x="4160578" y="1523977"/>
                </a:lnTo>
                <a:lnTo>
                  <a:pt x="4184864" y="1548264"/>
                </a:lnTo>
                <a:lnTo>
                  <a:pt x="4187901" y="1557371"/>
                </a:lnTo>
                <a:lnTo>
                  <a:pt x="4181829" y="1569514"/>
                </a:lnTo>
                <a:lnTo>
                  <a:pt x="4178793" y="1569514"/>
                </a:lnTo>
                <a:lnTo>
                  <a:pt x="4175757" y="1572550"/>
                </a:lnTo>
                <a:lnTo>
                  <a:pt x="4181829" y="1593801"/>
                </a:lnTo>
                <a:lnTo>
                  <a:pt x="4184864" y="1602908"/>
                </a:lnTo>
                <a:lnTo>
                  <a:pt x="4181829" y="1615051"/>
                </a:lnTo>
                <a:lnTo>
                  <a:pt x="4193973" y="1624158"/>
                </a:lnTo>
                <a:lnTo>
                  <a:pt x="4197008" y="1624158"/>
                </a:lnTo>
                <a:lnTo>
                  <a:pt x="4200044" y="1621123"/>
                </a:lnTo>
                <a:lnTo>
                  <a:pt x="4209152" y="1630230"/>
                </a:lnTo>
                <a:lnTo>
                  <a:pt x="4212187" y="1639337"/>
                </a:lnTo>
                <a:lnTo>
                  <a:pt x="4221294" y="1642374"/>
                </a:lnTo>
                <a:lnTo>
                  <a:pt x="4230403" y="1645409"/>
                </a:lnTo>
                <a:lnTo>
                  <a:pt x="4242545" y="1642374"/>
                </a:lnTo>
                <a:lnTo>
                  <a:pt x="4251653" y="1639337"/>
                </a:lnTo>
                <a:lnTo>
                  <a:pt x="4248617" y="1627195"/>
                </a:lnTo>
                <a:lnTo>
                  <a:pt x="4230403" y="1621123"/>
                </a:lnTo>
                <a:lnTo>
                  <a:pt x="4221294" y="1602908"/>
                </a:lnTo>
                <a:lnTo>
                  <a:pt x="4224331" y="1587729"/>
                </a:lnTo>
                <a:lnTo>
                  <a:pt x="4227366" y="1581657"/>
                </a:lnTo>
                <a:lnTo>
                  <a:pt x="4242545" y="1587729"/>
                </a:lnTo>
                <a:lnTo>
                  <a:pt x="4251653" y="1602908"/>
                </a:lnTo>
                <a:lnTo>
                  <a:pt x="4257724" y="1602908"/>
                </a:lnTo>
                <a:lnTo>
                  <a:pt x="4263796" y="1602908"/>
                </a:lnTo>
                <a:lnTo>
                  <a:pt x="4275939" y="1608979"/>
                </a:lnTo>
                <a:lnTo>
                  <a:pt x="4288083" y="1615051"/>
                </a:lnTo>
                <a:lnTo>
                  <a:pt x="4300225" y="1615051"/>
                </a:lnTo>
                <a:lnTo>
                  <a:pt x="4300225" y="1612015"/>
                </a:lnTo>
                <a:lnTo>
                  <a:pt x="4288083" y="1581657"/>
                </a:lnTo>
                <a:lnTo>
                  <a:pt x="4285047" y="1569514"/>
                </a:lnTo>
                <a:lnTo>
                  <a:pt x="4288083" y="1560406"/>
                </a:lnTo>
                <a:lnTo>
                  <a:pt x="4306297" y="1545227"/>
                </a:lnTo>
                <a:lnTo>
                  <a:pt x="4324513" y="1533085"/>
                </a:lnTo>
                <a:lnTo>
                  <a:pt x="4333620" y="1520941"/>
                </a:lnTo>
                <a:lnTo>
                  <a:pt x="4339692" y="1514869"/>
                </a:lnTo>
                <a:lnTo>
                  <a:pt x="4354871" y="1520941"/>
                </a:lnTo>
                <a:lnTo>
                  <a:pt x="4367014" y="1527013"/>
                </a:lnTo>
                <a:lnTo>
                  <a:pt x="4373085" y="1533085"/>
                </a:lnTo>
                <a:lnTo>
                  <a:pt x="4376121" y="1530048"/>
                </a:lnTo>
                <a:lnTo>
                  <a:pt x="4382193" y="1508798"/>
                </a:lnTo>
                <a:lnTo>
                  <a:pt x="4382193" y="1496655"/>
                </a:lnTo>
                <a:lnTo>
                  <a:pt x="4376121" y="1481475"/>
                </a:lnTo>
                <a:lnTo>
                  <a:pt x="4367014" y="1478440"/>
                </a:lnTo>
                <a:lnTo>
                  <a:pt x="4373085" y="1460225"/>
                </a:lnTo>
                <a:lnTo>
                  <a:pt x="4376121" y="1429866"/>
                </a:lnTo>
                <a:lnTo>
                  <a:pt x="4379157" y="1420759"/>
                </a:lnTo>
                <a:lnTo>
                  <a:pt x="4373085" y="1414687"/>
                </a:lnTo>
                <a:lnTo>
                  <a:pt x="4360942" y="1405580"/>
                </a:lnTo>
                <a:lnTo>
                  <a:pt x="4357906" y="1399508"/>
                </a:lnTo>
                <a:lnTo>
                  <a:pt x="4360942" y="1399508"/>
                </a:lnTo>
                <a:lnTo>
                  <a:pt x="4373085" y="1405580"/>
                </a:lnTo>
                <a:lnTo>
                  <a:pt x="4385228" y="1405580"/>
                </a:lnTo>
                <a:lnTo>
                  <a:pt x="4409515" y="1408615"/>
                </a:lnTo>
                <a:lnTo>
                  <a:pt x="4418623" y="1420759"/>
                </a:lnTo>
                <a:lnTo>
                  <a:pt x="4424694" y="1429866"/>
                </a:lnTo>
                <a:lnTo>
                  <a:pt x="4427730" y="1442010"/>
                </a:lnTo>
                <a:lnTo>
                  <a:pt x="4418623" y="1448082"/>
                </a:lnTo>
                <a:lnTo>
                  <a:pt x="4406479" y="1448082"/>
                </a:lnTo>
                <a:lnTo>
                  <a:pt x="4397372" y="1460225"/>
                </a:lnTo>
                <a:lnTo>
                  <a:pt x="4394336" y="1472368"/>
                </a:lnTo>
                <a:lnTo>
                  <a:pt x="4406479" y="1487547"/>
                </a:lnTo>
                <a:lnTo>
                  <a:pt x="4409515" y="1496655"/>
                </a:lnTo>
                <a:lnTo>
                  <a:pt x="4415586" y="1499690"/>
                </a:lnTo>
                <a:lnTo>
                  <a:pt x="4424694" y="1499690"/>
                </a:lnTo>
                <a:lnTo>
                  <a:pt x="4439873" y="1496655"/>
                </a:lnTo>
                <a:lnTo>
                  <a:pt x="4448981" y="1490583"/>
                </a:lnTo>
                <a:lnTo>
                  <a:pt x="4452016" y="1469332"/>
                </a:lnTo>
                <a:lnTo>
                  <a:pt x="4452016" y="1460225"/>
                </a:lnTo>
                <a:lnTo>
                  <a:pt x="4458088" y="1454154"/>
                </a:lnTo>
                <a:lnTo>
                  <a:pt x="4470231" y="1451117"/>
                </a:lnTo>
                <a:lnTo>
                  <a:pt x="4497554" y="1429866"/>
                </a:lnTo>
                <a:lnTo>
                  <a:pt x="4509696" y="1420759"/>
                </a:lnTo>
                <a:lnTo>
                  <a:pt x="4521840" y="1414687"/>
                </a:lnTo>
                <a:lnTo>
                  <a:pt x="4533984" y="1408615"/>
                </a:lnTo>
                <a:lnTo>
                  <a:pt x="4555234" y="1393436"/>
                </a:lnTo>
                <a:lnTo>
                  <a:pt x="4567377" y="1387366"/>
                </a:lnTo>
                <a:lnTo>
                  <a:pt x="4579520" y="1381294"/>
                </a:lnTo>
                <a:lnTo>
                  <a:pt x="4585592" y="1384329"/>
                </a:lnTo>
                <a:lnTo>
                  <a:pt x="4576484" y="1393436"/>
                </a:lnTo>
                <a:lnTo>
                  <a:pt x="4567377" y="1414687"/>
                </a:lnTo>
                <a:lnTo>
                  <a:pt x="4564341" y="1423795"/>
                </a:lnTo>
                <a:lnTo>
                  <a:pt x="4576484" y="1423795"/>
                </a:lnTo>
                <a:lnTo>
                  <a:pt x="4585592" y="1423795"/>
                </a:lnTo>
                <a:lnTo>
                  <a:pt x="4597735" y="1414687"/>
                </a:lnTo>
                <a:lnTo>
                  <a:pt x="4606843" y="1405580"/>
                </a:lnTo>
                <a:lnTo>
                  <a:pt x="4618985" y="1402545"/>
                </a:lnTo>
                <a:lnTo>
                  <a:pt x="4631129" y="1405580"/>
                </a:lnTo>
                <a:lnTo>
                  <a:pt x="4631129" y="1402545"/>
                </a:lnTo>
                <a:lnTo>
                  <a:pt x="4649343" y="1402545"/>
                </a:lnTo>
                <a:lnTo>
                  <a:pt x="4652380" y="1396473"/>
                </a:lnTo>
                <a:lnTo>
                  <a:pt x="4661487" y="1390401"/>
                </a:lnTo>
                <a:lnTo>
                  <a:pt x="4676666" y="1381294"/>
                </a:lnTo>
                <a:lnTo>
                  <a:pt x="4679702" y="1384329"/>
                </a:lnTo>
                <a:lnTo>
                  <a:pt x="4682738" y="1384329"/>
                </a:lnTo>
                <a:lnTo>
                  <a:pt x="4691845" y="1396473"/>
                </a:lnTo>
                <a:lnTo>
                  <a:pt x="4685774" y="1405580"/>
                </a:lnTo>
                <a:lnTo>
                  <a:pt x="4685774" y="1414687"/>
                </a:lnTo>
                <a:lnTo>
                  <a:pt x="4691845" y="1417723"/>
                </a:lnTo>
                <a:lnTo>
                  <a:pt x="4700953" y="1414687"/>
                </a:lnTo>
                <a:lnTo>
                  <a:pt x="4716132" y="1393436"/>
                </a:lnTo>
                <a:lnTo>
                  <a:pt x="4722204" y="1375222"/>
                </a:lnTo>
                <a:lnTo>
                  <a:pt x="4719167" y="1369150"/>
                </a:lnTo>
                <a:lnTo>
                  <a:pt x="4713096" y="1360043"/>
                </a:lnTo>
                <a:lnTo>
                  <a:pt x="4707024" y="1347899"/>
                </a:lnTo>
                <a:lnTo>
                  <a:pt x="4710060" y="1341828"/>
                </a:lnTo>
                <a:lnTo>
                  <a:pt x="4722204" y="1329685"/>
                </a:lnTo>
                <a:lnTo>
                  <a:pt x="4731311" y="1332721"/>
                </a:lnTo>
                <a:lnTo>
                  <a:pt x="4758633" y="1335756"/>
                </a:lnTo>
                <a:lnTo>
                  <a:pt x="4785955" y="1347899"/>
                </a:lnTo>
                <a:lnTo>
                  <a:pt x="4795063" y="1353971"/>
                </a:lnTo>
                <a:lnTo>
                  <a:pt x="4807206" y="1363078"/>
                </a:lnTo>
                <a:lnTo>
                  <a:pt x="4816314" y="1369150"/>
                </a:lnTo>
                <a:lnTo>
                  <a:pt x="4819349" y="1372186"/>
                </a:lnTo>
                <a:lnTo>
                  <a:pt x="4825421" y="1378257"/>
                </a:lnTo>
                <a:lnTo>
                  <a:pt x="4834528" y="1381294"/>
                </a:lnTo>
                <a:lnTo>
                  <a:pt x="4849707" y="1393436"/>
                </a:lnTo>
                <a:lnTo>
                  <a:pt x="4861851" y="1405580"/>
                </a:lnTo>
                <a:lnTo>
                  <a:pt x="4870958" y="1411652"/>
                </a:lnTo>
                <a:lnTo>
                  <a:pt x="4873993" y="1420759"/>
                </a:lnTo>
                <a:lnTo>
                  <a:pt x="4873993" y="1426831"/>
                </a:lnTo>
                <a:lnTo>
                  <a:pt x="4875426" y="1425875"/>
                </a:lnTo>
                <a:lnTo>
                  <a:pt x="4883101" y="1420759"/>
                </a:lnTo>
                <a:lnTo>
                  <a:pt x="4886137" y="1402544"/>
                </a:lnTo>
                <a:lnTo>
                  <a:pt x="4886137" y="1384329"/>
                </a:lnTo>
                <a:lnTo>
                  <a:pt x="4870958" y="1366114"/>
                </a:lnTo>
                <a:lnTo>
                  <a:pt x="4867922" y="1350935"/>
                </a:lnTo>
                <a:lnTo>
                  <a:pt x="4858814" y="1344864"/>
                </a:lnTo>
                <a:lnTo>
                  <a:pt x="4852743" y="1341827"/>
                </a:lnTo>
                <a:lnTo>
                  <a:pt x="4846672" y="1338792"/>
                </a:lnTo>
                <a:lnTo>
                  <a:pt x="4846672" y="1347899"/>
                </a:lnTo>
                <a:lnTo>
                  <a:pt x="4843635" y="1329685"/>
                </a:lnTo>
                <a:lnTo>
                  <a:pt x="4846672" y="1320577"/>
                </a:lnTo>
                <a:lnTo>
                  <a:pt x="4852743" y="1284147"/>
                </a:lnTo>
                <a:lnTo>
                  <a:pt x="4849707" y="1272004"/>
                </a:lnTo>
                <a:lnTo>
                  <a:pt x="4843635" y="1275040"/>
                </a:lnTo>
                <a:lnTo>
                  <a:pt x="4840600" y="1253789"/>
                </a:lnTo>
                <a:lnTo>
                  <a:pt x="4846672" y="1241645"/>
                </a:lnTo>
                <a:lnTo>
                  <a:pt x="4849707" y="1241645"/>
                </a:lnTo>
                <a:lnTo>
                  <a:pt x="4873993" y="1217359"/>
                </a:lnTo>
                <a:lnTo>
                  <a:pt x="4889173" y="1147535"/>
                </a:lnTo>
                <a:lnTo>
                  <a:pt x="4895244" y="1135393"/>
                </a:lnTo>
                <a:lnTo>
                  <a:pt x="4898280" y="1129321"/>
                </a:lnTo>
                <a:lnTo>
                  <a:pt x="4904352" y="1129321"/>
                </a:lnTo>
                <a:lnTo>
                  <a:pt x="4925603" y="1132356"/>
                </a:lnTo>
                <a:lnTo>
                  <a:pt x="4940782" y="1132356"/>
                </a:lnTo>
                <a:lnTo>
                  <a:pt x="4962032" y="1144500"/>
                </a:lnTo>
                <a:lnTo>
                  <a:pt x="4968103" y="1147535"/>
                </a:lnTo>
                <a:lnTo>
                  <a:pt x="4968103" y="1168786"/>
                </a:lnTo>
                <a:lnTo>
                  <a:pt x="4962032" y="1193073"/>
                </a:lnTo>
                <a:lnTo>
                  <a:pt x="4958996" y="1211288"/>
                </a:lnTo>
                <a:lnTo>
                  <a:pt x="4955961" y="1217359"/>
                </a:lnTo>
                <a:lnTo>
                  <a:pt x="4946854" y="1229503"/>
                </a:lnTo>
                <a:lnTo>
                  <a:pt x="4952924" y="1241645"/>
                </a:lnTo>
                <a:lnTo>
                  <a:pt x="4962032" y="1250754"/>
                </a:lnTo>
                <a:lnTo>
                  <a:pt x="4968103" y="1265933"/>
                </a:lnTo>
                <a:lnTo>
                  <a:pt x="4968103" y="1275040"/>
                </a:lnTo>
                <a:lnTo>
                  <a:pt x="4965068" y="1296290"/>
                </a:lnTo>
                <a:lnTo>
                  <a:pt x="4962032" y="1302362"/>
                </a:lnTo>
                <a:lnTo>
                  <a:pt x="4965068" y="1326648"/>
                </a:lnTo>
                <a:lnTo>
                  <a:pt x="4965068" y="1363078"/>
                </a:lnTo>
                <a:lnTo>
                  <a:pt x="4962032" y="1369150"/>
                </a:lnTo>
                <a:lnTo>
                  <a:pt x="4962032" y="1381293"/>
                </a:lnTo>
                <a:lnTo>
                  <a:pt x="4971140" y="1393436"/>
                </a:lnTo>
                <a:lnTo>
                  <a:pt x="4983283" y="1405580"/>
                </a:lnTo>
                <a:lnTo>
                  <a:pt x="4986319" y="1411651"/>
                </a:lnTo>
                <a:lnTo>
                  <a:pt x="4983283" y="1411651"/>
                </a:lnTo>
                <a:lnTo>
                  <a:pt x="4977211" y="1420759"/>
                </a:lnTo>
                <a:lnTo>
                  <a:pt x="4974175" y="1423795"/>
                </a:lnTo>
                <a:lnTo>
                  <a:pt x="4974175" y="1435938"/>
                </a:lnTo>
                <a:lnTo>
                  <a:pt x="4968103" y="1457189"/>
                </a:lnTo>
                <a:lnTo>
                  <a:pt x="4952924" y="1487546"/>
                </a:lnTo>
                <a:lnTo>
                  <a:pt x="4937745" y="1496655"/>
                </a:lnTo>
                <a:lnTo>
                  <a:pt x="4943817" y="1505762"/>
                </a:lnTo>
                <a:lnTo>
                  <a:pt x="4940782" y="1508797"/>
                </a:lnTo>
                <a:lnTo>
                  <a:pt x="4943817" y="1527013"/>
                </a:lnTo>
                <a:lnTo>
                  <a:pt x="4946854" y="1530048"/>
                </a:lnTo>
                <a:lnTo>
                  <a:pt x="4952924" y="1530048"/>
                </a:lnTo>
                <a:lnTo>
                  <a:pt x="4955961" y="1523976"/>
                </a:lnTo>
                <a:lnTo>
                  <a:pt x="4962032" y="1511834"/>
                </a:lnTo>
                <a:lnTo>
                  <a:pt x="4971140" y="1502725"/>
                </a:lnTo>
                <a:lnTo>
                  <a:pt x="4983283" y="1499690"/>
                </a:lnTo>
                <a:lnTo>
                  <a:pt x="4989354" y="1490583"/>
                </a:lnTo>
                <a:lnTo>
                  <a:pt x="4992390" y="1481475"/>
                </a:lnTo>
                <a:lnTo>
                  <a:pt x="5004533" y="1460225"/>
                </a:lnTo>
                <a:lnTo>
                  <a:pt x="5010605" y="1442010"/>
                </a:lnTo>
                <a:lnTo>
                  <a:pt x="5004533" y="1420759"/>
                </a:lnTo>
                <a:lnTo>
                  <a:pt x="4998462" y="1414687"/>
                </a:lnTo>
                <a:lnTo>
                  <a:pt x="5001498" y="1402544"/>
                </a:lnTo>
                <a:lnTo>
                  <a:pt x="5010605" y="1390401"/>
                </a:lnTo>
                <a:lnTo>
                  <a:pt x="5022748" y="1387365"/>
                </a:lnTo>
                <a:lnTo>
                  <a:pt x="5034892" y="1381293"/>
                </a:lnTo>
                <a:lnTo>
                  <a:pt x="5040964" y="1372185"/>
                </a:lnTo>
                <a:lnTo>
                  <a:pt x="5019713" y="1369150"/>
                </a:lnTo>
                <a:lnTo>
                  <a:pt x="5007569" y="1372185"/>
                </a:lnTo>
                <a:lnTo>
                  <a:pt x="4995426" y="1375222"/>
                </a:lnTo>
                <a:lnTo>
                  <a:pt x="4986319" y="1366114"/>
                </a:lnTo>
                <a:lnTo>
                  <a:pt x="4986319" y="1326648"/>
                </a:lnTo>
                <a:lnTo>
                  <a:pt x="4995426" y="1296290"/>
                </a:lnTo>
                <a:lnTo>
                  <a:pt x="4998462" y="1278075"/>
                </a:lnTo>
                <a:lnTo>
                  <a:pt x="4974175" y="1235575"/>
                </a:lnTo>
                <a:lnTo>
                  <a:pt x="4983283" y="1205216"/>
                </a:lnTo>
                <a:lnTo>
                  <a:pt x="4998462" y="1196109"/>
                </a:lnTo>
                <a:lnTo>
                  <a:pt x="5013641" y="1187001"/>
                </a:lnTo>
                <a:lnTo>
                  <a:pt x="5013641" y="1156643"/>
                </a:lnTo>
                <a:lnTo>
                  <a:pt x="5010605" y="1135393"/>
                </a:lnTo>
                <a:lnTo>
                  <a:pt x="5022748" y="1141465"/>
                </a:lnTo>
                <a:lnTo>
                  <a:pt x="5025784" y="1156643"/>
                </a:lnTo>
                <a:lnTo>
                  <a:pt x="5025784" y="1174858"/>
                </a:lnTo>
                <a:lnTo>
                  <a:pt x="5022748" y="1193073"/>
                </a:lnTo>
                <a:lnTo>
                  <a:pt x="5016677" y="1205216"/>
                </a:lnTo>
                <a:lnTo>
                  <a:pt x="5019713" y="1235575"/>
                </a:lnTo>
                <a:lnTo>
                  <a:pt x="5028820" y="1244682"/>
                </a:lnTo>
                <a:lnTo>
                  <a:pt x="5043999" y="1247717"/>
                </a:lnTo>
                <a:lnTo>
                  <a:pt x="5053106" y="1253789"/>
                </a:lnTo>
                <a:lnTo>
                  <a:pt x="5050071" y="1229503"/>
                </a:lnTo>
                <a:lnTo>
                  <a:pt x="5037927" y="1223431"/>
                </a:lnTo>
                <a:lnTo>
                  <a:pt x="5034892" y="1205216"/>
                </a:lnTo>
                <a:lnTo>
                  <a:pt x="5034892" y="1199145"/>
                </a:lnTo>
                <a:lnTo>
                  <a:pt x="5047034" y="1193073"/>
                </a:lnTo>
                <a:lnTo>
                  <a:pt x="5065250" y="1180930"/>
                </a:lnTo>
                <a:lnTo>
                  <a:pt x="5089536" y="1168786"/>
                </a:lnTo>
                <a:lnTo>
                  <a:pt x="5116858" y="1180930"/>
                </a:lnTo>
                <a:lnTo>
                  <a:pt x="5129002" y="1190037"/>
                </a:lnTo>
                <a:lnTo>
                  <a:pt x="5135073" y="1199145"/>
                </a:lnTo>
                <a:lnTo>
                  <a:pt x="5141145" y="1208252"/>
                </a:lnTo>
                <a:lnTo>
                  <a:pt x="5165432" y="1211288"/>
                </a:lnTo>
                <a:lnTo>
                  <a:pt x="5168467" y="1193073"/>
                </a:lnTo>
                <a:lnTo>
                  <a:pt x="5165432" y="1187001"/>
                </a:lnTo>
                <a:lnTo>
                  <a:pt x="5165432" y="1180930"/>
                </a:lnTo>
                <a:lnTo>
                  <a:pt x="5162395" y="1174858"/>
                </a:lnTo>
                <a:lnTo>
                  <a:pt x="5135073" y="1162715"/>
                </a:lnTo>
                <a:lnTo>
                  <a:pt x="5129002" y="1138428"/>
                </a:lnTo>
                <a:lnTo>
                  <a:pt x="5125966" y="1092891"/>
                </a:lnTo>
                <a:lnTo>
                  <a:pt x="5129002" y="1083784"/>
                </a:lnTo>
                <a:lnTo>
                  <a:pt x="5138109" y="1083784"/>
                </a:lnTo>
                <a:lnTo>
                  <a:pt x="5150253" y="1080748"/>
                </a:lnTo>
                <a:lnTo>
                  <a:pt x="5177574" y="1077712"/>
                </a:lnTo>
                <a:lnTo>
                  <a:pt x="5201861" y="1074676"/>
                </a:lnTo>
                <a:lnTo>
                  <a:pt x="5220076" y="1071641"/>
                </a:lnTo>
                <a:lnTo>
                  <a:pt x="5229183" y="1068605"/>
                </a:lnTo>
                <a:lnTo>
                  <a:pt x="5241326" y="1062533"/>
                </a:lnTo>
                <a:lnTo>
                  <a:pt x="5256505" y="1059497"/>
                </a:lnTo>
                <a:lnTo>
                  <a:pt x="5259542" y="1050390"/>
                </a:lnTo>
                <a:lnTo>
                  <a:pt x="5265612" y="1050390"/>
                </a:lnTo>
                <a:lnTo>
                  <a:pt x="5259542" y="1023067"/>
                </a:lnTo>
                <a:lnTo>
                  <a:pt x="5244363" y="1007888"/>
                </a:lnTo>
                <a:lnTo>
                  <a:pt x="5244363" y="989674"/>
                </a:lnTo>
                <a:lnTo>
                  <a:pt x="5262577" y="998781"/>
                </a:lnTo>
                <a:lnTo>
                  <a:pt x="5265612" y="980566"/>
                </a:lnTo>
                <a:lnTo>
                  <a:pt x="5259542" y="968423"/>
                </a:lnTo>
                <a:lnTo>
                  <a:pt x="5259542" y="965387"/>
                </a:lnTo>
                <a:lnTo>
                  <a:pt x="5265612" y="962351"/>
                </a:lnTo>
                <a:lnTo>
                  <a:pt x="5286863" y="959315"/>
                </a:lnTo>
                <a:lnTo>
                  <a:pt x="5292935" y="950208"/>
                </a:lnTo>
                <a:lnTo>
                  <a:pt x="5302043" y="941101"/>
                </a:lnTo>
                <a:lnTo>
                  <a:pt x="5305079" y="938065"/>
                </a:lnTo>
                <a:lnTo>
                  <a:pt x="5356687" y="919850"/>
                </a:lnTo>
                <a:lnTo>
                  <a:pt x="5384010" y="910743"/>
                </a:lnTo>
                <a:lnTo>
                  <a:pt x="5384010" y="904671"/>
                </a:lnTo>
                <a:lnTo>
                  <a:pt x="5380973" y="895564"/>
                </a:lnTo>
                <a:lnTo>
                  <a:pt x="5387045" y="886456"/>
                </a:lnTo>
                <a:lnTo>
                  <a:pt x="5399189" y="883420"/>
                </a:lnTo>
                <a:lnTo>
                  <a:pt x="5411332" y="883420"/>
                </a:lnTo>
                <a:lnTo>
                  <a:pt x="5414368" y="889492"/>
                </a:lnTo>
                <a:lnTo>
                  <a:pt x="5423475" y="886456"/>
                </a:lnTo>
                <a:lnTo>
                  <a:pt x="5432583" y="880385"/>
                </a:lnTo>
                <a:lnTo>
                  <a:pt x="5447762" y="883420"/>
                </a:lnTo>
                <a:lnTo>
                  <a:pt x="5456869" y="895564"/>
                </a:lnTo>
                <a:lnTo>
                  <a:pt x="5469013" y="895564"/>
                </a:lnTo>
                <a:lnTo>
                  <a:pt x="5481155" y="895564"/>
                </a:lnTo>
                <a:lnTo>
                  <a:pt x="5496334" y="874313"/>
                </a:lnTo>
                <a:lnTo>
                  <a:pt x="5514549" y="874313"/>
                </a:lnTo>
                <a:lnTo>
                  <a:pt x="5520621" y="865205"/>
                </a:lnTo>
                <a:lnTo>
                  <a:pt x="5523657" y="853062"/>
                </a:lnTo>
                <a:lnTo>
                  <a:pt x="5550979" y="853062"/>
                </a:lnTo>
                <a:lnTo>
                  <a:pt x="5554015" y="850026"/>
                </a:lnTo>
                <a:lnTo>
                  <a:pt x="5547943" y="822704"/>
                </a:lnTo>
                <a:lnTo>
                  <a:pt x="5554015" y="795382"/>
                </a:lnTo>
                <a:lnTo>
                  <a:pt x="5569193" y="774131"/>
                </a:lnTo>
                <a:lnTo>
                  <a:pt x="5593481" y="746809"/>
                </a:lnTo>
                <a:lnTo>
                  <a:pt x="5605623" y="740737"/>
                </a:lnTo>
                <a:close/>
                <a:moveTo>
                  <a:pt x="1287184" y="734666"/>
                </a:moveTo>
                <a:lnTo>
                  <a:pt x="1290219" y="737703"/>
                </a:lnTo>
                <a:lnTo>
                  <a:pt x="1296291" y="749846"/>
                </a:lnTo>
                <a:lnTo>
                  <a:pt x="1308434" y="774132"/>
                </a:lnTo>
                <a:lnTo>
                  <a:pt x="1311470" y="789311"/>
                </a:lnTo>
                <a:lnTo>
                  <a:pt x="1305398" y="795383"/>
                </a:lnTo>
                <a:lnTo>
                  <a:pt x="1296291" y="789311"/>
                </a:lnTo>
                <a:lnTo>
                  <a:pt x="1287184" y="777168"/>
                </a:lnTo>
                <a:lnTo>
                  <a:pt x="1281112" y="749846"/>
                </a:lnTo>
                <a:close/>
                <a:moveTo>
                  <a:pt x="1511833" y="731631"/>
                </a:moveTo>
                <a:lnTo>
                  <a:pt x="1527012" y="731631"/>
                </a:lnTo>
                <a:lnTo>
                  <a:pt x="1542191" y="737703"/>
                </a:lnTo>
                <a:lnTo>
                  <a:pt x="1536119" y="765025"/>
                </a:lnTo>
                <a:lnTo>
                  <a:pt x="1520941" y="761989"/>
                </a:lnTo>
                <a:lnTo>
                  <a:pt x="1490583" y="761989"/>
                </a:lnTo>
                <a:lnTo>
                  <a:pt x="1484511" y="758953"/>
                </a:lnTo>
                <a:lnTo>
                  <a:pt x="1478439" y="746810"/>
                </a:lnTo>
                <a:lnTo>
                  <a:pt x="1481476" y="737703"/>
                </a:lnTo>
                <a:close/>
                <a:moveTo>
                  <a:pt x="3102598" y="719487"/>
                </a:moveTo>
                <a:lnTo>
                  <a:pt x="3102598" y="728595"/>
                </a:lnTo>
                <a:lnTo>
                  <a:pt x="3099563" y="740737"/>
                </a:lnTo>
                <a:lnTo>
                  <a:pt x="3090455" y="740737"/>
                </a:lnTo>
                <a:close/>
                <a:moveTo>
                  <a:pt x="1360043" y="719487"/>
                </a:moveTo>
                <a:lnTo>
                  <a:pt x="1378257" y="728595"/>
                </a:lnTo>
                <a:lnTo>
                  <a:pt x="1381294" y="734666"/>
                </a:lnTo>
                <a:lnTo>
                  <a:pt x="1381294" y="737703"/>
                </a:lnTo>
                <a:lnTo>
                  <a:pt x="1372187" y="740738"/>
                </a:lnTo>
                <a:lnTo>
                  <a:pt x="1353971" y="737703"/>
                </a:lnTo>
                <a:lnTo>
                  <a:pt x="1350936" y="722524"/>
                </a:lnTo>
                <a:close/>
                <a:moveTo>
                  <a:pt x="1108071" y="704308"/>
                </a:moveTo>
                <a:lnTo>
                  <a:pt x="1114142" y="716452"/>
                </a:lnTo>
                <a:lnTo>
                  <a:pt x="1123249" y="728595"/>
                </a:lnTo>
                <a:lnTo>
                  <a:pt x="1089856" y="713416"/>
                </a:lnTo>
                <a:lnTo>
                  <a:pt x="1098963" y="707345"/>
                </a:lnTo>
                <a:close/>
                <a:moveTo>
                  <a:pt x="1168787" y="701273"/>
                </a:moveTo>
                <a:lnTo>
                  <a:pt x="1199145" y="701273"/>
                </a:lnTo>
                <a:lnTo>
                  <a:pt x="1205216" y="704308"/>
                </a:lnTo>
                <a:lnTo>
                  <a:pt x="1202181" y="716452"/>
                </a:lnTo>
                <a:lnTo>
                  <a:pt x="1193073" y="755917"/>
                </a:lnTo>
                <a:lnTo>
                  <a:pt x="1168787" y="771096"/>
                </a:lnTo>
                <a:lnTo>
                  <a:pt x="1144500" y="771096"/>
                </a:lnTo>
                <a:lnTo>
                  <a:pt x="1135393" y="761989"/>
                </a:lnTo>
                <a:lnTo>
                  <a:pt x="1129321" y="755917"/>
                </a:lnTo>
                <a:lnTo>
                  <a:pt x="1126286" y="731631"/>
                </a:lnTo>
                <a:lnTo>
                  <a:pt x="1129321" y="719487"/>
                </a:lnTo>
                <a:lnTo>
                  <a:pt x="1138429" y="713416"/>
                </a:lnTo>
                <a:lnTo>
                  <a:pt x="1144500" y="710380"/>
                </a:lnTo>
                <a:close/>
                <a:moveTo>
                  <a:pt x="5675447" y="692165"/>
                </a:moveTo>
                <a:lnTo>
                  <a:pt x="5687591" y="695200"/>
                </a:lnTo>
                <a:lnTo>
                  <a:pt x="5684554" y="704307"/>
                </a:lnTo>
                <a:lnTo>
                  <a:pt x="5678483" y="704307"/>
                </a:lnTo>
                <a:lnTo>
                  <a:pt x="5660268" y="698235"/>
                </a:lnTo>
                <a:lnTo>
                  <a:pt x="5663304" y="695200"/>
                </a:lnTo>
                <a:close/>
                <a:moveTo>
                  <a:pt x="3935928" y="686094"/>
                </a:moveTo>
                <a:lnTo>
                  <a:pt x="3948072" y="695201"/>
                </a:lnTo>
                <a:lnTo>
                  <a:pt x="3942000" y="710380"/>
                </a:lnTo>
                <a:lnTo>
                  <a:pt x="3960215" y="722524"/>
                </a:lnTo>
                <a:lnTo>
                  <a:pt x="3969323" y="725559"/>
                </a:lnTo>
                <a:lnTo>
                  <a:pt x="3975393" y="731631"/>
                </a:lnTo>
                <a:lnTo>
                  <a:pt x="3972358" y="737703"/>
                </a:lnTo>
                <a:lnTo>
                  <a:pt x="3960215" y="749846"/>
                </a:lnTo>
                <a:lnTo>
                  <a:pt x="3957179" y="758954"/>
                </a:lnTo>
                <a:lnTo>
                  <a:pt x="3954143" y="765025"/>
                </a:lnTo>
                <a:lnTo>
                  <a:pt x="3935928" y="780204"/>
                </a:lnTo>
                <a:lnTo>
                  <a:pt x="3926821" y="780204"/>
                </a:lnTo>
                <a:lnTo>
                  <a:pt x="3920749" y="758954"/>
                </a:lnTo>
                <a:lnTo>
                  <a:pt x="3917713" y="761989"/>
                </a:lnTo>
                <a:lnTo>
                  <a:pt x="3902534" y="765025"/>
                </a:lnTo>
                <a:lnTo>
                  <a:pt x="3896463" y="765025"/>
                </a:lnTo>
                <a:lnTo>
                  <a:pt x="3896463" y="752882"/>
                </a:lnTo>
                <a:lnTo>
                  <a:pt x="3902534" y="737703"/>
                </a:lnTo>
                <a:lnTo>
                  <a:pt x="3905570" y="713417"/>
                </a:lnTo>
                <a:lnTo>
                  <a:pt x="3896463" y="704309"/>
                </a:lnTo>
                <a:lnTo>
                  <a:pt x="3899499" y="695201"/>
                </a:lnTo>
                <a:lnTo>
                  <a:pt x="3914678" y="689130"/>
                </a:lnTo>
                <a:close/>
                <a:moveTo>
                  <a:pt x="5663304" y="676986"/>
                </a:moveTo>
                <a:lnTo>
                  <a:pt x="5669375" y="683056"/>
                </a:lnTo>
                <a:lnTo>
                  <a:pt x="5660268" y="689128"/>
                </a:lnTo>
                <a:lnTo>
                  <a:pt x="5654196" y="689128"/>
                </a:lnTo>
                <a:close/>
                <a:moveTo>
                  <a:pt x="3905570" y="646628"/>
                </a:moveTo>
                <a:lnTo>
                  <a:pt x="3923785" y="658772"/>
                </a:lnTo>
                <a:lnTo>
                  <a:pt x="3923785" y="683058"/>
                </a:lnTo>
                <a:lnTo>
                  <a:pt x="3917713" y="686094"/>
                </a:lnTo>
                <a:lnTo>
                  <a:pt x="3899499" y="689130"/>
                </a:lnTo>
                <a:lnTo>
                  <a:pt x="3893427" y="680022"/>
                </a:lnTo>
                <a:lnTo>
                  <a:pt x="3890392" y="670915"/>
                </a:lnTo>
                <a:lnTo>
                  <a:pt x="3881283" y="661807"/>
                </a:lnTo>
                <a:close/>
                <a:moveTo>
                  <a:pt x="1171823" y="637521"/>
                </a:moveTo>
                <a:lnTo>
                  <a:pt x="1199145" y="643593"/>
                </a:lnTo>
                <a:lnTo>
                  <a:pt x="1211288" y="661807"/>
                </a:lnTo>
                <a:lnTo>
                  <a:pt x="1208252" y="680022"/>
                </a:lnTo>
                <a:lnTo>
                  <a:pt x="1202181" y="680022"/>
                </a:lnTo>
                <a:lnTo>
                  <a:pt x="1165751" y="683057"/>
                </a:lnTo>
                <a:lnTo>
                  <a:pt x="1159679" y="683057"/>
                </a:lnTo>
                <a:lnTo>
                  <a:pt x="1156644" y="676987"/>
                </a:lnTo>
                <a:lnTo>
                  <a:pt x="1153608" y="673950"/>
                </a:lnTo>
                <a:lnTo>
                  <a:pt x="1138429" y="680022"/>
                </a:lnTo>
                <a:lnTo>
                  <a:pt x="1126286" y="676987"/>
                </a:lnTo>
                <a:lnTo>
                  <a:pt x="1150572" y="652700"/>
                </a:lnTo>
                <a:lnTo>
                  <a:pt x="1159679" y="652700"/>
                </a:lnTo>
                <a:lnTo>
                  <a:pt x="1168787" y="646628"/>
                </a:lnTo>
                <a:close/>
                <a:moveTo>
                  <a:pt x="1445046" y="625377"/>
                </a:moveTo>
                <a:lnTo>
                  <a:pt x="1460225" y="631449"/>
                </a:lnTo>
                <a:lnTo>
                  <a:pt x="1484511" y="649664"/>
                </a:lnTo>
                <a:lnTo>
                  <a:pt x="1496654" y="658771"/>
                </a:lnTo>
                <a:lnTo>
                  <a:pt x="1508797" y="670915"/>
                </a:lnTo>
                <a:lnTo>
                  <a:pt x="1508797" y="704308"/>
                </a:lnTo>
                <a:lnTo>
                  <a:pt x="1502726" y="716452"/>
                </a:lnTo>
                <a:lnTo>
                  <a:pt x="1481476" y="722524"/>
                </a:lnTo>
                <a:lnTo>
                  <a:pt x="1469332" y="731631"/>
                </a:lnTo>
                <a:lnTo>
                  <a:pt x="1454153" y="710380"/>
                </a:lnTo>
                <a:lnTo>
                  <a:pt x="1457188" y="689129"/>
                </a:lnTo>
                <a:lnTo>
                  <a:pt x="1445046" y="680022"/>
                </a:lnTo>
                <a:lnTo>
                  <a:pt x="1435938" y="658771"/>
                </a:lnTo>
                <a:lnTo>
                  <a:pt x="1438974" y="640556"/>
                </a:lnTo>
                <a:close/>
                <a:moveTo>
                  <a:pt x="3685473" y="616270"/>
                </a:moveTo>
                <a:lnTo>
                  <a:pt x="3694581" y="628414"/>
                </a:lnTo>
                <a:lnTo>
                  <a:pt x="3708243" y="664843"/>
                </a:lnTo>
                <a:lnTo>
                  <a:pt x="3717350" y="689130"/>
                </a:lnTo>
                <a:lnTo>
                  <a:pt x="3702171" y="670915"/>
                </a:lnTo>
                <a:lnTo>
                  <a:pt x="3685473" y="634486"/>
                </a:lnTo>
                <a:lnTo>
                  <a:pt x="3682438" y="622342"/>
                </a:lnTo>
                <a:close/>
                <a:moveTo>
                  <a:pt x="3069204" y="613234"/>
                </a:moveTo>
                <a:lnTo>
                  <a:pt x="3069204" y="631448"/>
                </a:lnTo>
                <a:lnTo>
                  <a:pt x="3066169" y="634485"/>
                </a:lnTo>
                <a:lnTo>
                  <a:pt x="3060097" y="631448"/>
                </a:lnTo>
                <a:lnTo>
                  <a:pt x="3060097" y="625377"/>
                </a:lnTo>
                <a:lnTo>
                  <a:pt x="3066169" y="616269"/>
                </a:lnTo>
                <a:close/>
                <a:moveTo>
                  <a:pt x="3099563" y="582876"/>
                </a:moveTo>
                <a:lnTo>
                  <a:pt x="3102598" y="598055"/>
                </a:lnTo>
                <a:lnTo>
                  <a:pt x="3093491" y="607162"/>
                </a:lnTo>
                <a:lnTo>
                  <a:pt x="3093491" y="591983"/>
                </a:lnTo>
                <a:close/>
                <a:moveTo>
                  <a:pt x="1314505" y="567697"/>
                </a:moveTo>
                <a:lnTo>
                  <a:pt x="1338792" y="573769"/>
                </a:lnTo>
                <a:lnTo>
                  <a:pt x="1347899" y="595019"/>
                </a:lnTo>
                <a:lnTo>
                  <a:pt x="1353971" y="595019"/>
                </a:lnTo>
                <a:lnTo>
                  <a:pt x="1360043" y="598056"/>
                </a:lnTo>
                <a:lnTo>
                  <a:pt x="1372187" y="604127"/>
                </a:lnTo>
                <a:lnTo>
                  <a:pt x="1390401" y="619306"/>
                </a:lnTo>
                <a:lnTo>
                  <a:pt x="1411651" y="649664"/>
                </a:lnTo>
                <a:lnTo>
                  <a:pt x="1411651" y="670915"/>
                </a:lnTo>
                <a:lnTo>
                  <a:pt x="1414687" y="689129"/>
                </a:lnTo>
                <a:lnTo>
                  <a:pt x="1423795" y="701273"/>
                </a:lnTo>
                <a:lnTo>
                  <a:pt x="1423795" y="722524"/>
                </a:lnTo>
                <a:lnTo>
                  <a:pt x="1417723" y="725559"/>
                </a:lnTo>
                <a:lnTo>
                  <a:pt x="1408616" y="728595"/>
                </a:lnTo>
                <a:lnTo>
                  <a:pt x="1396473" y="728595"/>
                </a:lnTo>
                <a:lnTo>
                  <a:pt x="1384329" y="710380"/>
                </a:lnTo>
                <a:lnTo>
                  <a:pt x="1381294" y="695201"/>
                </a:lnTo>
                <a:lnTo>
                  <a:pt x="1378257" y="689129"/>
                </a:lnTo>
                <a:lnTo>
                  <a:pt x="1347899" y="673950"/>
                </a:lnTo>
                <a:lnTo>
                  <a:pt x="1317542" y="686094"/>
                </a:lnTo>
                <a:lnTo>
                  <a:pt x="1305398" y="676987"/>
                </a:lnTo>
                <a:lnTo>
                  <a:pt x="1299326" y="667879"/>
                </a:lnTo>
                <a:lnTo>
                  <a:pt x="1299326" y="655736"/>
                </a:lnTo>
                <a:lnTo>
                  <a:pt x="1320577" y="658771"/>
                </a:lnTo>
                <a:lnTo>
                  <a:pt x="1332720" y="646628"/>
                </a:lnTo>
                <a:lnTo>
                  <a:pt x="1332720" y="631449"/>
                </a:lnTo>
                <a:lnTo>
                  <a:pt x="1323613" y="616270"/>
                </a:lnTo>
                <a:lnTo>
                  <a:pt x="1314505" y="607163"/>
                </a:lnTo>
                <a:lnTo>
                  <a:pt x="1302362" y="601091"/>
                </a:lnTo>
                <a:lnTo>
                  <a:pt x="1287184" y="585912"/>
                </a:lnTo>
                <a:lnTo>
                  <a:pt x="1296291" y="570733"/>
                </a:lnTo>
                <a:close/>
                <a:moveTo>
                  <a:pt x="5578302" y="558588"/>
                </a:moveTo>
                <a:lnTo>
                  <a:pt x="5593481" y="570732"/>
                </a:lnTo>
                <a:lnTo>
                  <a:pt x="5590444" y="576804"/>
                </a:lnTo>
                <a:lnTo>
                  <a:pt x="5587409" y="585911"/>
                </a:lnTo>
                <a:lnTo>
                  <a:pt x="5578302" y="625376"/>
                </a:lnTo>
                <a:lnTo>
                  <a:pt x="5587409" y="610197"/>
                </a:lnTo>
                <a:lnTo>
                  <a:pt x="5599552" y="595018"/>
                </a:lnTo>
                <a:lnTo>
                  <a:pt x="5620802" y="607162"/>
                </a:lnTo>
                <a:lnTo>
                  <a:pt x="5635982" y="625376"/>
                </a:lnTo>
                <a:lnTo>
                  <a:pt x="5639017" y="655735"/>
                </a:lnTo>
                <a:lnTo>
                  <a:pt x="5635982" y="664842"/>
                </a:lnTo>
                <a:lnTo>
                  <a:pt x="5629910" y="673949"/>
                </a:lnTo>
                <a:lnTo>
                  <a:pt x="5620802" y="673949"/>
                </a:lnTo>
                <a:lnTo>
                  <a:pt x="5596516" y="686093"/>
                </a:lnTo>
                <a:lnTo>
                  <a:pt x="5569193" y="689128"/>
                </a:lnTo>
                <a:lnTo>
                  <a:pt x="5541872" y="704307"/>
                </a:lnTo>
                <a:lnTo>
                  <a:pt x="5529728" y="713415"/>
                </a:lnTo>
                <a:lnTo>
                  <a:pt x="5517585" y="713415"/>
                </a:lnTo>
                <a:lnTo>
                  <a:pt x="5563123" y="567696"/>
                </a:lnTo>
                <a:close/>
                <a:moveTo>
                  <a:pt x="3802353" y="485731"/>
                </a:moveTo>
                <a:lnTo>
                  <a:pt x="3811460" y="494838"/>
                </a:lnTo>
                <a:lnTo>
                  <a:pt x="3835747" y="519125"/>
                </a:lnTo>
                <a:lnTo>
                  <a:pt x="3850925" y="543411"/>
                </a:lnTo>
                <a:lnTo>
                  <a:pt x="3856997" y="582877"/>
                </a:lnTo>
                <a:lnTo>
                  <a:pt x="3866104" y="585912"/>
                </a:lnTo>
                <a:lnTo>
                  <a:pt x="3875213" y="601091"/>
                </a:lnTo>
                <a:lnTo>
                  <a:pt x="3884320" y="610198"/>
                </a:lnTo>
                <a:lnTo>
                  <a:pt x="3902534" y="619307"/>
                </a:lnTo>
                <a:lnTo>
                  <a:pt x="3908606" y="631449"/>
                </a:lnTo>
                <a:lnTo>
                  <a:pt x="3899499" y="646628"/>
                </a:lnTo>
                <a:lnTo>
                  <a:pt x="3881283" y="643593"/>
                </a:lnTo>
                <a:lnTo>
                  <a:pt x="3863069" y="658772"/>
                </a:lnTo>
                <a:lnTo>
                  <a:pt x="3860034" y="664843"/>
                </a:lnTo>
                <a:lnTo>
                  <a:pt x="3856997" y="676987"/>
                </a:lnTo>
                <a:lnTo>
                  <a:pt x="3856997" y="686094"/>
                </a:lnTo>
                <a:lnTo>
                  <a:pt x="3847890" y="722524"/>
                </a:lnTo>
                <a:lnTo>
                  <a:pt x="3838783" y="749846"/>
                </a:lnTo>
                <a:lnTo>
                  <a:pt x="3832711" y="761989"/>
                </a:lnTo>
                <a:lnTo>
                  <a:pt x="3817532" y="828777"/>
                </a:lnTo>
                <a:lnTo>
                  <a:pt x="3814496" y="843957"/>
                </a:lnTo>
                <a:lnTo>
                  <a:pt x="3805389" y="843957"/>
                </a:lnTo>
                <a:lnTo>
                  <a:pt x="3787173" y="816634"/>
                </a:lnTo>
                <a:lnTo>
                  <a:pt x="3778066" y="804490"/>
                </a:lnTo>
                <a:lnTo>
                  <a:pt x="3762887" y="786276"/>
                </a:lnTo>
                <a:lnTo>
                  <a:pt x="3753780" y="768061"/>
                </a:lnTo>
                <a:lnTo>
                  <a:pt x="3753780" y="755917"/>
                </a:lnTo>
                <a:lnTo>
                  <a:pt x="3756815" y="752882"/>
                </a:lnTo>
                <a:lnTo>
                  <a:pt x="3762887" y="749846"/>
                </a:lnTo>
                <a:lnTo>
                  <a:pt x="3765924" y="758954"/>
                </a:lnTo>
                <a:lnTo>
                  <a:pt x="3768959" y="755917"/>
                </a:lnTo>
                <a:lnTo>
                  <a:pt x="3771994" y="752882"/>
                </a:lnTo>
                <a:lnTo>
                  <a:pt x="3768959" y="743775"/>
                </a:lnTo>
                <a:lnTo>
                  <a:pt x="3756815" y="731631"/>
                </a:lnTo>
                <a:lnTo>
                  <a:pt x="3747708" y="734666"/>
                </a:lnTo>
                <a:lnTo>
                  <a:pt x="3744673" y="707345"/>
                </a:lnTo>
                <a:lnTo>
                  <a:pt x="3750744" y="701273"/>
                </a:lnTo>
                <a:lnTo>
                  <a:pt x="3759852" y="701273"/>
                </a:lnTo>
                <a:lnTo>
                  <a:pt x="3775031" y="695201"/>
                </a:lnTo>
                <a:lnTo>
                  <a:pt x="3787173" y="680022"/>
                </a:lnTo>
                <a:lnTo>
                  <a:pt x="3790210" y="664843"/>
                </a:lnTo>
                <a:lnTo>
                  <a:pt x="3781103" y="646628"/>
                </a:lnTo>
                <a:lnTo>
                  <a:pt x="3784138" y="622342"/>
                </a:lnTo>
                <a:lnTo>
                  <a:pt x="3775031" y="631449"/>
                </a:lnTo>
                <a:lnTo>
                  <a:pt x="3765924" y="640556"/>
                </a:lnTo>
                <a:lnTo>
                  <a:pt x="3768959" y="667879"/>
                </a:lnTo>
                <a:lnTo>
                  <a:pt x="3759852" y="680022"/>
                </a:lnTo>
                <a:lnTo>
                  <a:pt x="3750744" y="689130"/>
                </a:lnTo>
                <a:lnTo>
                  <a:pt x="3732529" y="683058"/>
                </a:lnTo>
                <a:lnTo>
                  <a:pt x="3714314" y="652700"/>
                </a:lnTo>
                <a:lnTo>
                  <a:pt x="3705207" y="634486"/>
                </a:lnTo>
                <a:lnTo>
                  <a:pt x="3699135" y="610198"/>
                </a:lnTo>
                <a:lnTo>
                  <a:pt x="3699135" y="595020"/>
                </a:lnTo>
                <a:lnTo>
                  <a:pt x="3691545" y="561626"/>
                </a:lnTo>
                <a:lnTo>
                  <a:pt x="3711279" y="513053"/>
                </a:lnTo>
                <a:lnTo>
                  <a:pt x="3738601" y="510018"/>
                </a:lnTo>
                <a:lnTo>
                  <a:pt x="3750744" y="506981"/>
                </a:lnTo>
                <a:lnTo>
                  <a:pt x="3753780" y="519125"/>
                </a:lnTo>
                <a:lnTo>
                  <a:pt x="3756815" y="537339"/>
                </a:lnTo>
                <a:lnTo>
                  <a:pt x="3765924" y="516089"/>
                </a:lnTo>
                <a:lnTo>
                  <a:pt x="3768959" y="519125"/>
                </a:lnTo>
                <a:lnTo>
                  <a:pt x="3781103" y="549483"/>
                </a:lnTo>
                <a:lnTo>
                  <a:pt x="3802353" y="607163"/>
                </a:lnTo>
                <a:lnTo>
                  <a:pt x="3793245" y="564662"/>
                </a:lnTo>
                <a:lnTo>
                  <a:pt x="3790210" y="506981"/>
                </a:lnTo>
                <a:close/>
                <a:moveTo>
                  <a:pt x="5344544" y="485729"/>
                </a:moveTo>
                <a:lnTo>
                  <a:pt x="5362759" y="485729"/>
                </a:lnTo>
                <a:lnTo>
                  <a:pt x="5390081" y="494836"/>
                </a:lnTo>
                <a:lnTo>
                  <a:pt x="5399189" y="500908"/>
                </a:lnTo>
                <a:lnTo>
                  <a:pt x="5402224" y="506980"/>
                </a:lnTo>
                <a:lnTo>
                  <a:pt x="5387045" y="522159"/>
                </a:lnTo>
                <a:lnTo>
                  <a:pt x="5362759" y="531266"/>
                </a:lnTo>
                <a:lnTo>
                  <a:pt x="5350615" y="516087"/>
                </a:lnTo>
                <a:lnTo>
                  <a:pt x="5344544" y="510016"/>
                </a:lnTo>
                <a:lnTo>
                  <a:pt x="5344544" y="488766"/>
                </a:lnTo>
                <a:close/>
                <a:moveTo>
                  <a:pt x="4448704" y="482003"/>
                </a:moveTo>
                <a:lnTo>
                  <a:pt x="4448981" y="482694"/>
                </a:lnTo>
                <a:lnTo>
                  <a:pt x="4445944" y="482694"/>
                </a:lnTo>
                <a:close/>
                <a:moveTo>
                  <a:pt x="1408616" y="473587"/>
                </a:moveTo>
                <a:lnTo>
                  <a:pt x="1417723" y="479658"/>
                </a:lnTo>
                <a:lnTo>
                  <a:pt x="1426831" y="482695"/>
                </a:lnTo>
                <a:lnTo>
                  <a:pt x="1429867" y="516088"/>
                </a:lnTo>
                <a:lnTo>
                  <a:pt x="1423795" y="528232"/>
                </a:lnTo>
                <a:lnTo>
                  <a:pt x="1402544" y="506981"/>
                </a:lnTo>
                <a:lnTo>
                  <a:pt x="1399508" y="482695"/>
                </a:lnTo>
                <a:close/>
                <a:moveTo>
                  <a:pt x="5481155" y="473586"/>
                </a:moveTo>
                <a:lnTo>
                  <a:pt x="5493299" y="485729"/>
                </a:lnTo>
                <a:lnTo>
                  <a:pt x="5508478" y="488766"/>
                </a:lnTo>
                <a:lnTo>
                  <a:pt x="5517585" y="494836"/>
                </a:lnTo>
                <a:lnTo>
                  <a:pt x="5529728" y="519124"/>
                </a:lnTo>
                <a:lnTo>
                  <a:pt x="5523657" y="564660"/>
                </a:lnTo>
                <a:lnTo>
                  <a:pt x="5526692" y="595018"/>
                </a:lnTo>
                <a:lnTo>
                  <a:pt x="5526692" y="613233"/>
                </a:lnTo>
                <a:lnTo>
                  <a:pt x="5517585" y="625376"/>
                </a:lnTo>
                <a:lnTo>
                  <a:pt x="5484192" y="625376"/>
                </a:lnTo>
                <a:lnTo>
                  <a:pt x="5469013" y="619305"/>
                </a:lnTo>
                <a:lnTo>
                  <a:pt x="5459904" y="610197"/>
                </a:lnTo>
                <a:lnTo>
                  <a:pt x="5441690" y="601090"/>
                </a:lnTo>
                <a:lnTo>
                  <a:pt x="5432583" y="601090"/>
                </a:lnTo>
                <a:lnTo>
                  <a:pt x="5420439" y="595018"/>
                </a:lnTo>
                <a:lnTo>
                  <a:pt x="5411332" y="564660"/>
                </a:lnTo>
                <a:lnTo>
                  <a:pt x="5399189" y="540374"/>
                </a:lnTo>
                <a:lnTo>
                  <a:pt x="5408296" y="513052"/>
                </a:lnTo>
                <a:lnTo>
                  <a:pt x="5417403" y="494836"/>
                </a:lnTo>
                <a:lnTo>
                  <a:pt x="5432583" y="482694"/>
                </a:lnTo>
                <a:lnTo>
                  <a:pt x="5456869" y="476622"/>
                </a:lnTo>
                <a:close/>
                <a:moveTo>
                  <a:pt x="4628094" y="449300"/>
                </a:moveTo>
                <a:lnTo>
                  <a:pt x="4643273" y="464479"/>
                </a:lnTo>
                <a:lnTo>
                  <a:pt x="4640236" y="485729"/>
                </a:lnTo>
                <a:lnTo>
                  <a:pt x="4631129" y="485729"/>
                </a:lnTo>
                <a:lnTo>
                  <a:pt x="4612914" y="479658"/>
                </a:lnTo>
                <a:lnTo>
                  <a:pt x="4615950" y="479658"/>
                </a:lnTo>
                <a:lnTo>
                  <a:pt x="4622022" y="452336"/>
                </a:lnTo>
                <a:close/>
                <a:moveTo>
                  <a:pt x="3942000" y="434122"/>
                </a:moveTo>
                <a:lnTo>
                  <a:pt x="3945036" y="458408"/>
                </a:lnTo>
                <a:lnTo>
                  <a:pt x="3942000" y="461444"/>
                </a:lnTo>
                <a:lnTo>
                  <a:pt x="3938964" y="473587"/>
                </a:lnTo>
                <a:lnTo>
                  <a:pt x="3948072" y="476623"/>
                </a:lnTo>
                <a:lnTo>
                  <a:pt x="3960215" y="461444"/>
                </a:lnTo>
                <a:lnTo>
                  <a:pt x="3969323" y="461444"/>
                </a:lnTo>
                <a:lnTo>
                  <a:pt x="3978430" y="464480"/>
                </a:lnTo>
                <a:lnTo>
                  <a:pt x="4002716" y="467516"/>
                </a:lnTo>
                <a:lnTo>
                  <a:pt x="4014860" y="470552"/>
                </a:lnTo>
                <a:lnTo>
                  <a:pt x="4027003" y="482695"/>
                </a:lnTo>
                <a:lnTo>
                  <a:pt x="4027003" y="491802"/>
                </a:lnTo>
                <a:lnTo>
                  <a:pt x="4005752" y="540376"/>
                </a:lnTo>
                <a:lnTo>
                  <a:pt x="3996644" y="561626"/>
                </a:lnTo>
                <a:lnTo>
                  <a:pt x="3984502" y="570734"/>
                </a:lnTo>
                <a:lnTo>
                  <a:pt x="3957179" y="585912"/>
                </a:lnTo>
                <a:lnTo>
                  <a:pt x="3945036" y="585912"/>
                </a:lnTo>
                <a:lnTo>
                  <a:pt x="3932893" y="573769"/>
                </a:lnTo>
                <a:lnTo>
                  <a:pt x="3929857" y="561626"/>
                </a:lnTo>
                <a:lnTo>
                  <a:pt x="3923785" y="561626"/>
                </a:lnTo>
                <a:lnTo>
                  <a:pt x="3908606" y="561626"/>
                </a:lnTo>
                <a:lnTo>
                  <a:pt x="3899499" y="567697"/>
                </a:lnTo>
                <a:lnTo>
                  <a:pt x="3884320" y="555555"/>
                </a:lnTo>
                <a:lnTo>
                  <a:pt x="3872176" y="546447"/>
                </a:lnTo>
                <a:lnTo>
                  <a:pt x="3863069" y="525197"/>
                </a:lnTo>
                <a:lnTo>
                  <a:pt x="3838783" y="503946"/>
                </a:lnTo>
                <a:lnTo>
                  <a:pt x="3832711" y="476623"/>
                </a:lnTo>
                <a:lnTo>
                  <a:pt x="3850925" y="470552"/>
                </a:lnTo>
                <a:lnTo>
                  <a:pt x="3878248" y="437157"/>
                </a:lnTo>
                <a:lnTo>
                  <a:pt x="3908606" y="461444"/>
                </a:lnTo>
                <a:lnTo>
                  <a:pt x="3914678" y="461444"/>
                </a:lnTo>
                <a:lnTo>
                  <a:pt x="3923785" y="488767"/>
                </a:lnTo>
                <a:lnTo>
                  <a:pt x="3929857" y="440194"/>
                </a:lnTo>
                <a:close/>
                <a:moveTo>
                  <a:pt x="4640236" y="434121"/>
                </a:moveTo>
                <a:lnTo>
                  <a:pt x="4652380" y="434121"/>
                </a:lnTo>
                <a:lnTo>
                  <a:pt x="4664523" y="434121"/>
                </a:lnTo>
                <a:lnTo>
                  <a:pt x="4676666" y="440193"/>
                </a:lnTo>
                <a:lnTo>
                  <a:pt x="4688809" y="452336"/>
                </a:lnTo>
                <a:lnTo>
                  <a:pt x="4655415" y="479658"/>
                </a:lnTo>
                <a:lnTo>
                  <a:pt x="4646308" y="473586"/>
                </a:lnTo>
                <a:close/>
                <a:moveTo>
                  <a:pt x="4600771" y="388584"/>
                </a:moveTo>
                <a:lnTo>
                  <a:pt x="4606843" y="391619"/>
                </a:lnTo>
                <a:lnTo>
                  <a:pt x="4618985" y="400727"/>
                </a:lnTo>
                <a:lnTo>
                  <a:pt x="4597735" y="409835"/>
                </a:lnTo>
                <a:lnTo>
                  <a:pt x="4588628" y="406798"/>
                </a:lnTo>
                <a:lnTo>
                  <a:pt x="4579520" y="400727"/>
                </a:lnTo>
                <a:lnTo>
                  <a:pt x="4579520" y="397691"/>
                </a:lnTo>
                <a:lnTo>
                  <a:pt x="4588628" y="391619"/>
                </a:lnTo>
                <a:close/>
                <a:moveTo>
                  <a:pt x="4439873" y="388584"/>
                </a:moveTo>
                <a:lnTo>
                  <a:pt x="4458088" y="388584"/>
                </a:lnTo>
                <a:lnTo>
                  <a:pt x="4470231" y="400727"/>
                </a:lnTo>
                <a:lnTo>
                  <a:pt x="4470231" y="418942"/>
                </a:lnTo>
                <a:lnTo>
                  <a:pt x="4461124" y="415907"/>
                </a:lnTo>
                <a:lnTo>
                  <a:pt x="4452016" y="400727"/>
                </a:lnTo>
                <a:lnTo>
                  <a:pt x="4439873" y="412870"/>
                </a:lnTo>
                <a:lnTo>
                  <a:pt x="4415586" y="440193"/>
                </a:lnTo>
                <a:lnTo>
                  <a:pt x="4403444" y="428049"/>
                </a:lnTo>
                <a:lnTo>
                  <a:pt x="4391300" y="415907"/>
                </a:lnTo>
                <a:lnTo>
                  <a:pt x="4394336" y="415907"/>
                </a:lnTo>
                <a:lnTo>
                  <a:pt x="4424694" y="403763"/>
                </a:lnTo>
                <a:close/>
                <a:moveTo>
                  <a:pt x="4740418" y="382512"/>
                </a:moveTo>
                <a:lnTo>
                  <a:pt x="4749525" y="400727"/>
                </a:lnTo>
                <a:lnTo>
                  <a:pt x="4746490" y="415907"/>
                </a:lnTo>
                <a:lnTo>
                  <a:pt x="4740418" y="428049"/>
                </a:lnTo>
                <a:lnTo>
                  <a:pt x="4725239" y="443228"/>
                </a:lnTo>
                <a:lnTo>
                  <a:pt x="4713096" y="443228"/>
                </a:lnTo>
                <a:lnTo>
                  <a:pt x="4688809" y="428049"/>
                </a:lnTo>
                <a:lnTo>
                  <a:pt x="4691845" y="397691"/>
                </a:lnTo>
                <a:lnTo>
                  <a:pt x="4697917" y="388584"/>
                </a:lnTo>
                <a:lnTo>
                  <a:pt x="4707024" y="388584"/>
                </a:lnTo>
                <a:lnTo>
                  <a:pt x="4716132" y="391619"/>
                </a:lnTo>
                <a:close/>
                <a:moveTo>
                  <a:pt x="4497554" y="379477"/>
                </a:moveTo>
                <a:lnTo>
                  <a:pt x="4521840" y="394656"/>
                </a:lnTo>
                <a:lnTo>
                  <a:pt x="4530947" y="400727"/>
                </a:lnTo>
                <a:lnTo>
                  <a:pt x="4533984" y="409835"/>
                </a:lnTo>
                <a:lnTo>
                  <a:pt x="4521840" y="421977"/>
                </a:lnTo>
                <a:lnTo>
                  <a:pt x="4494517" y="431086"/>
                </a:lnTo>
                <a:lnTo>
                  <a:pt x="4482374" y="440193"/>
                </a:lnTo>
                <a:lnTo>
                  <a:pt x="4473267" y="446265"/>
                </a:lnTo>
                <a:lnTo>
                  <a:pt x="4470231" y="461444"/>
                </a:lnTo>
                <a:lnTo>
                  <a:pt x="4467195" y="476622"/>
                </a:lnTo>
                <a:lnTo>
                  <a:pt x="4458088" y="479658"/>
                </a:lnTo>
                <a:lnTo>
                  <a:pt x="4448704" y="482003"/>
                </a:lnTo>
                <a:lnTo>
                  <a:pt x="4442909" y="467515"/>
                </a:lnTo>
                <a:lnTo>
                  <a:pt x="4433802" y="470551"/>
                </a:lnTo>
                <a:lnTo>
                  <a:pt x="4427730" y="458407"/>
                </a:lnTo>
                <a:lnTo>
                  <a:pt x="4433802" y="449300"/>
                </a:lnTo>
                <a:lnTo>
                  <a:pt x="4442909" y="455372"/>
                </a:lnTo>
                <a:lnTo>
                  <a:pt x="4442909" y="437156"/>
                </a:lnTo>
                <a:lnTo>
                  <a:pt x="4458088" y="428049"/>
                </a:lnTo>
                <a:lnTo>
                  <a:pt x="4464160" y="425014"/>
                </a:lnTo>
                <a:lnTo>
                  <a:pt x="4473267" y="434121"/>
                </a:lnTo>
                <a:lnTo>
                  <a:pt x="4488446" y="415907"/>
                </a:lnTo>
                <a:lnTo>
                  <a:pt x="4488446" y="403763"/>
                </a:lnTo>
                <a:lnTo>
                  <a:pt x="4485410" y="406798"/>
                </a:lnTo>
                <a:lnTo>
                  <a:pt x="4482374" y="406798"/>
                </a:lnTo>
                <a:lnTo>
                  <a:pt x="4476303" y="403763"/>
                </a:lnTo>
                <a:close/>
                <a:moveTo>
                  <a:pt x="4603806" y="361261"/>
                </a:moveTo>
                <a:lnTo>
                  <a:pt x="4612914" y="367333"/>
                </a:lnTo>
                <a:lnTo>
                  <a:pt x="4622022" y="361261"/>
                </a:lnTo>
                <a:lnTo>
                  <a:pt x="4637201" y="373405"/>
                </a:lnTo>
                <a:lnTo>
                  <a:pt x="4649343" y="388584"/>
                </a:lnTo>
                <a:lnTo>
                  <a:pt x="4655415" y="394656"/>
                </a:lnTo>
                <a:lnTo>
                  <a:pt x="4649343" y="403763"/>
                </a:lnTo>
                <a:lnTo>
                  <a:pt x="4640236" y="406798"/>
                </a:lnTo>
                <a:lnTo>
                  <a:pt x="4625057" y="388584"/>
                </a:lnTo>
                <a:lnTo>
                  <a:pt x="4606843" y="379477"/>
                </a:lnTo>
                <a:lnTo>
                  <a:pt x="4594699" y="373405"/>
                </a:lnTo>
                <a:lnTo>
                  <a:pt x="4588628" y="364297"/>
                </a:lnTo>
                <a:close/>
                <a:moveTo>
                  <a:pt x="4625057" y="346083"/>
                </a:moveTo>
                <a:lnTo>
                  <a:pt x="4646308" y="352154"/>
                </a:lnTo>
                <a:lnTo>
                  <a:pt x="4658451" y="358226"/>
                </a:lnTo>
                <a:lnTo>
                  <a:pt x="4667559" y="373405"/>
                </a:lnTo>
                <a:lnTo>
                  <a:pt x="4646308" y="373405"/>
                </a:lnTo>
                <a:lnTo>
                  <a:pt x="4634164" y="358226"/>
                </a:lnTo>
                <a:close/>
                <a:moveTo>
                  <a:pt x="4804170" y="343046"/>
                </a:moveTo>
                <a:lnTo>
                  <a:pt x="4816314" y="361261"/>
                </a:lnTo>
                <a:lnTo>
                  <a:pt x="4813277" y="379477"/>
                </a:lnTo>
                <a:lnTo>
                  <a:pt x="4807206" y="391619"/>
                </a:lnTo>
                <a:lnTo>
                  <a:pt x="4782919" y="403763"/>
                </a:lnTo>
                <a:lnTo>
                  <a:pt x="4767741" y="406798"/>
                </a:lnTo>
                <a:lnTo>
                  <a:pt x="4755597" y="394656"/>
                </a:lnTo>
                <a:lnTo>
                  <a:pt x="4755597" y="388584"/>
                </a:lnTo>
                <a:lnTo>
                  <a:pt x="4779883" y="358226"/>
                </a:lnTo>
                <a:close/>
                <a:moveTo>
                  <a:pt x="5341508" y="336975"/>
                </a:moveTo>
                <a:lnTo>
                  <a:pt x="5353652" y="349118"/>
                </a:lnTo>
                <a:lnTo>
                  <a:pt x="5335436" y="358226"/>
                </a:lnTo>
                <a:lnTo>
                  <a:pt x="5323293" y="355189"/>
                </a:lnTo>
                <a:lnTo>
                  <a:pt x="5323293" y="340010"/>
                </a:lnTo>
                <a:close/>
                <a:moveTo>
                  <a:pt x="5438654" y="321796"/>
                </a:moveTo>
                <a:lnTo>
                  <a:pt x="5447762" y="333939"/>
                </a:lnTo>
                <a:lnTo>
                  <a:pt x="5456869" y="355189"/>
                </a:lnTo>
                <a:lnTo>
                  <a:pt x="5465976" y="373405"/>
                </a:lnTo>
                <a:lnTo>
                  <a:pt x="5475083" y="382512"/>
                </a:lnTo>
                <a:lnTo>
                  <a:pt x="5487227" y="394655"/>
                </a:lnTo>
                <a:lnTo>
                  <a:pt x="5484192" y="400726"/>
                </a:lnTo>
                <a:lnTo>
                  <a:pt x="5478120" y="403763"/>
                </a:lnTo>
                <a:lnTo>
                  <a:pt x="5472048" y="403763"/>
                </a:lnTo>
                <a:lnTo>
                  <a:pt x="5469013" y="415906"/>
                </a:lnTo>
                <a:lnTo>
                  <a:pt x="5469013" y="425013"/>
                </a:lnTo>
                <a:lnTo>
                  <a:pt x="5475083" y="449299"/>
                </a:lnTo>
                <a:lnTo>
                  <a:pt x="5456869" y="461443"/>
                </a:lnTo>
                <a:lnTo>
                  <a:pt x="5402224" y="485729"/>
                </a:lnTo>
                <a:lnTo>
                  <a:pt x="5374903" y="473586"/>
                </a:lnTo>
                <a:lnTo>
                  <a:pt x="5365794" y="464478"/>
                </a:lnTo>
                <a:lnTo>
                  <a:pt x="5350615" y="449299"/>
                </a:lnTo>
                <a:lnTo>
                  <a:pt x="5368831" y="425013"/>
                </a:lnTo>
                <a:lnTo>
                  <a:pt x="5380973" y="425013"/>
                </a:lnTo>
                <a:lnTo>
                  <a:pt x="5387045" y="391619"/>
                </a:lnTo>
                <a:lnTo>
                  <a:pt x="5377938" y="394655"/>
                </a:lnTo>
                <a:lnTo>
                  <a:pt x="5374903" y="391619"/>
                </a:lnTo>
                <a:lnTo>
                  <a:pt x="5377938" y="376440"/>
                </a:lnTo>
                <a:lnTo>
                  <a:pt x="5396152" y="355189"/>
                </a:lnTo>
                <a:lnTo>
                  <a:pt x="5435618" y="330903"/>
                </a:lnTo>
                <a:close/>
                <a:moveTo>
                  <a:pt x="1536119" y="315725"/>
                </a:moveTo>
                <a:lnTo>
                  <a:pt x="1560407" y="333940"/>
                </a:lnTo>
                <a:lnTo>
                  <a:pt x="1572549" y="355190"/>
                </a:lnTo>
                <a:lnTo>
                  <a:pt x="1584693" y="394656"/>
                </a:lnTo>
                <a:lnTo>
                  <a:pt x="1599872" y="425014"/>
                </a:lnTo>
                <a:lnTo>
                  <a:pt x="1612015" y="428050"/>
                </a:lnTo>
                <a:lnTo>
                  <a:pt x="1624158" y="428050"/>
                </a:lnTo>
                <a:lnTo>
                  <a:pt x="1636301" y="449300"/>
                </a:lnTo>
                <a:lnTo>
                  <a:pt x="1639337" y="440193"/>
                </a:lnTo>
                <a:lnTo>
                  <a:pt x="1645409" y="440193"/>
                </a:lnTo>
                <a:lnTo>
                  <a:pt x="1654516" y="443229"/>
                </a:lnTo>
                <a:lnTo>
                  <a:pt x="1657553" y="449300"/>
                </a:lnTo>
                <a:lnTo>
                  <a:pt x="1669695" y="491802"/>
                </a:lnTo>
                <a:lnTo>
                  <a:pt x="1672731" y="510017"/>
                </a:lnTo>
                <a:lnTo>
                  <a:pt x="1678803" y="534303"/>
                </a:lnTo>
                <a:lnTo>
                  <a:pt x="1681839" y="534303"/>
                </a:lnTo>
                <a:lnTo>
                  <a:pt x="1690946" y="537339"/>
                </a:lnTo>
                <a:lnTo>
                  <a:pt x="1703089" y="546447"/>
                </a:lnTo>
                <a:lnTo>
                  <a:pt x="1712196" y="573769"/>
                </a:lnTo>
                <a:lnTo>
                  <a:pt x="1712196" y="579840"/>
                </a:lnTo>
                <a:lnTo>
                  <a:pt x="1703089" y="585912"/>
                </a:lnTo>
                <a:lnTo>
                  <a:pt x="1690946" y="595019"/>
                </a:lnTo>
                <a:lnTo>
                  <a:pt x="1678803" y="601091"/>
                </a:lnTo>
                <a:lnTo>
                  <a:pt x="1666659" y="625377"/>
                </a:lnTo>
                <a:lnTo>
                  <a:pt x="1657553" y="643593"/>
                </a:lnTo>
                <a:lnTo>
                  <a:pt x="1651480" y="649664"/>
                </a:lnTo>
                <a:lnTo>
                  <a:pt x="1648445" y="661807"/>
                </a:lnTo>
                <a:lnTo>
                  <a:pt x="1639337" y="673950"/>
                </a:lnTo>
                <a:lnTo>
                  <a:pt x="1627194" y="692166"/>
                </a:lnTo>
                <a:lnTo>
                  <a:pt x="1615051" y="680022"/>
                </a:lnTo>
                <a:lnTo>
                  <a:pt x="1590765" y="695201"/>
                </a:lnTo>
                <a:lnTo>
                  <a:pt x="1566478" y="689129"/>
                </a:lnTo>
                <a:lnTo>
                  <a:pt x="1554335" y="676987"/>
                </a:lnTo>
                <a:lnTo>
                  <a:pt x="1548263" y="664843"/>
                </a:lnTo>
                <a:lnTo>
                  <a:pt x="1542191" y="649664"/>
                </a:lnTo>
                <a:lnTo>
                  <a:pt x="1539155" y="646628"/>
                </a:lnTo>
                <a:lnTo>
                  <a:pt x="1533084" y="634485"/>
                </a:lnTo>
                <a:lnTo>
                  <a:pt x="1523977" y="619306"/>
                </a:lnTo>
                <a:lnTo>
                  <a:pt x="1520941" y="607163"/>
                </a:lnTo>
                <a:lnTo>
                  <a:pt x="1539155" y="588948"/>
                </a:lnTo>
                <a:lnTo>
                  <a:pt x="1551298" y="588948"/>
                </a:lnTo>
                <a:lnTo>
                  <a:pt x="1548263" y="564661"/>
                </a:lnTo>
                <a:lnTo>
                  <a:pt x="1542191" y="567697"/>
                </a:lnTo>
                <a:lnTo>
                  <a:pt x="1514869" y="576805"/>
                </a:lnTo>
                <a:lnTo>
                  <a:pt x="1502726" y="576805"/>
                </a:lnTo>
                <a:lnTo>
                  <a:pt x="1493618" y="567697"/>
                </a:lnTo>
                <a:lnTo>
                  <a:pt x="1490583" y="561626"/>
                </a:lnTo>
                <a:lnTo>
                  <a:pt x="1487546" y="543411"/>
                </a:lnTo>
                <a:lnTo>
                  <a:pt x="1481476" y="522160"/>
                </a:lnTo>
                <a:lnTo>
                  <a:pt x="1472368" y="491802"/>
                </a:lnTo>
                <a:lnTo>
                  <a:pt x="1469332" y="461444"/>
                </a:lnTo>
                <a:lnTo>
                  <a:pt x="1472368" y="443229"/>
                </a:lnTo>
                <a:lnTo>
                  <a:pt x="1484511" y="415907"/>
                </a:lnTo>
                <a:lnTo>
                  <a:pt x="1499690" y="376441"/>
                </a:lnTo>
                <a:lnTo>
                  <a:pt x="1508797" y="355190"/>
                </a:lnTo>
                <a:lnTo>
                  <a:pt x="1520941" y="318761"/>
                </a:lnTo>
                <a:close/>
                <a:moveTo>
                  <a:pt x="4655415" y="288402"/>
                </a:moveTo>
                <a:lnTo>
                  <a:pt x="4673630" y="312688"/>
                </a:lnTo>
                <a:lnTo>
                  <a:pt x="4658451" y="315725"/>
                </a:lnTo>
                <a:lnTo>
                  <a:pt x="4637201" y="306616"/>
                </a:lnTo>
                <a:lnTo>
                  <a:pt x="4637201" y="303581"/>
                </a:lnTo>
                <a:close/>
                <a:moveTo>
                  <a:pt x="3069204" y="261081"/>
                </a:moveTo>
                <a:lnTo>
                  <a:pt x="3087419" y="276259"/>
                </a:lnTo>
                <a:lnTo>
                  <a:pt x="3081348" y="279296"/>
                </a:lnTo>
                <a:close/>
                <a:moveTo>
                  <a:pt x="3041883" y="200364"/>
                </a:moveTo>
                <a:lnTo>
                  <a:pt x="3050990" y="215543"/>
                </a:lnTo>
                <a:lnTo>
                  <a:pt x="3060097" y="245901"/>
                </a:lnTo>
                <a:lnTo>
                  <a:pt x="3047953" y="242865"/>
                </a:lnTo>
                <a:lnTo>
                  <a:pt x="3038846" y="218578"/>
                </a:lnTo>
                <a:close/>
                <a:moveTo>
                  <a:pt x="2377040" y="179113"/>
                </a:moveTo>
                <a:lnTo>
                  <a:pt x="2389184" y="194292"/>
                </a:lnTo>
                <a:lnTo>
                  <a:pt x="2410434" y="227686"/>
                </a:lnTo>
                <a:lnTo>
                  <a:pt x="2407398" y="230722"/>
                </a:lnTo>
                <a:lnTo>
                  <a:pt x="2386147" y="224650"/>
                </a:lnTo>
                <a:lnTo>
                  <a:pt x="2370968" y="212506"/>
                </a:lnTo>
                <a:lnTo>
                  <a:pt x="2364897" y="188220"/>
                </a:lnTo>
                <a:close/>
                <a:moveTo>
                  <a:pt x="2459007" y="145719"/>
                </a:moveTo>
                <a:lnTo>
                  <a:pt x="2468115" y="145719"/>
                </a:lnTo>
                <a:lnTo>
                  <a:pt x="2474186" y="157862"/>
                </a:lnTo>
                <a:lnTo>
                  <a:pt x="2468115" y="166969"/>
                </a:lnTo>
                <a:close/>
                <a:moveTo>
                  <a:pt x="2495436" y="124468"/>
                </a:moveTo>
                <a:lnTo>
                  <a:pt x="2519724" y="136612"/>
                </a:lnTo>
                <a:lnTo>
                  <a:pt x="2544010" y="170006"/>
                </a:lnTo>
                <a:lnTo>
                  <a:pt x="2540974" y="185185"/>
                </a:lnTo>
                <a:lnTo>
                  <a:pt x="2537938" y="215543"/>
                </a:lnTo>
                <a:lnTo>
                  <a:pt x="2528831" y="218578"/>
                </a:lnTo>
                <a:lnTo>
                  <a:pt x="2501508" y="182148"/>
                </a:lnTo>
                <a:lnTo>
                  <a:pt x="2489365" y="163934"/>
                </a:lnTo>
                <a:lnTo>
                  <a:pt x="2474186" y="133576"/>
                </a:lnTo>
                <a:lnTo>
                  <a:pt x="2486329" y="127504"/>
                </a:lnTo>
                <a:close/>
                <a:moveTo>
                  <a:pt x="2468115" y="88038"/>
                </a:moveTo>
                <a:lnTo>
                  <a:pt x="2474186" y="88038"/>
                </a:lnTo>
                <a:lnTo>
                  <a:pt x="2480257" y="94110"/>
                </a:lnTo>
                <a:lnTo>
                  <a:pt x="2486329" y="103217"/>
                </a:lnTo>
                <a:lnTo>
                  <a:pt x="2480257" y="106254"/>
                </a:lnTo>
                <a:lnTo>
                  <a:pt x="2468115" y="106254"/>
                </a:lnTo>
                <a:close/>
                <a:moveTo>
                  <a:pt x="2006670" y="51609"/>
                </a:moveTo>
                <a:lnTo>
                  <a:pt x="2015777" y="51609"/>
                </a:lnTo>
                <a:lnTo>
                  <a:pt x="2024884" y="51609"/>
                </a:lnTo>
                <a:lnTo>
                  <a:pt x="2027921" y="51609"/>
                </a:lnTo>
                <a:lnTo>
                  <a:pt x="2027921" y="63753"/>
                </a:lnTo>
                <a:lnTo>
                  <a:pt x="2030956" y="69825"/>
                </a:lnTo>
                <a:lnTo>
                  <a:pt x="2040064" y="72860"/>
                </a:lnTo>
                <a:lnTo>
                  <a:pt x="2052207" y="69825"/>
                </a:lnTo>
                <a:lnTo>
                  <a:pt x="2064350" y="72860"/>
                </a:lnTo>
                <a:lnTo>
                  <a:pt x="2076494" y="75896"/>
                </a:lnTo>
                <a:lnTo>
                  <a:pt x="2088636" y="78932"/>
                </a:lnTo>
                <a:lnTo>
                  <a:pt x="2097744" y="81967"/>
                </a:lnTo>
                <a:lnTo>
                  <a:pt x="2100780" y="100182"/>
                </a:lnTo>
                <a:lnTo>
                  <a:pt x="2112924" y="94111"/>
                </a:lnTo>
                <a:lnTo>
                  <a:pt x="2125066" y="85004"/>
                </a:lnTo>
                <a:lnTo>
                  <a:pt x="2155424" y="100182"/>
                </a:lnTo>
                <a:lnTo>
                  <a:pt x="2164532" y="133576"/>
                </a:lnTo>
                <a:lnTo>
                  <a:pt x="2176675" y="148756"/>
                </a:lnTo>
                <a:lnTo>
                  <a:pt x="2200962" y="163935"/>
                </a:lnTo>
                <a:lnTo>
                  <a:pt x="2200962" y="197328"/>
                </a:lnTo>
                <a:lnTo>
                  <a:pt x="2188818" y="215543"/>
                </a:lnTo>
                <a:lnTo>
                  <a:pt x="2164532" y="242866"/>
                </a:lnTo>
                <a:lnTo>
                  <a:pt x="2149353" y="255009"/>
                </a:lnTo>
                <a:lnTo>
                  <a:pt x="2137210" y="297510"/>
                </a:lnTo>
                <a:lnTo>
                  <a:pt x="2112924" y="333940"/>
                </a:lnTo>
                <a:lnTo>
                  <a:pt x="2103815" y="340011"/>
                </a:lnTo>
                <a:lnTo>
                  <a:pt x="2091673" y="358227"/>
                </a:lnTo>
                <a:lnTo>
                  <a:pt x="2064350" y="391620"/>
                </a:lnTo>
                <a:lnTo>
                  <a:pt x="2043100" y="418943"/>
                </a:lnTo>
                <a:lnTo>
                  <a:pt x="2033992" y="446265"/>
                </a:lnTo>
                <a:lnTo>
                  <a:pt x="2024884" y="458408"/>
                </a:lnTo>
                <a:lnTo>
                  <a:pt x="1997563" y="519125"/>
                </a:lnTo>
                <a:lnTo>
                  <a:pt x="1973276" y="531267"/>
                </a:lnTo>
                <a:lnTo>
                  <a:pt x="1961133" y="528232"/>
                </a:lnTo>
                <a:lnTo>
                  <a:pt x="1958097" y="543411"/>
                </a:lnTo>
                <a:lnTo>
                  <a:pt x="1955061" y="549482"/>
                </a:lnTo>
                <a:lnTo>
                  <a:pt x="1939882" y="558590"/>
                </a:lnTo>
                <a:lnTo>
                  <a:pt x="1933811" y="558590"/>
                </a:lnTo>
                <a:lnTo>
                  <a:pt x="1930774" y="585912"/>
                </a:lnTo>
                <a:lnTo>
                  <a:pt x="1924703" y="637521"/>
                </a:lnTo>
                <a:lnTo>
                  <a:pt x="1918632" y="680022"/>
                </a:lnTo>
                <a:lnTo>
                  <a:pt x="1906488" y="701273"/>
                </a:lnTo>
                <a:lnTo>
                  <a:pt x="1897381" y="713416"/>
                </a:lnTo>
                <a:lnTo>
                  <a:pt x="1870058" y="716452"/>
                </a:lnTo>
                <a:lnTo>
                  <a:pt x="1857915" y="713416"/>
                </a:lnTo>
                <a:lnTo>
                  <a:pt x="1848808" y="719487"/>
                </a:lnTo>
                <a:lnTo>
                  <a:pt x="1854879" y="728595"/>
                </a:lnTo>
                <a:lnTo>
                  <a:pt x="1860951" y="749846"/>
                </a:lnTo>
                <a:lnTo>
                  <a:pt x="1848808" y="771096"/>
                </a:lnTo>
                <a:lnTo>
                  <a:pt x="1842736" y="777168"/>
                </a:lnTo>
                <a:lnTo>
                  <a:pt x="1833629" y="789311"/>
                </a:lnTo>
                <a:lnTo>
                  <a:pt x="1830593" y="807527"/>
                </a:lnTo>
                <a:lnTo>
                  <a:pt x="1836665" y="819669"/>
                </a:lnTo>
                <a:lnTo>
                  <a:pt x="1842736" y="816634"/>
                </a:lnTo>
                <a:lnTo>
                  <a:pt x="1860951" y="822705"/>
                </a:lnTo>
                <a:lnTo>
                  <a:pt x="1860951" y="837884"/>
                </a:lnTo>
                <a:lnTo>
                  <a:pt x="1851844" y="850027"/>
                </a:lnTo>
                <a:lnTo>
                  <a:pt x="1839700" y="859135"/>
                </a:lnTo>
                <a:lnTo>
                  <a:pt x="1827557" y="868242"/>
                </a:lnTo>
                <a:lnTo>
                  <a:pt x="1818450" y="871278"/>
                </a:lnTo>
                <a:lnTo>
                  <a:pt x="1803271" y="880386"/>
                </a:lnTo>
                <a:lnTo>
                  <a:pt x="1800234" y="880386"/>
                </a:lnTo>
                <a:lnTo>
                  <a:pt x="1794164" y="883421"/>
                </a:lnTo>
                <a:lnTo>
                  <a:pt x="1800234" y="859135"/>
                </a:lnTo>
                <a:lnTo>
                  <a:pt x="1791127" y="850027"/>
                </a:lnTo>
                <a:lnTo>
                  <a:pt x="1782020" y="853063"/>
                </a:lnTo>
                <a:lnTo>
                  <a:pt x="1775948" y="853063"/>
                </a:lnTo>
                <a:lnTo>
                  <a:pt x="1772913" y="856099"/>
                </a:lnTo>
                <a:lnTo>
                  <a:pt x="1760769" y="859135"/>
                </a:lnTo>
                <a:lnTo>
                  <a:pt x="1745590" y="859135"/>
                </a:lnTo>
                <a:lnTo>
                  <a:pt x="1736483" y="850027"/>
                </a:lnTo>
                <a:lnTo>
                  <a:pt x="1721304" y="856099"/>
                </a:lnTo>
                <a:lnTo>
                  <a:pt x="1724340" y="865206"/>
                </a:lnTo>
                <a:lnTo>
                  <a:pt x="1712196" y="868242"/>
                </a:lnTo>
                <a:lnTo>
                  <a:pt x="1700054" y="865206"/>
                </a:lnTo>
                <a:lnTo>
                  <a:pt x="1687910" y="862171"/>
                </a:lnTo>
                <a:lnTo>
                  <a:pt x="1675767" y="865206"/>
                </a:lnTo>
                <a:lnTo>
                  <a:pt x="1648445" y="862171"/>
                </a:lnTo>
                <a:lnTo>
                  <a:pt x="1621122" y="850027"/>
                </a:lnTo>
                <a:lnTo>
                  <a:pt x="1618086" y="834848"/>
                </a:lnTo>
                <a:lnTo>
                  <a:pt x="1621122" y="816634"/>
                </a:lnTo>
                <a:lnTo>
                  <a:pt x="1636301" y="798418"/>
                </a:lnTo>
                <a:lnTo>
                  <a:pt x="1660588" y="792347"/>
                </a:lnTo>
                <a:lnTo>
                  <a:pt x="1651480" y="758953"/>
                </a:lnTo>
                <a:lnTo>
                  <a:pt x="1648445" y="728595"/>
                </a:lnTo>
                <a:lnTo>
                  <a:pt x="1672731" y="722524"/>
                </a:lnTo>
                <a:lnTo>
                  <a:pt x="1684875" y="728595"/>
                </a:lnTo>
                <a:lnTo>
                  <a:pt x="1697017" y="761989"/>
                </a:lnTo>
                <a:lnTo>
                  <a:pt x="1706124" y="771096"/>
                </a:lnTo>
                <a:lnTo>
                  <a:pt x="1721304" y="774132"/>
                </a:lnTo>
                <a:lnTo>
                  <a:pt x="1721304" y="768060"/>
                </a:lnTo>
                <a:lnTo>
                  <a:pt x="1721304" y="761989"/>
                </a:lnTo>
                <a:lnTo>
                  <a:pt x="1712196" y="749846"/>
                </a:lnTo>
                <a:lnTo>
                  <a:pt x="1706124" y="743774"/>
                </a:lnTo>
                <a:lnTo>
                  <a:pt x="1703089" y="719487"/>
                </a:lnTo>
                <a:lnTo>
                  <a:pt x="1690946" y="704308"/>
                </a:lnTo>
                <a:lnTo>
                  <a:pt x="1681839" y="701273"/>
                </a:lnTo>
                <a:lnTo>
                  <a:pt x="1663624" y="698236"/>
                </a:lnTo>
                <a:lnTo>
                  <a:pt x="1660588" y="698236"/>
                </a:lnTo>
                <a:lnTo>
                  <a:pt x="1660588" y="667879"/>
                </a:lnTo>
                <a:lnTo>
                  <a:pt x="1669695" y="646628"/>
                </a:lnTo>
                <a:lnTo>
                  <a:pt x="1678803" y="628414"/>
                </a:lnTo>
                <a:lnTo>
                  <a:pt x="1706124" y="619306"/>
                </a:lnTo>
                <a:lnTo>
                  <a:pt x="1712196" y="616270"/>
                </a:lnTo>
                <a:lnTo>
                  <a:pt x="1718268" y="598056"/>
                </a:lnTo>
                <a:lnTo>
                  <a:pt x="1727375" y="585912"/>
                </a:lnTo>
                <a:lnTo>
                  <a:pt x="1706124" y="528232"/>
                </a:lnTo>
                <a:lnTo>
                  <a:pt x="1693982" y="528232"/>
                </a:lnTo>
                <a:lnTo>
                  <a:pt x="1684875" y="525196"/>
                </a:lnTo>
                <a:lnTo>
                  <a:pt x="1681839" y="519125"/>
                </a:lnTo>
                <a:lnTo>
                  <a:pt x="1678803" y="488767"/>
                </a:lnTo>
                <a:lnTo>
                  <a:pt x="1678803" y="467516"/>
                </a:lnTo>
                <a:lnTo>
                  <a:pt x="1681839" y="455372"/>
                </a:lnTo>
                <a:lnTo>
                  <a:pt x="1687910" y="452337"/>
                </a:lnTo>
                <a:lnTo>
                  <a:pt x="1718268" y="458408"/>
                </a:lnTo>
                <a:lnTo>
                  <a:pt x="1736483" y="464480"/>
                </a:lnTo>
                <a:lnTo>
                  <a:pt x="1748626" y="455372"/>
                </a:lnTo>
                <a:lnTo>
                  <a:pt x="1751662" y="418943"/>
                </a:lnTo>
                <a:lnTo>
                  <a:pt x="1739519" y="415907"/>
                </a:lnTo>
                <a:lnTo>
                  <a:pt x="1736483" y="421978"/>
                </a:lnTo>
                <a:lnTo>
                  <a:pt x="1733447" y="428050"/>
                </a:lnTo>
                <a:lnTo>
                  <a:pt x="1712196" y="431086"/>
                </a:lnTo>
                <a:lnTo>
                  <a:pt x="1693982" y="428050"/>
                </a:lnTo>
                <a:lnTo>
                  <a:pt x="1684875" y="425014"/>
                </a:lnTo>
                <a:lnTo>
                  <a:pt x="1675767" y="418943"/>
                </a:lnTo>
                <a:lnTo>
                  <a:pt x="1639337" y="400727"/>
                </a:lnTo>
                <a:lnTo>
                  <a:pt x="1618086" y="373406"/>
                </a:lnTo>
                <a:lnTo>
                  <a:pt x="1602907" y="346083"/>
                </a:lnTo>
                <a:lnTo>
                  <a:pt x="1602907" y="343047"/>
                </a:lnTo>
                <a:lnTo>
                  <a:pt x="1599872" y="318761"/>
                </a:lnTo>
                <a:lnTo>
                  <a:pt x="1593800" y="300546"/>
                </a:lnTo>
                <a:lnTo>
                  <a:pt x="1587728" y="285367"/>
                </a:lnTo>
                <a:lnTo>
                  <a:pt x="1578621" y="294475"/>
                </a:lnTo>
                <a:lnTo>
                  <a:pt x="1569514" y="282331"/>
                </a:lnTo>
                <a:lnTo>
                  <a:pt x="1578621" y="261080"/>
                </a:lnTo>
                <a:lnTo>
                  <a:pt x="1633265" y="224651"/>
                </a:lnTo>
                <a:lnTo>
                  <a:pt x="1672731" y="197328"/>
                </a:lnTo>
                <a:lnTo>
                  <a:pt x="1706124" y="185186"/>
                </a:lnTo>
                <a:lnTo>
                  <a:pt x="1700054" y="166970"/>
                </a:lnTo>
                <a:lnTo>
                  <a:pt x="1693982" y="163935"/>
                </a:lnTo>
                <a:lnTo>
                  <a:pt x="1706124" y="154827"/>
                </a:lnTo>
                <a:lnTo>
                  <a:pt x="1718268" y="154827"/>
                </a:lnTo>
                <a:lnTo>
                  <a:pt x="1742555" y="179114"/>
                </a:lnTo>
                <a:lnTo>
                  <a:pt x="1751662" y="185186"/>
                </a:lnTo>
                <a:lnTo>
                  <a:pt x="1757734" y="176077"/>
                </a:lnTo>
                <a:lnTo>
                  <a:pt x="1769877" y="127505"/>
                </a:lnTo>
                <a:lnTo>
                  <a:pt x="1782020" y="103218"/>
                </a:lnTo>
                <a:lnTo>
                  <a:pt x="1794164" y="97146"/>
                </a:lnTo>
                <a:lnTo>
                  <a:pt x="1818450" y="75896"/>
                </a:lnTo>
                <a:lnTo>
                  <a:pt x="1845772" y="78932"/>
                </a:lnTo>
                <a:lnTo>
                  <a:pt x="1860951" y="81967"/>
                </a:lnTo>
                <a:lnTo>
                  <a:pt x="1873095" y="69825"/>
                </a:lnTo>
                <a:lnTo>
                  <a:pt x="1885237" y="66788"/>
                </a:lnTo>
                <a:lnTo>
                  <a:pt x="1900416" y="66788"/>
                </a:lnTo>
                <a:lnTo>
                  <a:pt x="1924703" y="63753"/>
                </a:lnTo>
                <a:lnTo>
                  <a:pt x="1930774" y="66788"/>
                </a:lnTo>
                <a:lnTo>
                  <a:pt x="1936846" y="72860"/>
                </a:lnTo>
                <a:lnTo>
                  <a:pt x="1952025" y="63753"/>
                </a:lnTo>
                <a:close/>
                <a:moveTo>
                  <a:pt x="2610797" y="33394"/>
                </a:moveTo>
                <a:lnTo>
                  <a:pt x="2625976" y="36430"/>
                </a:lnTo>
                <a:lnTo>
                  <a:pt x="2638120" y="51609"/>
                </a:lnTo>
                <a:lnTo>
                  <a:pt x="2644192" y="63752"/>
                </a:lnTo>
                <a:lnTo>
                  <a:pt x="2635084" y="63752"/>
                </a:lnTo>
                <a:close/>
                <a:moveTo>
                  <a:pt x="2629013" y="18215"/>
                </a:moveTo>
                <a:lnTo>
                  <a:pt x="2641155" y="18215"/>
                </a:lnTo>
                <a:lnTo>
                  <a:pt x="2656334" y="30358"/>
                </a:lnTo>
                <a:lnTo>
                  <a:pt x="2647227" y="42502"/>
                </a:lnTo>
                <a:close/>
                <a:moveTo>
                  <a:pt x="2650263" y="9107"/>
                </a:moveTo>
                <a:lnTo>
                  <a:pt x="2662406" y="18215"/>
                </a:lnTo>
                <a:lnTo>
                  <a:pt x="2647227" y="12144"/>
                </a:lnTo>
                <a:close/>
                <a:moveTo>
                  <a:pt x="2665442" y="0"/>
                </a:moveTo>
                <a:lnTo>
                  <a:pt x="2917414" y="0"/>
                </a:lnTo>
                <a:lnTo>
                  <a:pt x="2941701" y="33394"/>
                </a:lnTo>
                <a:lnTo>
                  <a:pt x="2944736" y="42502"/>
                </a:lnTo>
                <a:lnTo>
                  <a:pt x="2950808" y="45537"/>
                </a:lnTo>
                <a:lnTo>
                  <a:pt x="2959915" y="85003"/>
                </a:lnTo>
                <a:lnTo>
                  <a:pt x="2987238" y="97146"/>
                </a:lnTo>
                <a:lnTo>
                  <a:pt x="2993309" y="109289"/>
                </a:lnTo>
                <a:lnTo>
                  <a:pt x="3002417" y="106254"/>
                </a:lnTo>
                <a:lnTo>
                  <a:pt x="3026704" y="133576"/>
                </a:lnTo>
                <a:lnTo>
                  <a:pt x="3023667" y="142683"/>
                </a:lnTo>
                <a:lnTo>
                  <a:pt x="3020632" y="166969"/>
                </a:lnTo>
                <a:lnTo>
                  <a:pt x="3011524" y="227686"/>
                </a:lnTo>
                <a:lnTo>
                  <a:pt x="3011524" y="251973"/>
                </a:lnTo>
                <a:lnTo>
                  <a:pt x="3014560" y="279295"/>
                </a:lnTo>
                <a:lnTo>
                  <a:pt x="3023667" y="309653"/>
                </a:lnTo>
                <a:lnTo>
                  <a:pt x="3026704" y="306616"/>
                </a:lnTo>
                <a:lnTo>
                  <a:pt x="3041883" y="285367"/>
                </a:lnTo>
                <a:lnTo>
                  <a:pt x="3047953" y="306616"/>
                </a:lnTo>
                <a:lnTo>
                  <a:pt x="3050990" y="309653"/>
                </a:lnTo>
                <a:lnTo>
                  <a:pt x="3063133" y="291437"/>
                </a:lnTo>
                <a:lnTo>
                  <a:pt x="3075276" y="294474"/>
                </a:lnTo>
                <a:lnTo>
                  <a:pt x="3087419" y="306616"/>
                </a:lnTo>
                <a:lnTo>
                  <a:pt x="3090455" y="306616"/>
                </a:lnTo>
                <a:lnTo>
                  <a:pt x="3096527" y="276259"/>
                </a:lnTo>
                <a:lnTo>
                  <a:pt x="3120814" y="242865"/>
                </a:lnTo>
                <a:lnTo>
                  <a:pt x="3148135" y="239829"/>
                </a:lnTo>
                <a:lnTo>
                  <a:pt x="3199744" y="264116"/>
                </a:lnTo>
                <a:lnTo>
                  <a:pt x="3214924" y="285367"/>
                </a:lnTo>
                <a:lnTo>
                  <a:pt x="3193673" y="315725"/>
                </a:lnTo>
                <a:lnTo>
                  <a:pt x="3169386" y="352154"/>
                </a:lnTo>
                <a:lnTo>
                  <a:pt x="3160279" y="358226"/>
                </a:lnTo>
                <a:lnTo>
                  <a:pt x="3142063" y="391619"/>
                </a:lnTo>
                <a:lnTo>
                  <a:pt x="3132956" y="412870"/>
                </a:lnTo>
                <a:lnTo>
                  <a:pt x="3120814" y="455372"/>
                </a:lnTo>
                <a:lnTo>
                  <a:pt x="3108670" y="464479"/>
                </a:lnTo>
                <a:lnTo>
                  <a:pt x="3105634" y="482694"/>
                </a:lnTo>
                <a:lnTo>
                  <a:pt x="3096527" y="510017"/>
                </a:lnTo>
                <a:lnTo>
                  <a:pt x="3075276" y="519124"/>
                </a:lnTo>
                <a:lnTo>
                  <a:pt x="3063133" y="525196"/>
                </a:lnTo>
                <a:lnTo>
                  <a:pt x="3060097" y="546446"/>
                </a:lnTo>
                <a:lnTo>
                  <a:pt x="3057062" y="576804"/>
                </a:lnTo>
                <a:lnTo>
                  <a:pt x="3054025" y="610198"/>
                </a:lnTo>
                <a:lnTo>
                  <a:pt x="3047953" y="613234"/>
                </a:lnTo>
                <a:lnTo>
                  <a:pt x="3038846" y="625377"/>
                </a:lnTo>
                <a:lnTo>
                  <a:pt x="3026704" y="686093"/>
                </a:lnTo>
                <a:lnTo>
                  <a:pt x="3011524" y="740737"/>
                </a:lnTo>
                <a:lnTo>
                  <a:pt x="3020632" y="740737"/>
                </a:lnTo>
                <a:lnTo>
                  <a:pt x="3035811" y="749845"/>
                </a:lnTo>
                <a:lnTo>
                  <a:pt x="3063133" y="771095"/>
                </a:lnTo>
                <a:lnTo>
                  <a:pt x="3087419" y="774132"/>
                </a:lnTo>
                <a:lnTo>
                  <a:pt x="3090455" y="789311"/>
                </a:lnTo>
                <a:lnTo>
                  <a:pt x="3090455" y="816633"/>
                </a:lnTo>
                <a:lnTo>
                  <a:pt x="3078312" y="819668"/>
                </a:lnTo>
                <a:lnTo>
                  <a:pt x="3054025" y="807526"/>
                </a:lnTo>
                <a:lnTo>
                  <a:pt x="3029739" y="807526"/>
                </a:lnTo>
                <a:lnTo>
                  <a:pt x="3011524" y="816633"/>
                </a:lnTo>
                <a:lnTo>
                  <a:pt x="3002417" y="822705"/>
                </a:lnTo>
                <a:lnTo>
                  <a:pt x="2996345" y="831812"/>
                </a:lnTo>
                <a:lnTo>
                  <a:pt x="3002417" y="846991"/>
                </a:lnTo>
                <a:lnTo>
                  <a:pt x="3014560" y="868242"/>
                </a:lnTo>
                <a:lnTo>
                  <a:pt x="3041883" y="874313"/>
                </a:lnTo>
                <a:lnTo>
                  <a:pt x="3054025" y="871277"/>
                </a:lnTo>
                <a:lnTo>
                  <a:pt x="3060097" y="883421"/>
                </a:lnTo>
                <a:lnTo>
                  <a:pt x="3060097" y="889492"/>
                </a:lnTo>
                <a:lnTo>
                  <a:pt x="3060097" y="901635"/>
                </a:lnTo>
                <a:lnTo>
                  <a:pt x="3066169" y="925922"/>
                </a:lnTo>
                <a:lnTo>
                  <a:pt x="3063133" y="962352"/>
                </a:lnTo>
                <a:lnTo>
                  <a:pt x="3054025" y="965387"/>
                </a:lnTo>
                <a:lnTo>
                  <a:pt x="3038846" y="980566"/>
                </a:lnTo>
                <a:lnTo>
                  <a:pt x="3038846" y="1001817"/>
                </a:lnTo>
                <a:lnTo>
                  <a:pt x="3057062" y="1004853"/>
                </a:lnTo>
                <a:lnTo>
                  <a:pt x="3075276" y="1016996"/>
                </a:lnTo>
                <a:lnTo>
                  <a:pt x="3057062" y="1035211"/>
                </a:lnTo>
                <a:lnTo>
                  <a:pt x="3050990" y="1032176"/>
                </a:lnTo>
                <a:lnTo>
                  <a:pt x="3047953" y="1023068"/>
                </a:lnTo>
                <a:lnTo>
                  <a:pt x="3041883" y="1020032"/>
                </a:lnTo>
                <a:lnTo>
                  <a:pt x="3026704" y="1016996"/>
                </a:lnTo>
                <a:lnTo>
                  <a:pt x="3020632" y="1020032"/>
                </a:lnTo>
                <a:lnTo>
                  <a:pt x="3014560" y="1026104"/>
                </a:lnTo>
                <a:lnTo>
                  <a:pt x="3011524" y="1032176"/>
                </a:lnTo>
                <a:lnTo>
                  <a:pt x="3008488" y="1050390"/>
                </a:lnTo>
                <a:lnTo>
                  <a:pt x="3014560" y="1059497"/>
                </a:lnTo>
                <a:lnTo>
                  <a:pt x="3020632" y="1050390"/>
                </a:lnTo>
                <a:lnTo>
                  <a:pt x="3032774" y="1056462"/>
                </a:lnTo>
                <a:lnTo>
                  <a:pt x="3038846" y="1062534"/>
                </a:lnTo>
                <a:lnTo>
                  <a:pt x="3041883" y="1074676"/>
                </a:lnTo>
                <a:lnTo>
                  <a:pt x="3044918" y="1086820"/>
                </a:lnTo>
                <a:lnTo>
                  <a:pt x="3041883" y="1092892"/>
                </a:lnTo>
                <a:lnTo>
                  <a:pt x="3029739" y="1092892"/>
                </a:lnTo>
                <a:lnTo>
                  <a:pt x="3020632" y="1092892"/>
                </a:lnTo>
                <a:lnTo>
                  <a:pt x="3008488" y="1108071"/>
                </a:lnTo>
                <a:lnTo>
                  <a:pt x="2996345" y="1101999"/>
                </a:lnTo>
                <a:lnTo>
                  <a:pt x="2981166" y="1092892"/>
                </a:lnTo>
                <a:lnTo>
                  <a:pt x="2972059" y="1083784"/>
                </a:lnTo>
                <a:lnTo>
                  <a:pt x="2962951" y="1080748"/>
                </a:lnTo>
                <a:lnTo>
                  <a:pt x="2959915" y="1086820"/>
                </a:lnTo>
                <a:lnTo>
                  <a:pt x="2956880" y="1086820"/>
                </a:lnTo>
                <a:lnTo>
                  <a:pt x="2953844" y="1083784"/>
                </a:lnTo>
                <a:lnTo>
                  <a:pt x="2947772" y="1092892"/>
                </a:lnTo>
                <a:lnTo>
                  <a:pt x="2932594" y="1108071"/>
                </a:lnTo>
                <a:lnTo>
                  <a:pt x="2935629" y="1117178"/>
                </a:lnTo>
                <a:lnTo>
                  <a:pt x="2941701" y="1120214"/>
                </a:lnTo>
                <a:lnTo>
                  <a:pt x="2947772" y="1120214"/>
                </a:lnTo>
                <a:lnTo>
                  <a:pt x="2950808" y="1126286"/>
                </a:lnTo>
                <a:lnTo>
                  <a:pt x="2953844" y="1141465"/>
                </a:lnTo>
                <a:lnTo>
                  <a:pt x="2956880" y="1147536"/>
                </a:lnTo>
                <a:lnTo>
                  <a:pt x="2959915" y="1156644"/>
                </a:lnTo>
                <a:lnTo>
                  <a:pt x="2959915" y="1165751"/>
                </a:lnTo>
                <a:lnTo>
                  <a:pt x="2981166" y="1183965"/>
                </a:lnTo>
                <a:lnTo>
                  <a:pt x="2999381" y="1199145"/>
                </a:lnTo>
                <a:lnTo>
                  <a:pt x="3002417" y="1211288"/>
                </a:lnTo>
                <a:lnTo>
                  <a:pt x="3002417" y="1220395"/>
                </a:lnTo>
                <a:lnTo>
                  <a:pt x="3002417" y="1238610"/>
                </a:lnTo>
                <a:lnTo>
                  <a:pt x="3008488" y="1229503"/>
                </a:lnTo>
                <a:lnTo>
                  <a:pt x="3017595" y="1226467"/>
                </a:lnTo>
                <a:lnTo>
                  <a:pt x="3017595" y="1235575"/>
                </a:lnTo>
                <a:lnTo>
                  <a:pt x="3017595" y="1250754"/>
                </a:lnTo>
                <a:lnTo>
                  <a:pt x="3014560" y="1272005"/>
                </a:lnTo>
                <a:lnTo>
                  <a:pt x="3020632" y="1281112"/>
                </a:lnTo>
                <a:lnTo>
                  <a:pt x="3020632" y="1293255"/>
                </a:lnTo>
                <a:lnTo>
                  <a:pt x="3017595" y="1296291"/>
                </a:lnTo>
                <a:lnTo>
                  <a:pt x="3014560" y="1296291"/>
                </a:lnTo>
                <a:lnTo>
                  <a:pt x="2999381" y="1296291"/>
                </a:lnTo>
                <a:lnTo>
                  <a:pt x="2987238" y="1296291"/>
                </a:lnTo>
                <a:lnTo>
                  <a:pt x="2978130" y="1287184"/>
                </a:lnTo>
                <a:lnTo>
                  <a:pt x="2965987" y="1268968"/>
                </a:lnTo>
                <a:lnTo>
                  <a:pt x="2965987" y="1259861"/>
                </a:lnTo>
                <a:lnTo>
                  <a:pt x="2962951" y="1250754"/>
                </a:lnTo>
                <a:lnTo>
                  <a:pt x="2950808" y="1241646"/>
                </a:lnTo>
                <a:lnTo>
                  <a:pt x="2938664" y="1247718"/>
                </a:lnTo>
                <a:lnTo>
                  <a:pt x="2932594" y="1253789"/>
                </a:lnTo>
                <a:lnTo>
                  <a:pt x="2911343" y="1262897"/>
                </a:lnTo>
                <a:lnTo>
                  <a:pt x="2902235" y="1262897"/>
                </a:lnTo>
                <a:lnTo>
                  <a:pt x="2899199" y="1262897"/>
                </a:lnTo>
                <a:lnTo>
                  <a:pt x="2893127" y="1265933"/>
                </a:lnTo>
                <a:lnTo>
                  <a:pt x="2890092" y="1268968"/>
                </a:lnTo>
                <a:lnTo>
                  <a:pt x="2887056" y="1278075"/>
                </a:lnTo>
                <a:lnTo>
                  <a:pt x="2880984" y="1287184"/>
                </a:lnTo>
                <a:lnTo>
                  <a:pt x="2880984" y="1296291"/>
                </a:lnTo>
                <a:lnTo>
                  <a:pt x="2896164" y="1302363"/>
                </a:lnTo>
                <a:lnTo>
                  <a:pt x="2908306" y="1308434"/>
                </a:lnTo>
                <a:lnTo>
                  <a:pt x="2917414" y="1308434"/>
                </a:lnTo>
                <a:lnTo>
                  <a:pt x="2923485" y="1308434"/>
                </a:lnTo>
                <a:lnTo>
                  <a:pt x="2932594" y="1302363"/>
                </a:lnTo>
                <a:lnTo>
                  <a:pt x="2941701" y="1299326"/>
                </a:lnTo>
                <a:lnTo>
                  <a:pt x="2956880" y="1302363"/>
                </a:lnTo>
                <a:lnTo>
                  <a:pt x="2981166" y="1314505"/>
                </a:lnTo>
                <a:lnTo>
                  <a:pt x="3008488" y="1317542"/>
                </a:lnTo>
                <a:lnTo>
                  <a:pt x="2999381" y="1326649"/>
                </a:lnTo>
                <a:lnTo>
                  <a:pt x="2990274" y="1332721"/>
                </a:lnTo>
                <a:lnTo>
                  <a:pt x="2984202" y="1335756"/>
                </a:lnTo>
                <a:lnTo>
                  <a:pt x="2972059" y="1350935"/>
                </a:lnTo>
                <a:lnTo>
                  <a:pt x="2959915" y="1360043"/>
                </a:lnTo>
                <a:lnTo>
                  <a:pt x="2956880" y="1357007"/>
                </a:lnTo>
                <a:lnTo>
                  <a:pt x="2947772" y="1372186"/>
                </a:lnTo>
                <a:lnTo>
                  <a:pt x="2944736" y="1378257"/>
                </a:lnTo>
                <a:lnTo>
                  <a:pt x="2938664" y="1384329"/>
                </a:lnTo>
                <a:lnTo>
                  <a:pt x="2926522" y="1396473"/>
                </a:lnTo>
                <a:lnTo>
                  <a:pt x="2914378" y="1402545"/>
                </a:lnTo>
                <a:lnTo>
                  <a:pt x="2887056" y="1411652"/>
                </a:lnTo>
                <a:lnTo>
                  <a:pt x="2880984" y="1408615"/>
                </a:lnTo>
                <a:lnTo>
                  <a:pt x="2874913" y="1417723"/>
                </a:lnTo>
                <a:lnTo>
                  <a:pt x="2868841" y="1417723"/>
                </a:lnTo>
                <a:lnTo>
                  <a:pt x="2862770" y="1420759"/>
                </a:lnTo>
                <a:lnTo>
                  <a:pt x="2835447" y="1429866"/>
                </a:lnTo>
                <a:lnTo>
                  <a:pt x="2823305" y="1432903"/>
                </a:lnTo>
                <a:lnTo>
                  <a:pt x="2811161" y="1429866"/>
                </a:lnTo>
                <a:lnTo>
                  <a:pt x="2805089" y="1417723"/>
                </a:lnTo>
                <a:lnTo>
                  <a:pt x="2795982" y="1402545"/>
                </a:lnTo>
                <a:lnTo>
                  <a:pt x="2795982" y="1405580"/>
                </a:lnTo>
                <a:lnTo>
                  <a:pt x="2795982" y="1414687"/>
                </a:lnTo>
                <a:lnTo>
                  <a:pt x="2799017" y="1442010"/>
                </a:lnTo>
                <a:lnTo>
                  <a:pt x="2786874" y="1454154"/>
                </a:lnTo>
                <a:lnTo>
                  <a:pt x="2780803" y="1466296"/>
                </a:lnTo>
                <a:lnTo>
                  <a:pt x="2777767" y="1478440"/>
                </a:lnTo>
                <a:lnTo>
                  <a:pt x="2771695" y="1487547"/>
                </a:lnTo>
                <a:lnTo>
                  <a:pt x="2765624" y="1496655"/>
                </a:lnTo>
                <a:lnTo>
                  <a:pt x="2759552" y="1508798"/>
                </a:lnTo>
                <a:lnTo>
                  <a:pt x="2747409" y="1520941"/>
                </a:lnTo>
                <a:lnTo>
                  <a:pt x="2738302" y="1527013"/>
                </a:lnTo>
                <a:lnTo>
                  <a:pt x="2735265" y="1527013"/>
                </a:lnTo>
                <a:lnTo>
                  <a:pt x="2729194" y="1536120"/>
                </a:lnTo>
                <a:lnTo>
                  <a:pt x="2720086" y="1545227"/>
                </a:lnTo>
                <a:lnTo>
                  <a:pt x="2701872" y="1554335"/>
                </a:lnTo>
                <a:lnTo>
                  <a:pt x="2689728" y="1548264"/>
                </a:lnTo>
                <a:lnTo>
                  <a:pt x="2677585" y="1557371"/>
                </a:lnTo>
                <a:lnTo>
                  <a:pt x="2659370" y="1563443"/>
                </a:lnTo>
                <a:lnTo>
                  <a:pt x="2650263" y="1569514"/>
                </a:lnTo>
                <a:lnTo>
                  <a:pt x="2641155" y="1584693"/>
                </a:lnTo>
                <a:lnTo>
                  <a:pt x="2632048" y="1590765"/>
                </a:lnTo>
                <a:lnTo>
                  <a:pt x="2629013" y="1584693"/>
                </a:lnTo>
                <a:lnTo>
                  <a:pt x="2622941" y="1587729"/>
                </a:lnTo>
                <a:lnTo>
                  <a:pt x="2619904" y="1599872"/>
                </a:lnTo>
                <a:lnTo>
                  <a:pt x="2625976" y="1605944"/>
                </a:lnTo>
                <a:lnTo>
                  <a:pt x="2629013" y="1612015"/>
                </a:lnTo>
                <a:lnTo>
                  <a:pt x="2632048" y="1624158"/>
                </a:lnTo>
                <a:lnTo>
                  <a:pt x="2622941" y="1621123"/>
                </a:lnTo>
                <a:lnTo>
                  <a:pt x="2613834" y="1624158"/>
                </a:lnTo>
                <a:lnTo>
                  <a:pt x="2607762" y="1627195"/>
                </a:lnTo>
                <a:lnTo>
                  <a:pt x="2619904" y="1633266"/>
                </a:lnTo>
                <a:lnTo>
                  <a:pt x="2629013" y="1633266"/>
                </a:lnTo>
                <a:lnTo>
                  <a:pt x="2629013" y="1654516"/>
                </a:lnTo>
                <a:lnTo>
                  <a:pt x="2622941" y="1666660"/>
                </a:lnTo>
                <a:lnTo>
                  <a:pt x="2592583" y="1706125"/>
                </a:lnTo>
                <a:lnTo>
                  <a:pt x="2589546" y="1709161"/>
                </a:lnTo>
                <a:lnTo>
                  <a:pt x="2592583" y="1712197"/>
                </a:lnTo>
                <a:lnTo>
                  <a:pt x="2592583" y="1718269"/>
                </a:lnTo>
                <a:lnTo>
                  <a:pt x="2595618" y="1730412"/>
                </a:lnTo>
                <a:lnTo>
                  <a:pt x="2592583" y="1742556"/>
                </a:lnTo>
                <a:lnTo>
                  <a:pt x="2592583" y="1745591"/>
                </a:lnTo>
                <a:lnTo>
                  <a:pt x="2586511" y="1757735"/>
                </a:lnTo>
                <a:lnTo>
                  <a:pt x="2583475" y="1769877"/>
                </a:lnTo>
                <a:lnTo>
                  <a:pt x="2583475" y="1785056"/>
                </a:lnTo>
                <a:lnTo>
                  <a:pt x="2583475" y="1788093"/>
                </a:lnTo>
                <a:lnTo>
                  <a:pt x="2580439" y="1794164"/>
                </a:lnTo>
                <a:lnTo>
                  <a:pt x="2574368" y="1797200"/>
                </a:lnTo>
                <a:lnTo>
                  <a:pt x="2577404" y="1809343"/>
                </a:lnTo>
                <a:lnTo>
                  <a:pt x="2571332" y="1812379"/>
                </a:lnTo>
                <a:lnTo>
                  <a:pt x="2562225" y="1809343"/>
                </a:lnTo>
                <a:lnTo>
                  <a:pt x="2553117" y="1809343"/>
                </a:lnTo>
                <a:lnTo>
                  <a:pt x="2547045" y="1815415"/>
                </a:lnTo>
                <a:lnTo>
                  <a:pt x="2540974" y="1815415"/>
                </a:lnTo>
                <a:lnTo>
                  <a:pt x="2534902" y="1809343"/>
                </a:lnTo>
                <a:lnTo>
                  <a:pt x="2534902" y="1797200"/>
                </a:lnTo>
                <a:lnTo>
                  <a:pt x="2522759" y="1794164"/>
                </a:lnTo>
                <a:lnTo>
                  <a:pt x="2516687" y="1791128"/>
                </a:lnTo>
                <a:lnTo>
                  <a:pt x="2513652" y="1782021"/>
                </a:lnTo>
                <a:lnTo>
                  <a:pt x="2507580" y="1769877"/>
                </a:lnTo>
                <a:lnTo>
                  <a:pt x="2495436" y="1775949"/>
                </a:lnTo>
                <a:lnTo>
                  <a:pt x="2477222" y="1778985"/>
                </a:lnTo>
                <a:lnTo>
                  <a:pt x="2474186" y="1778985"/>
                </a:lnTo>
                <a:lnTo>
                  <a:pt x="2471150" y="1775949"/>
                </a:lnTo>
                <a:lnTo>
                  <a:pt x="2465078" y="1769877"/>
                </a:lnTo>
                <a:lnTo>
                  <a:pt x="2459007" y="1757735"/>
                </a:lnTo>
                <a:lnTo>
                  <a:pt x="2449900" y="1748626"/>
                </a:lnTo>
                <a:lnTo>
                  <a:pt x="2449900" y="1742556"/>
                </a:lnTo>
                <a:lnTo>
                  <a:pt x="2440792" y="1730412"/>
                </a:lnTo>
                <a:lnTo>
                  <a:pt x="2428649" y="1709161"/>
                </a:lnTo>
                <a:lnTo>
                  <a:pt x="2428649" y="1700054"/>
                </a:lnTo>
                <a:lnTo>
                  <a:pt x="2425613" y="1690946"/>
                </a:lnTo>
                <a:lnTo>
                  <a:pt x="2413470" y="1669695"/>
                </a:lnTo>
                <a:lnTo>
                  <a:pt x="2410434" y="1669695"/>
                </a:lnTo>
                <a:lnTo>
                  <a:pt x="2404363" y="1657553"/>
                </a:lnTo>
                <a:lnTo>
                  <a:pt x="2395255" y="1636302"/>
                </a:lnTo>
                <a:lnTo>
                  <a:pt x="2380076" y="1584693"/>
                </a:lnTo>
                <a:lnTo>
                  <a:pt x="2377040" y="1563443"/>
                </a:lnTo>
                <a:lnTo>
                  <a:pt x="2367933" y="1557371"/>
                </a:lnTo>
                <a:lnTo>
                  <a:pt x="2358825" y="1536120"/>
                </a:lnTo>
                <a:lnTo>
                  <a:pt x="2361861" y="1517906"/>
                </a:lnTo>
                <a:lnTo>
                  <a:pt x="2374005" y="1508798"/>
                </a:lnTo>
                <a:lnTo>
                  <a:pt x="2352754" y="1487547"/>
                </a:lnTo>
                <a:lnTo>
                  <a:pt x="2355789" y="1466296"/>
                </a:lnTo>
                <a:lnTo>
                  <a:pt x="2358825" y="1448082"/>
                </a:lnTo>
                <a:lnTo>
                  <a:pt x="2364897" y="1438975"/>
                </a:lnTo>
                <a:lnTo>
                  <a:pt x="2361861" y="1426831"/>
                </a:lnTo>
                <a:lnTo>
                  <a:pt x="2370968" y="1426831"/>
                </a:lnTo>
                <a:lnTo>
                  <a:pt x="2377040" y="1414687"/>
                </a:lnTo>
                <a:lnTo>
                  <a:pt x="2389184" y="1405580"/>
                </a:lnTo>
                <a:lnTo>
                  <a:pt x="2407398" y="1405580"/>
                </a:lnTo>
                <a:lnTo>
                  <a:pt x="2413470" y="1402545"/>
                </a:lnTo>
                <a:lnTo>
                  <a:pt x="2419542" y="1390401"/>
                </a:lnTo>
                <a:lnTo>
                  <a:pt x="2413470" y="1393436"/>
                </a:lnTo>
                <a:lnTo>
                  <a:pt x="2407398" y="1393436"/>
                </a:lnTo>
                <a:lnTo>
                  <a:pt x="2410434" y="1369150"/>
                </a:lnTo>
                <a:lnTo>
                  <a:pt x="2416505" y="1347899"/>
                </a:lnTo>
                <a:lnTo>
                  <a:pt x="2422577" y="1335756"/>
                </a:lnTo>
                <a:lnTo>
                  <a:pt x="2428649" y="1335756"/>
                </a:lnTo>
                <a:lnTo>
                  <a:pt x="2428649" y="1320577"/>
                </a:lnTo>
                <a:lnTo>
                  <a:pt x="2419542" y="1323613"/>
                </a:lnTo>
                <a:lnTo>
                  <a:pt x="2410434" y="1323613"/>
                </a:lnTo>
                <a:lnTo>
                  <a:pt x="2401326" y="1323613"/>
                </a:lnTo>
                <a:lnTo>
                  <a:pt x="2386147" y="1317542"/>
                </a:lnTo>
                <a:lnTo>
                  <a:pt x="2367933" y="1302363"/>
                </a:lnTo>
                <a:lnTo>
                  <a:pt x="2352754" y="1296291"/>
                </a:lnTo>
                <a:lnTo>
                  <a:pt x="2340610" y="1281112"/>
                </a:lnTo>
                <a:lnTo>
                  <a:pt x="2349718" y="1272005"/>
                </a:lnTo>
                <a:lnTo>
                  <a:pt x="2361861" y="1272005"/>
                </a:lnTo>
                <a:lnTo>
                  <a:pt x="2374005" y="1275040"/>
                </a:lnTo>
                <a:lnTo>
                  <a:pt x="2389184" y="1284147"/>
                </a:lnTo>
                <a:lnTo>
                  <a:pt x="2401326" y="1293255"/>
                </a:lnTo>
                <a:lnTo>
                  <a:pt x="2404363" y="1293255"/>
                </a:lnTo>
                <a:lnTo>
                  <a:pt x="2407398" y="1287184"/>
                </a:lnTo>
                <a:lnTo>
                  <a:pt x="2410434" y="1287184"/>
                </a:lnTo>
                <a:lnTo>
                  <a:pt x="2419542" y="1284147"/>
                </a:lnTo>
                <a:lnTo>
                  <a:pt x="2416505" y="1272005"/>
                </a:lnTo>
                <a:lnTo>
                  <a:pt x="2395255" y="1256826"/>
                </a:lnTo>
                <a:lnTo>
                  <a:pt x="2407398" y="1262897"/>
                </a:lnTo>
                <a:lnTo>
                  <a:pt x="2416505" y="1256826"/>
                </a:lnTo>
                <a:lnTo>
                  <a:pt x="2383112" y="1250754"/>
                </a:lnTo>
                <a:lnTo>
                  <a:pt x="2383112" y="1235575"/>
                </a:lnTo>
                <a:lnTo>
                  <a:pt x="2380076" y="1235575"/>
                </a:lnTo>
                <a:lnTo>
                  <a:pt x="2374005" y="1232539"/>
                </a:lnTo>
                <a:lnTo>
                  <a:pt x="2383112" y="1223431"/>
                </a:lnTo>
                <a:lnTo>
                  <a:pt x="2374005" y="1214324"/>
                </a:lnTo>
                <a:lnTo>
                  <a:pt x="2367933" y="1214324"/>
                </a:lnTo>
                <a:lnTo>
                  <a:pt x="2364897" y="1205216"/>
                </a:lnTo>
                <a:lnTo>
                  <a:pt x="2358825" y="1211288"/>
                </a:lnTo>
                <a:lnTo>
                  <a:pt x="2352754" y="1223431"/>
                </a:lnTo>
                <a:lnTo>
                  <a:pt x="2346682" y="1235575"/>
                </a:lnTo>
                <a:lnTo>
                  <a:pt x="2340610" y="1238610"/>
                </a:lnTo>
                <a:lnTo>
                  <a:pt x="2325432" y="1235575"/>
                </a:lnTo>
                <a:lnTo>
                  <a:pt x="2313288" y="1217360"/>
                </a:lnTo>
                <a:lnTo>
                  <a:pt x="2316324" y="1211288"/>
                </a:lnTo>
                <a:lnTo>
                  <a:pt x="2319360" y="1196109"/>
                </a:lnTo>
                <a:lnTo>
                  <a:pt x="2328467" y="1180930"/>
                </a:lnTo>
                <a:lnTo>
                  <a:pt x="2322395" y="1159679"/>
                </a:lnTo>
                <a:lnTo>
                  <a:pt x="2331503" y="1162716"/>
                </a:lnTo>
                <a:lnTo>
                  <a:pt x="2334539" y="1156644"/>
                </a:lnTo>
                <a:lnTo>
                  <a:pt x="2334539" y="1138428"/>
                </a:lnTo>
                <a:lnTo>
                  <a:pt x="2340610" y="1138428"/>
                </a:lnTo>
                <a:lnTo>
                  <a:pt x="2331503" y="1126286"/>
                </a:lnTo>
                <a:lnTo>
                  <a:pt x="2322395" y="1120214"/>
                </a:lnTo>
                <a:lnTo>
                  <a:pt x="2319360" y="1089855"/>
                </a:lnTo>
                <a:lnTo>
                  <a:pt x="2310253" y="1077713"/>
                </a:lnTo>
                <a:lnTo>
                  <a:pt x="2307216" y="1026104"/>
                </a:lnTo>
                <a:lnTo>
                  <a:pt x="2307216" y="1010925"/>
                </a:lnTo>
                <a:lnTo>
                  <a:pt x="2301144" y="1010925"/>
                </a:lnTo>
                <a:lnTo>
                  <a:pt x="2292037" y="998782"/>
                </a:lnTo>
                <a:lnTo>
                  <a:pt x="2289002" y="986638"/>
                </a:lnTo>
                <a:lnTo>
                  <a:pt x="2282930" y="980566"/>
                </a:lnTo>
                <a:lnTo>
                  <a:pt x="2258644" y="950208"/>
                </a:lnTo>
                <a:lnTo>
                  <a:pt x="2264715" y="941101"/>
                </a:lnTo>
                <a:lnTo>
                  <a:pt x="2264715" y="928958"/>
                </a:lnTo>
                <a:lnTo>
                  <a:pt x="2255608" y="916815"/>
                </a:lnTo>
                <a:lnTo>
                  <a:pt x="2243465" y="907707"/>
                </a:lnTo>
                <a:lnTo>
                  <a:pt x="2228285" y="895564"/>
                </a:lnTo>
                <a:lnTo>
                  <a:pt x="2176676" y="871277"/>
                </a:lnTo>
                <a:lnTo>
                  <a:pt x="2155426" y="862170"/>
                </a:lnTo>
                <a:lnTo>
                  <a:pt x="2152390" y="877349"/>
                </a:lnTo>
                <a:lnTo>
                  <a:pt x="2146319" y="883421"/>
                </a:lnTo>
                <a:lnTo>
                  <a:pt x="2140247" y="874313"/>
                </a:lnTo>
                <a:lnTo>
                  <a:pt x="2134175" y="874313"/>
                </a:lnTo>
                <a:lnTo>
                  <a:pt x="2106853" y="883421"/>
                </a:lnTo>
                <a:lnTo>
                  <a:pt x="2094710" y="901635"/>
                </a:lnTo>
                <a:lnTo>
                  <a:pt x="2085603" y="895564"/>
                </a:lnTo>
                <a:lnTo>
                  <a:pt x="2058280" y="886456"/>
                </a:lnTo>
                <a:lnTo>
                  <a:pt x="2046137" y="877349"/>
                </a:lnTo>
                <a:lnTo>
                  <a:pt x="2037030" y="865205"/>
                </a:lnTo>
                <a:lnTo>
                  <a:pt x="2024886" y="843956"/>
                </a:lnTo>
                <a:lnTo>
                  <a:pt x="2009707" y="825740"/>
                </a:lnTo>
                <a:lnTo>
                  <a:pt x="2003636" y="819668"/>
                </a:lnTo>
                <a:lnTo>
                  <a:pt x="1994528" y="807526"/>
                </a:lnTo>
                <a:lnTo>
                  <a:pt x="1997564" y="795382"/>
                </a:lnTo>
                <a:lnTo>
                  <a:pt x="2006672" y="786275"/>
                </a:lnTo>
                <a:lnTo>
                  <a:pt x="2021851" y="783239"/>
                </a:lnTo>
                <a:lnTo>
                  <a:pt x="2030958" y="786275"/>
                </a:lnTo>
                <a:lnTo>
                  <a:pt x="2040066" y="761988"/>
                </a:lnTo>
                <a:lnTo>
                  <a:pt x="2012743" y="743774"/>
                </a:lnTo>
                <a:lnTo>
                  <a:pt x="2009707" y="740737"/>
                </a:lnTo>
                <a:lnTo>
                  <a:pt x="2009707" y="731630"/>
                </a:lnTo>
                <a:lnTo>
                  <a:pt x="2003636" y="731630"/>
                </a:lnTo>
                <a:lnTo>
                  <a:pt x="1991493" y="728595"/>
                </a:lnTo>
                <a:lnTo>
                  <a:pt x="1976314" y="716451"/>
                </a:lnTo>
                <a:lnTo>
                  <a:pt x="1961135" y="695200"/>
                </a:lnTo>
                <a:lnTo>
                  <a:pt x="1967207" y="658771"/>
                </a:lnTo>
                <a:lnTo>
                  <a:pt x="1979349" y="655735"/>
                </a:lnTo>
                <a:lnTo>
                  <a:pt x="1988456" y="646627"/>
                </a:lnTo>
                <a:lnTo>
                  <a:pt x="1997564" y="646627"/>
                </a:lnTo>
                <a:lnTo>
                  <a:pt x="2003636" y="646627"/>
                </a:lnTo>
                <a:lnTo>
                  <a:pt x="2006672" y="637520"/>
                </a:lnTo>
                <a:lnTo>
                  <a:pt x="2018815" y="634485"/>
                </a:lnTo>
                <a:lnTo>
                  <a:pt x="2043101" y="616269"/>
                </a:lnTo>
                <a:lnTo>
                  <a:pt x="2040066" y="616269"/>
                </a:lnTo>
                <a:lnTo>
                  <a:pt x="2043101" y="607162"/>
                </a:lnTo>
                <a:lnTo>
                  <a:pt x="2052208" y="601090"/>
                </a:lnTo>
                <a:lnTo>
                  <a:pt x="2070424" y="595019"/>
                </a:lnTo>
                <a:lnTo>
                  <a:pt x="2085603" y="591983"/>
                </a:lnTo>
                <a:lnTo>
                  <a:pt x="2097745" y="595019"/>
                </a:lnTo>
                <a:lnTo>
                  <a:pt x="2106853" y="591983"/>
                </a:lnTo>
                <a:lnTo>
                  <a:pt x="2122032" y="561625"/>
                </a:lnTo>
                <a:lnTo>
                  <a:pt x="2128104" y="540375"/>
                </a:lnTo>
                <a:lnTo>
                  <a:pt x="2125068" y="513052"/>
                </a:lnTo>
                <a:lnTo>
                  <a:pt x="2122032" y="491801"/>
                </a:lnTo>
                <a:lnTo>
                  <a:pt x="2094710" y="488766"/>
                </a:lnTo>
                <a:lnTo>
                  <a:pt x="2082566" y="485729"/>
                </a:lnTo>
                <a:lnTo>
                  <a:pt x="2073459" y="470551"/>
                </a:lnTo>
                <a:lnTo>
                  <a:pt x="2073459" y="452336"/>
                </a:lnTo>
                <a:lnTo>
                  <a:pt x="2100782" y="415907"/>
                </a:lnTo>
                <a:lnTo>
                  <a:pt x="2112925" y="403763"/>
                </a:lnTo>
                <a:lnTo>
                  <a:pt x="2125068" y="388584"/>
                </a:lnTo>
                <a:lnTo>
                  <a:pt x="2137211" y="367333"/>
                </a:lnTo>
                <a:lnTo>
                  <a:pt x="2146319" y="361261"/>
                </a:lnTo>
                <a:lnTo>
                  <a:pt x="2152390" y="349118"/>
                </a:lnTo>
                <a:lnTo>
                  <a:pt x="2161497" y="343046"/>
                </a:lnTo>
                <a:lnTo>
                  <a:pt x="2170605" y="336975"/>
                </a:lnTo>
                <a:lnTo>
                  <a:pt x="2191855" y="352154"/>
                </a:lnTo>
                <a:lnTo>
                  <a:pt x="2210071" y="346083"/>
                </a:lnTo>
                <a:lnTo>
                  <a:pt x="2207035" y="303581"/>
                </a:lnTo>
                <a:lnTo>
                  <a:pt x="2203999" y="282330"/>
                </a:lnTo>
                <a:lnTo>
                  <a:pt x="2197927" y="267151"/>
                </a:lnTo>
                <a:lnTo>
                  <a:pt x="2203999" y="255008"/>
                </a:lnTo>
                <a:lnTo>
                  <a:pt x="2228285" y="236794"/>
                </a:lnTo>
                <a:lnTo>
                  <a:pt x="2243465" y="224650"/>
                </a:lnTo>
                <a:lnTo>
                  <a:pt x="2255608" y="215543"/>
                </a:lnTo>
                <a:lnTo>
                  <a:pt x="2279895" y="203399"/>
                </a:lnTo>
                <a:lnTo>
                  <a:pt x="2337575" y="176077"/>
                </a:lnTo>
                <a:lnTo>
                  <a:pt x="2358825" y="200364"/>
                </a:lnTo>
                <a:lnTo>
                  <a:pt x="2370968" y="224650"/>
                </a:lnTo>
                <a:lnTo>
                  <a:pt x="2380076" y="224650"/>
                </a:lnTo>
                <a:lnTo>
                  <a:pt x="2410434" y="242865"/>
                </a:lnTo>
                <a:lnTo>
                  <a:pt x="2428649" y="242865"/>
                </a:lnTo>
                <a:lnTo>
                  <a:pt x="2446864" y="239829"/>
                </a:lnTo>
                <a:lnTo>
                  <a:pt x="2428649" y="215543"/>
                </a:lnTo>
                <a:lnTo>
                  <a:pt x="2410434" y="151790"/>
                </a:lnTo>
                <a:lnTo>
                  <a:pt x="2422577" y="148755"/>
                </a:lnTo>
                <a:lnTo>
                  <a:pt x="2437756" y="148755"/>
                </a:lnTo>
                <a:lnTo>
                  <a:pt x="2449900" y="154827"/>
                </a:lnTo>
                <a:lnTo>
                  <a:pt x="2459007" y="166969"/>
                </a:lnTo>
                <a:lnTo>
                  <a:pt x="2465078" y="176077"/>
                </a:lnTo>
                <a:lnTo>
                  <a:pt x="2468115" y="182148"/>
                </a:lnTo>
                <a:lnTo>
                  <a:pt x="2486329" y="197327"/>
                </a:lnTo>
                <a:lnTo>
                  <a:pt x="2510615" y="215543"/>
                </a:lnTo>
                <a:lnTo>
                  <a:pt x="2513652" y="221615"/>
                </a:lnTo>
                <a:lnTo>
                  <a:pt x="2516687" y="224650"/>
                </a:lnTo>
                <a:lnTo>
                  <a:pt x="2519724" y="233757"/>
                </a:lnTo>
                <a:lnTo>
                  <a:pt x="2531866" y="255008"/>
                </a:lnTo>
                <a:lnTo>
                  <a:pt x="2556153" y="251973"/>
                </a:lnTo>
                <a:lnTo>
                  <a:pt x="2547045" y="242865"/>
                </a:lnTo>
                <a:lnTo>
                  <a:pt x="2540974" y="230722"/>
                </a:lnTo>
                <a:lnTo>
                  <a:pt x="2540974" y="209471"/>
                </a:lnTo>
                <a:lnTo>
                  <a:pt x="2544010" y="188220"/>
                </a:lnTo>
                <a:lnTo>
                  <a:pt x="2550081" y="179113"/>
                </a:lnTo>
                <a:lnTo>
                  <a:pt x="2547045" y="145719"/>
                </a:lnTo>
                <a:lnTo>
                  <a:pt x="2544010" y="139647"/>
                </a:lnTo>
                <a:lnTo>
                  <a:pt x="2519724" y="100182"/>
                </a:lnTo>
                <a:lnTo>
                  <a:pt x="2510615" y="91075"/>
                </a:lnTo>
                <a:lnTo>
                  <a:pt x="2498473" y="75896"/>
                </a:lnTo>
                <a:lnTo>
                  <a:pt x="2522759" y="51609"/>
                </a:lnTo>
                <a:lnTo>
                  <a:pt x="2550081" y="42502"/>
                </a:lnTo>
                <a:lnTo>
                  <a:pt x="2574368" y="24287"/>
                </a:lnTo>
                <a:lnTo>
                  <a:pt x="2598655" y="33394"/>
                </a:lnTo>
                <a:lnTo>
                  <a:pt x="2632048" y="75896"/>
                </a:lnTo>
                <a:lnTo>
                  <a:pt x="2665442" y="60716"/>
                </a:lnTo>
                <a:lnTo>
                  <a:pt x="2665442" y="15179"/>
                </a:lnTo>
                <a:close/>
              </a:path>
            </a:pathLst>
          </a:custGeom>
          <a:solidFill>
            <a:srgbClr val="333353"/>
          </a:solidFill>
          <a:ln w="6350">
            <a:solidFill>
              <a:schemeClr val="bg2"/>
            </a:solidFill>
            <a:prstDash val="solid"/>
            <a:round/>
            <a:headEnd/>
            <a:tailEnd/>
          </a:ln>
        </p:spPr>
        <p:txBody>
          <a:bodyPr wrap="square">
            <a:noAutofit/>
          </a:bodyPr>
          <a:lstStyle/>
          <a:p>
            <a:endParaRPr lang="en-US" sz="1799"/>
          </a:p>
        </p:txBody>
      </p:sp>
      <p:sp>
        <p:nvSpPr>
          <p:cNvPr id="7" name="Rechteck 6">
            <a:extLst>
              <a:ext uri="{FF2B5EF4-FFF2-40B4-BE49-F238E27FC236}">
                <a16:creationId xmlns:a16="http://schemas.microsoft.com/office/drawing/2014/main" id="{EB6486D4-112E-566B-CEE4-9CF2F031E254}"/>
              </a:ext>
            </a:extLst>
          </p:cNvPr>
          <p:cNvSpPr/>
          <p:nvPr/>
        </p:nvSpPr>
        <p:spPr>
          <a:xfrm>
            <a:off x="8737667" y="4293835"/>
            <a:ext cx="3049521" cy="1544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defTabSz="913943">
              <a:spcAft>
                <a:spcPts val="1000"/>
              </a:spcAft>
              <a:defRPr/>
            </a:pPr>
            <a:r>
              <a:rPr lang="en-US" sz="2400" b="1">
                <a:solidFill>
                  <a:schemeClr val="tx1"/>
                </a:solidFill>
                <a:ea typeface="ＭＳ Ｐゴシック"/>
                <a:cs typeface="Arial"/>
              </a:rPr>
              <a:t>More than </a:t>
            </a:r>
            <a:r>
              <a:rPr lang="en-US" sz="3200" b="1">
                <a:solidFill>
                  <a:schemeClr val="tx1"/>
                </a:solidFill>
                <a:ea typeface="ＭＳ Ｐゴシック"/>
                <a:cs typeface="Arial"/>
              </a:rPr>
              <a:t>33.000 </a:t>
            </a:r>
            <a:r>
              <a:rPr lang="en-US" sz="2400" b="1">
                <a:solidFill>
                  <a:schemeClr val="tx1"/>
                </a:solidFill>
                <a:ea typeface="ＭＳ Ｐゴシック"/>
                <a:cs typeface="Arial"/>
              </a:rPr>
              <a:t>installations</a:t>
            </a:r>
            <a:endParaRPr lang="en-US" sz="2400" b="1">
              <a:solidFill>
                <a:schemeClr val="tx1"/>
              </a:solidFill>
              <a:latin typeface="Arial" charset="0"/>
              <a:ea typeface="ＭＳ Ｐゴシック"/>
              <a:cs typeface="Arial"/>
            </a:endParaRPr>
          </a:p>
          <a:p>
            <a:pPr defTabSz="913943">
              <a:spcAft>
                <a:spcPts val="1000"/>
              </a:spcAft>
              <a:defRPr/>
            </a:pPr>
            <a:r>
              <a:rPr lang="en-US">
                <a:solidFill>
                  <a:schemeClr val="tx1"/>
                </a:solidFill>
                <a:ea typeface="ＭＳ Ｐゴシック"/>
                <a:cs typeface="Arial"/>
              </a:rPr>
              <a:t>in all process industries with SIMATIC DCS systems</a:t>
            </a:r>
          </a:p>
        </p:txBody>
      </p:sp>
      <p:grpSp>
        <p:nvGrpSpPr>
          <p:cNvPr id="15" name="Gruppieren 14">
            <a:extLst>
              <a:ext uri="{FF2B5EF4-FFF2-40B4-BE49-F238E27FC236}">
                <a16:creationId xmlns:a16="http://schemas.microsoft.com/office/drawing/2014/main" id="{4C1C67CB-912C-10C3-ABB7-C337418F650E}"/>
              </a:ext>
            </a:extLst>
          </p:cNvPr>
          <p:cNvGrpSpPr/>
          <p:nvPr/>
        </p:nvGrpSpPr>
        <p:grpSpPr>
          <a:xfrm>
            <a:off x="2182259" y="3340527"/>
            <a:ext cx="1124332" cy="789722"/>
            <a:chOff x="2532730" y="2948027"/>
            <a:chExt cx="1124332" cy="789722"/>
          </a:xfrm>
        </p:grpSpPr>
        <p:sp>
          <p:nvSpPr>
            <p:cNvPr id="13" name="Rechteck 12">
              <a:extLst>
                <a:ext uri="{FF2B5EF4-FFF2-40B4-BE49-F238E27FC236}">
                  <a16:creationId xmlns:a16="http://schemas.microsoft.com/office/drawing/2014/main" id="{C438DE6D-57B1-C14F-F0D4-390F5B836C76}"/>
                </a:ext>
              </a:extLst>
            </p:cNvPr>
            <p:cNvSpPr/>
            <p:nvPr/>
          </p:nvSpPr>
          <p:spPr>
            <a:xfrm>
              <a:off x="2532730" y="2948027"/>
              <a:ext cx="1124332" cy="387812"/>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l"/>
              <a:r>
                <a:rPr lang="en-US"/>
                <a:t>America</a:t>
              </a:r>
            </a:p>
          </p:txBody>
        </p:sp>
        <p:sp>
          <p:nvSpPr>
            <p:cNvPr id="14" name="Rechteck 13">
              <a:extLst>
                <a:ext uri="{FF2B5EF4-FFF2-40B4-BE49-F238E27FC236}">
                  <a16:creationId xmlns:a16="http://schemas.microsoft.com/office/drawing/2014/main" id="{109A6938-8395-B182-1814-1D5641121478}"/>
                </a:ext>
              </a:extLst>
            </p:cNvPr>
            <p:cNvSpPr/>
            <p:nvPr/>
          </p:nvSpPr>
          <p:spPr>
            <a:xfrm>
              <a:off x="2532730" y="3328770"/>
              <a:ext cx="1123600" cy="408979"/>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l"/>
              <a:r>
                <a:rPr lang="en-US">
                  <a:solidFill>
                    <a:schemeClr val="accent6"/>
                  </a:solidFill>
                </a:rPr>
                <a:t>~3.000</a:t>
              </a:r>
            </a:p>
          </p:txBody>
        </p:sp>
      </p:grpSp>
      <p:grpSp>
        <p:nvGrpSpPr>
          <p:cNvPr id="16" name="Gruppieren 15">
            <a:extLst>
              <a:ext uri="{FF2B5EF4-FFF2-40B4-BE49-F238E27FC236}">
                <a16:creationId xmlns:a16="http://schemas.microsoft.com/office/drawing/2014/main" id="{AFC85550-5419-AFEC-E48A-438E3D38541A}"/>
              </a:ext>
            </a:extLst>
          </p:cNvPr>
          <p:cNvGrpSpPr/>
          <p:nvPr/>
        </p:nvGrpSpPr>
        <p:grpSpPr>
          <a:xfrm>
            <a:off x="3826778" y="3635802"/>
            <a:ext cx="1124466" cy="757972"/>
            <a:chOff x="2532596" y="2948027"/>
            <a:chExt cx="1124466" cy="757972"/>
          </a:xfrm>
        </p:grpSpPr>
        <p:sp>
          <p:nvSpPr>
            <p:cNvPr id="17" name="Rechteck 16">
              <a:extLst>
                <a:ext uri="{FF2B5EF4-FFF2-40B4-BE49-F238E27FC236}">
                  <a16:creationId xmlns:a16="http://schemas.microsoft.com/office/drawing/2014/main" id="{6CDD731A-C8CA-0813-8293-B33157B715C2}"/>
                </a:ext>
              </a:extLst>
            </p:cNvPr>
            <p:cNvSpPr>
              <a:spLocks/>
            </p:cNvSpPr>
            <p:nvPr/>
          </p:nvSpPr>
          <p:spPr>
            <a:xfrm flipH="1">
              <a:off x="2532596" y="2948027"/>
              <a:ext cx="1124465" cy="387812"/>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r"/>
              <a:r>
                <a:rPr lang="en-US"/>
                <a:t>EMEA</a:t>
              </a:r>
            </a:p>
          </p:txBody>
        </p:sp>
        <p:sp>
          <p:nvSpPr>
            <p:cNvPr id="18" name="Rechteck 17">
              <a:extLst>
                <a:ext uri="{FF2B5EF4-FFF2-40B4-BE49-F238E27FC236}">
                  <a16:creationId xmlns:a16="http://schemas.microsoft.com/office/drawing/2014/main" id="{08424972-1972-CDEC-5E6F-1EFD54DFD8F6}"/>
                </a:ext>
              </a:extLst>
            </p:cNvPr>
            <p:cNvSpPr>
              <a:spLocks/>
            </p:cNvSpPr>
            <p:nvPr/>
          </p:nvSpPr>
          <p:spPr>
            <a:xfrm flipH="1">
              <a:off x="2532730" y="3318187"/>
              <a:ext cx="1124332" cy="387812"/>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r"/>
              <a:r>
                <a:rPr lang="en-US">
                  <a:solidFill>
                    <a:schemeClr val="accent6"/>
                  </a:solidFill>
                </a:rPr>
                <a:t>~17.000</a:t>
              </a:r>
            </a:p>
          </p:txBody>
        </p:sp>
      </p:grpSp>
      <p:grpSp>
        <p:nvGrpSpPr>
          <p:cNvPr id="22" name="Gruppieren 21">
            <a:extLst>
              <a:ext uri="{FF2B5EF4-FFF2-40B4-BE49-F238E27FC236}">
                <a16:creationId xmlns:a16="http://schemas.microsoft.com/office/drawing/2014/main" id="{12F9C99C-7590-BF95-5681-A5D3C2A2B16A}"/>
              </a:ext>
            </a:extLst>
          </p:cNvPr>
          <p:cNvGrpSpPr/>
          <p:nvPr/>
        </p:nvGrpSpPr>
        <p:grpSpPr>
          <a:xfrm>
            <a:off x="6562858" y="3340527"/>
            <a:ext cx="1537081" cy="789722"/>
            <a:chOff x="2532729" y="2948027"/>
            <a:chExt cx="1537081" cy="789722"/>
          </a:xfrm>
        </p:grpSpPr>
        <p:sp>
          <p:nvSpPr>
            <p:cNvPr id="23" name="Rechteck 22">
              <a:extLst>
                <a:ext uri="{FF2B5EF4-FFF2-40B4-BE49-F238E27FC236}">
                  <a16:creationId xmlns:a16="http://schemas.microsoft.com/office/drawing/2014/main" id="{FBAA2460-8305-4F45-748F-FFB68ACE4C9A}"/>
                </a:ext>
              </a:extLst>
            </p:cNvPr>
            <p:cNvSpPr/>
            <p:nvPr/>
          </p:nvSpPr>
          <p:spPr>
            <a:xfrm>
              <a:off x="2532730" y="2948027"/>
              <a:ext cx="1532926" cy="387812"/>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a:solidFill>
                    <a:schemeClr val="tx1"/>
                  </a:solidFill>
                </a:rPr>
                <a:t>Asia Pacific</a:t>
              </a:r>
            </a:p>
          </p:txBody>
        </p:sp>
        <p:sp>
          <p:nvSpPr>
            <p:cNvPr id="24" name="Rechteck 23">
              <a:extLst>
                <a:ext uri="{FF2B5EF4-FFF2-40B4-BE49-F238E27FC236}">
                  <a16:creationId xmlns:a16="http://schemas.microsoft.com/office/drawing/2014/main" id="{9B306F5B-3E8D-52C7-8ABD-076A38192A66}"/>
                </a:ext>
              </a:extLst>
            </p:cNvPr>
            <p:cNvSpPr/>
            <p:nvPr/>
          </p:nvSpPr>
          <p:spPr>
            <a:xfrm>
              <a:off x="2532729" y="3328770"/>
              <a:ext cx="1537081" cy="408979"/>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l"/>
              <a:r>
                <a:rPr lang="en-US">
                  <a:solidFill>
                    <a:schemeClr val="accent6"/>
                  </a:solidFill>
                </a:rPr>
                <a:t>~13.000</a:t>
              </a:r>
            </a:p>
          </p:txBody>
        </p:sp>
      </p:grpSp>
      <p:cxnSp>
        <p:nvCxnSpPr>
          <p:cNvPr id="26" name="Gerader Verbinder 25">
            <a:extLst>
              <a:ext uri="{FF2B5EF4-FFF2-40B4-BE49-F238E27FC236}">
                <a16:creationId xmlns:a16="http://schemas.microsoft.com/office/drawing/2014/main" id="{87396CB9-0A8B-F617-64E0-F8B8C944E4B8}"/>
              </a:ext>
            </a:extLst>
          </p:cNvPr>
          <p:cNvCxnSpPr>
            <a:cxnSpLocks/>
          </p:cNvCxnSpPr>
          <p:nvPr/>
        </p:nvCxnSpPr>
        <p:spPr>
          <a:xfrm>
            <a:off x="8742556" y="4174814"/>
            <a:ext cx="3033132" cy="0"/>
          </a:xfrm>
          <a:prstGeom prst="line">
            <a:avLst/>
          </a:prstGeom>
          <a:ln w="38100">
            <a:solidFill>
              <a:srgbClr val="00C1B6"/>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44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BCD228D-95A1-5A98-715D-C780DA95F4EB}"/>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7" name="Title 1">
            <a:extLst>
              <a:ext uri="{FF2B5EF4-FFF2-40B4-BE49-F238E27FC236}">
                <a16:creationId xmlns:a16="http://schemas.microsoft.com/office/drawing/2014/main" id="{DE358BE3-8E36-10D3-7E05-6AF2D5771560}"/>
              </a:ext>
            </a:extLst>
          </p:cNvPr>
          <p:cNvSpPr>
            <a:spLocks noGrp="1"/>
          </p:cNvSpPr>
          <p:nvPr>
            <p:ph type="title"/>
          </p:nvPr>
        </p:nvSpPr>
        <p:spPr>
          <a:xfrm>
            <a:off x="2706591" y="2442989"/>
            <a:ext cx="3033809" cy="1122536"/>
          </a:xfrm>
        </p:spPr>
        <p:txBody>
          <a:bodyPr wrap="square">
            <a:spAutoFit/>
          </a:bodyPr>
          <a:lstStyle/>
          <a:p>
            <a:pPr>
              <a:lnSpc>
                <a:spcPct val="100000"/>
              </a:lnSpc>
              <a:spcBef>
                <a:spcPts val="0"/>
              </a:spcBef>
            </a:pPr>
            <a:r>
              <a:rPr lang="en-US" sz="7200" kern="0">
                <a:solidFill>
                  <a:srgbClr val="00C1B6"/>
                </a:solidFill>
                <a:cs typeface="Arial"/>
              </a:rPr>
              <a:t>What </a:t>
            </a:r>
            <a:endParaRPr lang="en-US" sz="7200" b="0"/>
          </a:p>
        </p:txBody>
      </p:sp>
      <p:grpSp>
        <p:nvGrpSpPr>
          <p:cNvPr id="12" name="Group 11">
            <a:extLst>
              <a:ext uri="{FF2B5EF4-FFF2-40B4-BE49-F238E27FC236}">
                <a16:creationId xmlns:a16="http://schemas.microsoft.com/office/drawing/2014/main" id="{674AF4B6-D704-D0A6-4991-1D949609FF11}"/>
              </a:ext>
            </a:extLst>
          </p:cNvPr>
          <p:cNvGrpSpPr/>
          <p:nvPr/>
        </p:nvGrpSpPr>
        <p:grpSpPr>
          <a:xfrm>
            <a:off x="1573082" y="2584298"/>
            <a:ext cx="839918" cy="839918"/>
            <a:chOff x="1605691" y="2590733"/>
            <a:chExt cx="774700" cy="774700"/>
          </a:xfrm>
        </p:grpSpPr>
        <p:sp>
          <p:nvSpPr>
            <p:cNvPr id="9" name="Rectangle 8">
              <a:extLst>
                <a:ext uri="{FF2B5EF4-FFF2-40B4-BE49-F238E27FC236}">
                  <a16:creationId xmlns:a16="http://schemas.microsoft.com/office/drawing/2014/main" id="{0B0F6E70-7CAF-88F4-FF20-A8135423B146}"/>
                </a:ext>
              </a:extLst>
            </p:cNvPr>
            <p:cNvSpPr/>
            <p:nvPr/>
          </p:nvSpPr>
          <p:spPr>
            <a:xfrm>
              <a:off x="1605691" y="2590733"/>
              <a:ext cx="774700" cy="774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 name="Freihandform: Form 106">
              <a:extLst>
                <a:ext uri="{FF2B5EF4-FFF2-40B4-BE49-F238E27FC236}">
                  <a16:creationId xmlns:a16="http://schemas.microsoft.com/office/drawing/2014/main" id="{FB09A235-082A-4159-AC0E-0715CBC79F1D}"/>
                </a:ext>
              </a:extLst>
            </p:cNvPr>
            <p:cNvSpPr/>
            <p:nvPr/>
          </p:nvSpPr>
          <p:spPr bwMode="gray">
            <a:xfrm>
              <a:off x="1876485" y="2787548"/>
              <a:ext cx="233113" cy="381071"/>
            </a:xfrm>
            <a:custGeom>
              <a:avLst/>
              <a:gdLst>
                <a:gd name="connsiteX0" fmla="*/ 57935 w 233113"/>
                <a:gd name="connsiteY0" fmla="*/ 252311 h 381071"/>
                <a:gd name="connsiteX1" fmla="*/ 57935 w 233113"/>
                <a:gd name="connsiteY1" fmla="*/ 229411 h 381071"/>
                <a:gd name="connsiteX2" fmla="*/ 101610 w 233113"/>
                <a:gd name="connsiteY2" fmla="*/ 150084 h 381071"/>
                <a:gd name="connsiteX3" fmla="*/ 147410 w 233113"/>
                <a:gd name="connsiteY3" fmla="*/ 97428 h 381071"/>
                <a:gd name="connsiteX4" fmla="*/ 103255 w 233113"/>
                <a:gd name="connsiteY4" fmla="*/ 61226 h 381071"/>
                <a:gd name="connsiteX5" fmla="*/ 22900 w 233113"/>
                <a:gd name="connsiteY5" fmla="*/ 87829 h 381071"/>
                <a:gd name="connsiteX6" fmla="*/ 0 w 233113"/>
                <a:gd name="connsiteY6" fmla="*/ 29825 h 381071"/>
                <a:gd name="connsiteX7" fmla="*/ 115460 w 233113"/>
                <a:gd name="connsiteY7" fmla="*/ 0 h 381071"/>
                <a:gd name="connsiteX8" fmla="*/ 233113 w 233113"/>
                <a:gd name="connsiteY8" fmla="*/ 93657 h 381071"/>
                <a:gd name="connsiteX9" fmla="*/ 172435 w 233113"/>
                <a:gd name="connsiteY9" fmla="*/ 182034 h 381071"/>
                <a:gd name="connsiteX10" fmla="*/ 134657 w 233113"/>
                <a:gd name="connsiteY10" fmla="*/ 241615 h 381071"/>
                <a:gd name="connsiteX11" fmla="*/ 134657 w 233113"/>
                <a:gd name="connsiteY11" fmla="*/ 252242 h 381071"/>
                <a:gd name="connsiteX12" fmla="*/ 58004 w 233113"/>
                <a:gd name="connsiteY12" fmla="*/ 252242 h 381071"/>
                <a:gd name="connsiteX13" fmla="*/ 145764 w 233113"/>
                <a:gd name="connsiteY13" fmla="*/ 332118 h 381071"/>
                <a:gd name="connsiteX14" fmla="*/ 96810 w 233113"/>
                <a:gd name="connsiteY14" fmla="*/ 381071 h 381071"/>
                <a:gd name="connsiteX15" fmla="*/ 47308 w 233113"/>
                <a:gd name="connsiteY15" fmla="*/ 331021 h 381071"/>
                <a:gd name="connsiteX16" fmla="*/ 96810 w 233113"/>
                <a:gd name="connsiteY16" fmla="*/ 282615 h 381071"/>
                <a:gd name="connsiteX17" fmla="*/ 145764 w 233113"/>
                <a:gd name="connsiteY17" fmla="*/ 332118 h 38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113" h="381071">
                  <a:moveTo>
                    <a:pt x="57935" y="252311"/>
                  </a:moveTo>
                  <a:lnTo>
                    <a:pt x="57935" y="229411"/>
                  </a:lnTo>
                  <a:cubicBezTo>
                    <a:pt x="57935" y="183611"/>
                    <a:pt x="60609" y="178880"/>
                    <a:pt x="101610" y="150084"/>
                  </a:cubicBezTo>
                  <a:cubicBezTo>
                    <a:pt x="139936" y="123481"/>
                    <a:pt x="147410" y="114980"/>
                    <a:pt x="147410" y="97428"/>
                  </a:cubicBezTo>
                  <a:cubicBezTo>
                    <a:pt x="147410" y="75076"/>
                    <a:pt x="130406" y="61226"/>
                    <a:pt x="103255" y="61226"/>
                  </a:cubicBezTo>
                  <a:cubicBezTo>
                    <a:pt x="81452" y="61226"/>
                    <a:pt x="54850" y="70277"/>
                    <a:pt x="22900" y="87829"/>
                  </a:cubicBezTo>
                  <a:lnTo>
                    <a:pt x="0" y="29825"/>
                  </a:lnTo>
                  <a:cubicBezTo>
                    <a:pt x="41000" y="9050"/>
                    <a:pt x="75076" y="0"/>
                    <a:pt x="115460" y="0"/>
                  </a:cubicBezTo>
                  <a:cubicBezTo>
                    <a:pt x="189439" y="0"/>
                    <a:pt x="233113" y="35104"/>
                    <a:pt x="233113" y="93657"/>
                  </a:cubicBezTo>
                  <a:cubicBezTo>
                    <a:pt x="233113" y="129858"/>
                    <a:pt x="217687" y="152209"/>
                    <a:pt x="172435" y="182034"/>
                  </a:cubicBezTo>
                  <a:cubicBezTo>
                    <a:pt x="137811" y="204934"/>
                    <a:pt x="134657" y="210213"/>
                    <a:pt x="134657" y="241615"/>
                  </a:cubicBezTo>
                  <a:lnTo>
                    <a:pt x="134657" y="252242"/>
                  </a:lnTo>
                  <a:lnTo>
                    <a:pt x="58004" y="252242"/>
                  </a:lnTo>
                  <a:close/>
                  <a:moveTo>
                    <a:pt x="145764" y="332118"/>
                  </a:moveTo>
                  <a:cubicBezTo>
                    <a:pt x="145764" y="360297"/>
                    <a:pt x="124990" y="381071"/>
                    <a:pt x="96810" y="381071"/>
                  </a:cubicBezTo>
                  <a:cubicBezTo>
                    <a:pt x="68631" y="381071"/>
                    <a:pt x="47308" y="360297"/>
                    <a:pt x="47308" y="331021"/>
                  </a:cubicBezTo>
                  <a:cubicBezTo>
                    <a:pt x="47308" y="303321"/>
                    <a:pt x="68631" y="282615"/>
                    <a:pt x="96810" y="282615"/>
                  </a:cubicBezTo>
                  <a:cubicBezTo>
                    <a:pt x="124990" y="282615"/>
                    <a:pt x="145764" y="303390"/>
                    <a:pt x="145764" y="332118"/>
                  </a:cubicBezTo>
                  <a:close/>
                </a:path>
              </a:pathLst>
            </a:custGeom>
            <a:solidFill>
              <a:schemeClr val="bg2"/>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grpSp>
      <p:sp>
        <p:nvSpPr>
          <p:cNvPr id="11" name="TextBox 10">
            <a:extLst>
              <a:ext uri="{FF2B5EF4-FFF2-40B4-BE49-F238E27FC236}">
                <a16:creationId xmlns:a16="http://schemas.microsoft.com/office/drawing/2014/main" id="{CB6A9ACB-0CEB-D16C-46FB-A0D1C6CB1046}"/>
              </a:ext>
            </a:extLst>
          </p:cNvPr>
          <p:cNvSpPr txBox="1"/>
          <p:nvPr/>
        </p:nvSpPr>
        <p:spPr>
          <a:xfrm>
            <a:off x="1605691" y="3652649"/>
            <a:ext cx="6096000" cy="1218795"/>
          </a:xfrm>
          <a:prstGeom prst="rect">
            <a:avLst/>
          </a:prstGeom>
          <a:noFill/>
        </p:spPr>
        <p:txBody>
          <a:bodyPr wrap="square" lIns="0" tIns="0" rIns="0" bIns="0">
            <a:spAutoFit/>
          </a:bodyPr>
          <a:lstStyle/>
          <a:p>
            <a:pPr>
              <a:lnSpc>
                <a:spcPct val="90000"/>
              </a:lnSpc>
            </a:pPr>
            <a:r>
              <a:rPr lang="en-US" sz="4400" b="0">
                <a:solidFill>
                  <a:prstClr val="white"/>
                </a:solidFill>
                <a:cs typeface="Arial"/>
              </a:rPr>
              <a:t>are the challenges our </a:t>
            </a:r>
            <a:br>
              <a:rPr lang="en-US" sz="4400" b="0">
                <a:solidFill>
                  <a:prstClr val="white"/>
                </a:solidFill>
                <a:cs typeface="Arial"/>
              </a:rPr>
            </a:br>
            <a:r>
              <a:rPr lang="en-US" sz="4400" b="0">
                <a:solidFill>
                  <a:prstClr val="white"/>
                </a:solidFill>
                <a:cs typeface="Arial"/>
              </a:rPr>
              <a:t>customers face?</a:t>
            </a:r>
            <a:endParaRPr lang="en-US" sz="4400"/>
          </a:p>
        </p:txBody>
      </p:sp>
    </p:spTree>
    <p:extLst>
      <p:ext uri="{BB962C8B-B14F-4D97-AF65-F5344CB8AC3E}">
        <p14:creationId xmlns:p14="http://schemas.microsoft.com/office/powerpoint/2010/main" val="14110293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7088E-33B6-2C67-C80F-0FECC2FC81E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5AFC0F0-B0DB-5447-EFC9-A06E3B66F1DF}"/>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7" name="Title 1">
            <a:extLst>
              <a:ext uri="{FF2B5EF4-FFF2-40B4-BE49-F238E27FC236}">
                <a16:creationId xmlns:a16="http://schemas.microsoft.com/office/drawing/2014/main" id="{9C526753-64AF-1552-819D-8B186CC07B30}"/>
              </a:ext>
            </a:extLst>
          </p:cNvPr>
          <p:cNvSpPr txBox="1">
            <a:spLocks/>
          </p:cNvSpPr>
          <p:nvPr/>
        </p:nvSpPr>
        <p:spPr bwMode="black">
          <a:xfrm>
            <a:off x="2706591" y="2442989"/>
            <a:ext cx="3033809" cy="1122536"/>
          </a:xfrm>
          <a:prstGeom prst="rect">
            <a:avLst/>
          </a:prstGeom>
        </p:spPr>
        <p:txBody>
          <a:bodyPr vert="horz" wrap="square" lIns="0" tIns="0" rIns="324000" bIns="14400" rtlCol="0" anchor="t" anchorCtr="0">
            <a:sp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lnSpc>
                <a:spcPct val="100000"/>
              </a:lnSpc>
              <a:spcBef>
                <a:spcPts val="0"/>
              </a:spcBef>
              <a:buClrTx/>
            </a:pPr>
            <a:r>
              <a:rPr lang="en-US" sz="7200" kern="0">
                <a:solidFill>
                  <a:srgbClr val="00C1B6"/>
                </a:solidFill>
                <a:cs typeface="Arial"/>
              </a:rPr>
              <a:t>How</a:t>
            </a:r>
            <a:endParaRPr lang="en-US" sz="7200" b="0"/>
          </a:p>
        </p:txBody>
      </p:sp>
      <p:grpSp>
        <p:nvGrpSpPr>
          <p:cNvPr id="8" name="Group 7">
            <a:extLst>
              <a:ext uri="{FF2B5EF4-FFF2-40B4-BE49-F238E27FC236}">
                <a16:creationId xmlns:a16="http://schemas.microsoft.com/office/drawing/2014/main" id="{64A9F168-FE74-6CF8-273F-B9F5280D693A}"/>
              </a:ext>
            </a:extLst>
          </p:cNvPr>
          <p:cNvGrpSpPr/>
          <p:nvPr/>
        </p:nvGrpSpPr>
        <p:grpSpPr>
          <a:xfrm>
            <a:off x="1573082" y="2584298"/>
            <a:ext cx="839918" cy="839918"/>
            <a:chOff x="1605691" y="2590733"/>
            <a:chExt cx="774700" cy="774700"/>
          </a:xfrm>
        </p:grpSpPr>
        <p:sp>
          <p:nvSpPr>
            <p:cNvPr id="9" name="Rectangle 8">
              <a:extLst>
                <a:ext uri="{FF2B5EF4-FFF2-40B4-BE49-F238E27FC236}">
                  <a16:creationId xmlns:a16="http://schemas.microsoft.com/office/drawing/2014/main" id="{AB996C3E-6854-55E8-AE57-93925AAD9F06}"/>
                </a:ext>
              </a:extLst>
            </p:cNvPr>
            <p:cNvSpPr/>
            <p:nvPr/>
          </p:nvSpPr>
          <p:spPr>
            <a:xfrm>
              <a:off x="1605691" y="2590733"/>
              <a:ext cx="774700" cy="774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Freihandform: Form 106">
              <a:extLst>
                <a:ext uri="{FF2B5EF4-FFF2-40B4-BE49-F238E27FC236}">
                  <a16:creationId xmlns:a16="http://schemas.microsoft.com/office/drawing/2014/main" id="{09797EC6-18A8-4679-F1A4-9358F608CB3A}"/>
                </a:ext>
              </a:extLst>
            </p:cNvPr>
            <p:cNvSpPr/>
            <p:nvPr/>
          </p:nvSpPr>
          <p:spPr bwMode="gray">
            <a:xfrm>
              <a:off x="1876485" y="2787548"/>
              <a:ext cx="233113" cy="381071"/>
            </a:xfrm>
            <a:custGeom>
              <a:avLst/>
              <a:gdLst>
                <a:gd name="connsiteX0" fmla="*/ 57935 w 233113"/>
                <a:gd name="connsiteY0" fmla="*/ 252311 h 381071"/>
                <a:gd name="connsiteX1" fmla="*/ 57935 w 233113"/>
                <a:gd name="connsiteY1" fmla="*/ 229411 h 381071"/>
                <a:gd name="connsiteX2" fmla="*/ 101610 w 233113"/>
                <a:gd name="connsiteY2" fmla="*/ 150084 h 381071"/>
                <a:gd name="connsiteX3" fmla="*/ 147410 w 233113"/>
                <a:gd name="connsiteY3" fmla="*/ 97428 h 381071"/>
                <a:gd name="connsiteX4" fmla="*/ 103255 w 233113"/>
                <a:gd name="connsiteY4" fmla="*/ 61226 h 381071"/>
                <a:gd name="connsiteX5" fmla="*/ 22900 w 233113"/>
                <a:gd name="connsiteY5" fmla="*/ 87829 h 381071"/>
                <a:gd name="connsiteX6" fmla="*/ 0 w 233113"/>
                <a:gd name="connsiteY6" fmla="*/ 29825 h 381071"/>
                <a:gd name="connsiteX7" fmla="*/ 115460 w 233113"/>
                <a:gd name="connsiteY7" fmla="*/ 0 h 381071"/>
                <a:gd name="connsiteX8" fmla="*/ 233113 w 233113"/>
                <a:gd name="connsiteY8" fmla="*/ 93657 h 381071"/>
                <a:gd name="connsiteX9" fmla="*/ 172435 w 233113"/>
                <a:gd name="connsiteY9" fmla="*/ 182034 h 381071"/>
                <a:gd name="connsiteX10" fmla="*/ 134657 w 233113"/>
                <a:gd name="connsiteY10" fmla="*/ 241615 h 381071"/>
                <a:gd name="connsiteX11" fmla="*/ 134657 w 233113"/>
                <a:gd name="connsiteY11" fmla="*/ 252242 h 381071"/>
                <a:gd name="connsiteX12" fmla="*/ 58004 w 233113"/>
                <a:gd name="connsiteY12" fmla="*/ 252242 h 381071"/>
                <a:gd name="connsiteX13" fmla="*/ 145764 w 233113"/>
                <a:gd name="connsiteY13" fmla="*/ 332118 h 381071"/>
                <a:gd name="connsiteX14" fmla="*/ 96810 w 233113"/>
                <a:gd name="connsiteY14" fmla="*/ 381071 h 381071"/>
                <a:gd name="connsiteX15" fmla="*/ 47308 w 233113"/>
                <a:gd name="connsiteY15" fmla="*/ 331021 h 381071"/>
                <a:gd name="connsiteX16" fmla="*/ 96810 w 233113"/>
                <a:gd name="connsiteY16" fmla="*/ 282615 h 381071"/>
                <a:gd name="connsiteX17" fmla="*/ 145764 w 233113"/>
                <a:gd name="connsiteY17" fmla="*/ 332118 h 38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113" h="381071">
                  <a:moveTo>
                    <a:pt x="57935" y="252311"/>
                  </a:moveTo>
                  <a:lnTo>
                    <a:pt x="57935" y="229411"/>
                  </a:lnTo>
                  <a:cubicBezTo>
                    <a:pt x="57935" y="183611"/>
                    <a:pt x="60609" y="178880"/>
                    <a:pt x="101610" y="150084"/>
                  </a:cubicBezTo>
                  <a:cubicBezTo>
                    <a:pt x="139936" y="123481"/>
                    <a:pt x="147410" y="114980"/>
                    <a:pt x="147410" y="97428"/>
                  </a:cubicBezTo>
                  <a:cubicBezTo>
                    <a:pt x="147410" y="75076"/>
                    <a:pt x="130406" y="61226"/>
                    <a:pt x="103255" y="61226"/>
                  </a:cubicBezTo>
                  <a:cubicBezTo>
                    <a:pt x="81452" y="61226"/>
                    <a:pt x="54850" y="70277"/>
                    <a:pt x="22900" y="87829"/>
                  </a:cubicBezTo>
                  <a:lnTo>
                    <a:pt x="0" y="29825"/>
                  </a:lnTo>
                  <a:cubicBezTo>
                    <a:pt x="41000" y="9050"/>
                    <a:pt x="75076" y="0"/>
                    <a:pt x="115460" y="0"/>
                  </a:cubicBezTo>
                  <a:cubicBezTo>
                    <a:pt x="189439" y="0"/>
                    <a:pt x="233113" y="35104"/>
                    <a:pt x="233113" y="93657"/>
                  </a:cubicBezTo>
                  <a:cubicBezTo>
                    <a:pt x="233113" y="129858"/>
                    <a:pt x="217687" y="152209"/>
                    <a:pt x="172435" y="182034"/>
                  </a:cubicBezTo>
                  <a:cubicBezTo>
                    <a:pt x="137811" y="204934"/>
                    <a:pt x="134657" y="210213"/>
                    <a:pt x="134657" y="241615"/>
                  </a:cubicBezTo>
                  <a:lnTo>
                    <a:pt x="134657" y="252242"/>
                  </a:lnTo>
                  <a:lnTo>
                    <a:pt x="58004" y="252242"/>
                  </a:lnTo>
                  <a:close/>
                  <a:moveTo>
                    <a:pt x="145764" y="332118"/>
                  </a:moveTo>
                  <a:cubicBezTo>
                    <a:pt x="145764" y="360297"/>
                    <a:pt x="124990" y="381071"/>
                    <a:pt x="96810" y="381071"/>
                  </a:cubicBezTo>
                  <a:cubicBezTo>
                    <a:pt x="68631" y="381071"/>
                    <a:pt x="47308" y="360297"/>
                    <a:pt x="47308" y="331021"/>
                  </a:cubicBezTo>
                  <a:cubicBezTo>
                    <a:pt x="47308" y="303321"/>
                    <a:pt x="68631" y="282615"/>
                    <a:pt x="96810" y="282615"/>
                  </a:cubicBezTo>
                  <a:cubicBezTo>
                    <a:pt x="124990" y="282615"/>
                    <a:pt x="145764" y="303390"/>
                    <a:pt x="145764" y="332118"/>
                  </a:cubicBezTo>
                  <a:close/>
                </a:path>
              </a:pathLst>
            </a:custGeom>
            <a:solidFill>
              <a:schemeClr val="bg2"/>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grpSp>
      <p:sp>
        <p:nvSpPr>
          <p:cNvPr id="11" name="TextBox 10">
            <a:extLst>
              <a:ext uri="{FF2B5EF4-FFF2-40B4-BE49-F238E27FC236}">
                <a16:creationId xmlns:a16="http://schemas.microsoft.com/office/drawing/2014/main" id="{9DC25B1C-7B64-ECDA-762E-7A0307110E17}"/>
              </a:ext>
            </a:extLst>
          </p:cNvPr>
          <p:cNvSpPr txBox="1"/>
          <p:nvPr/>
        </p:nvSpPr>
        <p:spPr>
          <a:xfrm>
            <a:off x="1605690" y="3652649"/>
            <a:ext cx="7939753" cy="609398"/>
          </a:xfrm>
          <a:prstGeom prst="rect">
            <a:avLst/>
          </a:prstGeom>
          <a:noFill/>
        </p:spPr>
        <p:txBody>
          <a:bodyPr wrap="square" lIns="0" tIns="0" rIns="0" bIns="0">
            <a:spAutoFit/>
          </a:bodyPr>
          <a:lstStyle/>
          <a:p>
            <a:pPr>
              <a:lnSpc>
                <a:spcPct val="90000"/>
              </a:lnSpc>
            </a:pPr>
            <a:r>
              <a:rPr lang="en-US" sz="4400">
                <a:solidFill>
                  <a:prstClr val="white"/>
                </a:solidFill>
                <a:cs typeface="Arial"/>
              </a:rPr>
              <a:t>do customers benefit today?</a:t>
            </a:r>
            <a:endParaRPr lang="en-US" sz="4400"/>
          </a:p>
        </p:txBody>
      </p:sp>
    </p:spTree>
    <p:extLst>
      <p:ext uri="{BB962C8B-B14F-4D97-AF65-F5344CB8AC3E}">
        <p14:creationId xmlns:p14="http://schemas.microsoft.com/office/powerpoint/2010/main" val="2543024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057D1D-BA46-E61C-5039-A15D1DFD0281}"/>
              </a:ext>
            </a:extLst>
          </p:cNvPr>
          <p:cNvGraphicFramePr>
            <a:graphicFrameLocks noChangeAspect="1"/>
          </p:cNvGraphicFramePr>
          <p:nvPr>
            <p:custDataLst>
              <p:tags r:id="rId1"/>
            </p:custDataLst>
            <p:extLst>
              <p:ext uri="{D42A27DB-BD31-4B8C-83A1-F6EECF244321}">
                <p14:modId xmlns:p14="http://schemas.microsoft.com/office/powerpoint/2010/main" val="72774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5F057D1D-BA46-E61C-5039-A15D1DFD0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0A28E6B2-F214-C0CE-3291-8DC68A9CD61B}"/>
              </a:ext>
            </a:extLst>
          </p:cNvPr>
          <p:cNvSpPr>
            <a:spLocks/>
          </p:cNvSpPr>
          <p:nvPr/>
        </p:nvSpPr>
        <p:spPr>
          <a:xfrm>
            <a:off x="8187563" y="1414463"/>
            <a:ext cx="3599625" cy="208756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1" name="Rechteck 10">
            <a:extLst>
              <a:ext uri="{FF2B5EF4-FFF2-40B4-BE49-F238E27FC236}">
                <a16:creationId xmlns:a16="http://schemas.microsoft.com/office/drawing/2014/main" id="{E4D6E1E0-EC19-C454-F956-9009A9FAFA5B}"/>
              </a:ext>
            </a:extLst>
          </p:cNvPr>
          <p:cNvSpPr>
            <a:spLocks/>
          </p:cNvSpPr>
          <p:nvPr/>
        </p:nvSpPr>
        <p:spPr>
          <a:xfrm>
            <a:off x="8187563" y="3719513"/>
            <a:ext cx="3599625" cy="208756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2" name="Textfeld 41">
            <a:extLst>
              <a:ext uri="{FF2B5EF4-FFF2-40B4-BE49-F238E27FC236}">
                <a16:creationId xmlns:a16="http://schemas.microsoft.com/office/drawing/2014/main" id="{13BEF655-CCEF-A91D-87C3-23819C813AE1}"/>
              </a:ext>
            </a:extLst>
          </p:cNvPr>
          <p:cNvSpPr txBox="1">
            <a:spLocks/>
          </p:cNvSpPr>
          <p:nvPr/>
        </p:nvSpPr>
        <p:spPr>
          <a:xfrm>
            <a:off x="9720004" y="1944024"/>
            <a:ext cx="1855172" cy="923330"/>
          </a:xfrm>
          <a:prstGeom prst="rect">
            <a:avLst/>
          </a:prstGeom>
          <a:noFill/>
        </p:spPr>
        <p:txBody>
          <a:bodyPr wrap="square" lIns="0" tIns="0" rIns="0" bIns="0">
            <a:spAutoFit/>
          </a:bodyPr>
          <a:lstStyle/>
          <a:p>
            <a:pPr>
              <a:spcAft>
                <a:spcPts val="0"/>
              </a:spcAft>
            </a:pPr>
            <a:r>
              <a:rPr lang="en-US" sz="3200" b="1" cap="all" spc="100">
                <a:solidFill>
                  <a:srgbClr val="00C1B6"/>
                </a:solidFill>
              </a:rPr>
              <a:t>25%</a:t>
            </a:r>
          </a:p>
          <a:p>
            <a:pPr>
              <a:spcAft>
                <a:spcPts val="0"/>
              </a:spcAft>
            </a:pPr>
            <a:r>
              <a:rPr lang="en-US" sz="1400" b="1">
                <a:solidFill>
                  <a:schemeClr val="tx1"/>
                </a:solidFill>
              </a:rPr>
              <a:t>Savings </a:t>
            </a:r>
            <a:r>
              <a:rPr lang="en-US" sz="1400">
                <a:solidFill>
                  <a:schemeClr val="tx1"/>
                </a:solidFill>
              </a:rPr>
              <a:t>in project administration</a:t>
            </a:r>
          </a:p>
        </p:txBody>
      </p:sp>
      <p:sp>
        <p:nvSpPr>
          <p:cNvPr id="43" name="Textfeld 42">
            <a:extLst>
              <a:ext uri="{FF2B5EF4-FFF2-40B4-BE49-F238E27FC236}">
                <a16:creationId xmlns:a16="http://schemas.microsoft.com/office/drawing/2014/main" id="{62B7FAC6-AD65-C61C-BD16-E55DF169215B}"/>
              </a:ext>
            </a:extLst>
          </p:cNvPr>
          <p:cNvSpPr txBox="1">
            <a:spLocks/>
          </p:cNvSpPr>
          <p:nvPr/>
        </p:nvSpPr>
        <p:spPr>
          <a:xfrm>
            <a:off x="9720004" y="4239031"/>
            <a:ext cx="1855172" cy="707886"/>
          </a:xfrm>
          <a:prstGeom prst="rect">
            <a:avLst/>
          </a:prstGeom>
          <a:noFill/>
        </p:spPr>
        <p:txBody>
          <a:bodyPr wrap="square" lIns="0" tIns="0" rIns="0" bIns="0">
            <a:spAutoFit/>
          </a:bodyPr>
          <a:lstStyle/>
          <a:p>
            <a:pPr>
              <a:spcAft>
                <a:spcPts val="0"/>
              </a:spcAft>
            </a:pPr>
            <a:r>
              <a:rPr lang="en-US" sz="3200" b="1" cap="all" spc="100">
                <a:solidFill>
                  <a:srgbClr val="00C1B6"/>
                </a:solidFill>
              </a:rPr>
              <a:t>20%</a:t>
            </a:r>
          </a:p>
          <a:p>
            <a:pPr>
              <a:spcAft>
                <a:spcPts val="0"/>
              </a:spcAft>
            </a:pPr>
            <a:r>
              <a:rPr lang="en-US" sz="1400" b="1">
                <a:solidFill>
                  <a:schemeClr val="tx1"/>
                </a:solidFill>
              </a:rPr>
              <a:t>Reduced </a:t>
            </a:r>
            <a:r>
              <a:rPr lang="en-US" sz="1400">
                <a:solidFill>
                  <a:schemeClr val="tx1"/>
                </a:solidFill>
              </a:rPr>
              <a:t>testing</a:t>
            </a:r>
          </a:p>
        </p:txBody>
      </p:sp>
      <p:sp>
        <p:nvSpPr>
          <p:cNvPr id="2" name="Titel 1">
            <a:extLst>
              <a:ext uri="{FF2B5EF4-FFF2-40B4-BE49-F238E27FC236}">
                <a16:creationId xmlns:a16="http://schemas.microsoft.com/office/drawing/2014/main" id="{65149F62-2584-A755-7BFB-0F670F3C1864}"/>
              </a:ext>
            </a:extLst>
          </p:cNvPr>
          <p:cNvSpPr>
            <a:spLocks noGrp="1"/>
          </p:cNvSpPr>
          <p:nvPr>
            <p:ph type="title"/>
          </p:nvPr>
        </p:nvSpPr>
        <p:spPr/>
        <p:txBody>
          <a:bodyPr vert="horz"/>
          <a:lstStyle/>
          <a:p>
            <a:r>
              <a:rPr lang="en-US"/>
              <a:t>With PCS neo, we help our customers drive efficiency </a:t>
            </a:r>
          </a:p>
        </p:txBody>
      </p:sp>
      <p:sp>
        <p:nvSpPr>
          <p:cNvPr id="3" name="Fußzeilenplatzhalter 2">
            <a:extLst>
              <a:ext uri="{FF2B5EF4-FFF2-40B4-BE49-F238E27FC236}">
                <a16:creationId xmlns:a16="http://schemas.microsoft.com/office/drawing/2014/main" id="{2455EDBB-34E3-106A-5197-21250BAF806A}"/>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8" name="Rechteck 7">
            <a:extLst>
              <a:ext uri="{FF2B5EF4-FFF2-40B4-BE49-F238E27FC236}">
                <a16:creationId xmlns:a16="http://schemas.microsoft.com/office/drawing/2014/main" id="{7F5A7DFB-0F45-8CB7-E43A-46228A2C4E56}"/>
              </a:ext>
            </a:extLst>
          </p:cNvPr>
          <p:cNvSpPr>
            <a:spLocks/>
          </p:cNvSpPr>
          <p:nvPr/>
        </p:nvSpPr>
        <p:spPr>
          <a:xfrm>
            <a:off x="4298950" y="1414463"/>
            <a:ext cx="3599625" cy="208756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Rechteck 9">
            <a:extLst>
              <a:ext uri="{FF2B5EF4-FFF2-40B4-BE49-F238E27FC236}">
                <a16:creationId xmlns:a16="http://schemas.microsoft.com/office/drawing/2014/main" id="{9FA7F85B-8A41-629C-E3F3-E7B4E27FAC05}"/>
              </a:ext>
            </a:extLst>
          </p:cNvPr>
          <p:cNvSpPr>
            <a:spLocks/>
          </p:cNvSpPr>
          <p:nvPr/>
        </p:nvSpPr>
        <p:spPr>
          <a:xfrm>
            <a:off x="4298950" y="3719513"/>
            <a:ext cx="3599625" cy="208756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Rechteck 11">
            <a:extLst>
              <a:ext uri="{FF2B5EF4-FFF2-40B4-BE49-F238E27FC236}">
                <a16:creationId xmlns:a16="http://schemas.microsoft.com/office/drawing/2014/main" id="{54A42730-240D-54DA-8759-FE0A85E37C7F}"/>
              </a:ext>
            </a:extLst>
          </p:cNvPr>
          <p:cNvSpPr>
            <a:spLocks/>
          </p:cNvSpPr>
          <p:nvPr/>
        </p:nvSpPr>
        <p:spPr>
          <a:xfrm>
            <a:off x="411163" y="3719513"/>
            <a:ext cx="3599625" cy="208756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Textfeld 13">
            <a:extLst>
              <a:ext uri="{FF2B5EF4-FFF2-40B4-BE49-F238E27FC236}">
                <a16:creationId xmlns:a16="http://schemas.microsoft.com/office/drawing/2014/main" id="{8B4AB926-A381-9455-F857-FC74CA96AD99}"/>
              </a:ext>
            </a:extLst>
          </p:cNvPr>
          <p:cNvSpPr txBox="1">
            <a:spLocks/>
          </p:cNvSpPr>
          <p:nvPr/>
        </p:nvSpPr>
        <p:spPr>
          <a:xfrm>
            <a:off x="5831390" y="1944024"/>
            <a:ext cx="1896942" cy="923330"/>
          </a:xfrm>
          <a:prstGeom prst="rect">
            <a:avLst/>
          </a:prstGeom>
          <a:noFill/>
        </p:spPr>
        <p:txBody>
          <a:bodyPr wrap="square" lIns="0" tIns="0" rIns="0" bIns="0">
            <a:spAutoFit/>
          </a:bodyPr>
          <a:lstStyle/>
          <a:p>
            <a:pPr>
              <a:spcAft>
                <a:spcPts val="0"/>
              </a:spcAft>
            </a:pPr>
            <a:r>
              <a:rPr lang="en-US" sz="3200" b="1" cap="all" spc="100">
                <a:solidFill>
                  <a:srgbClr val="00C1B6"/>
                </a:solidFill>
              </a:rPr>
              <a:t>15%</a:t>
            </a:r>
          </a:p>
          <a:p>
            <a:pPr>
              <a:spcAft>
                <a:spcPts val="0"/>
              </a:spcAft>
            </a:pPr>
            <a:r>
              <a:rPr lang="en-US" sz="1400" b="1">
                <a:solidFill>
                  <a:schemeClr val="tx1"/>
                </a:solidFill>
              </a:rPr>
              <a:t>Lower </a:t>
            </a:r>
            <a:r>
              <a:rPr lang="en-US" sz="1400">
                <a:solidFill>
                  <a:schemeClr val="tx1"/>
                </a:solidFill>
              </a:rPr>
              <a:t>Total Cost of Ownership (TCO)</a:t>
            </a:r>
            <a:endParaRPr lang="en-US" sz="1400" cap="all" spc="100">
              <a:solidFill>
                <a:schemeClr val="tx1"/>
              </a:solidFill>
            </a:endParaRPr>
          </a:p>
        </p:txBody>
      </p:sp>
      <p:grpSp>
        <p:nvGrpSpPr>
          <p:cNvPr id="15" name="siemens, purchase, finance, currency, währung, coins, münzen, decrease, abgang, geld, money, abstieg, absteigen, negativ, minimize costs, kosten, minimieren, savings, ersparnisse">
            <a:extLst>
              <a:ext uri="{FF2B5EF4-FFF2-40B4-BE49-F238E27FC236}">
                <a16:creationId xmlns:a16="http://schemas.microsoft.com/office/drawing/2014/main" id="{DB26E7F0-686F-0D87-5E54-9E6B47FFEB62}"/>
              </a:ext>
            </a:extLst>
          </p:cNvPr>
          <p:cNvGrpSpPr>
            <a:grpSpLocks/>
          </p:cNvGrpSpPr>
          <p:nvPr/>
        </p:nvGrpSpPr>
        <p:grpSpPr>
          <a:xfrm>
            <a:off x="4550950" y="1944024"/>
            <a:ext cx="1028440" cy="1028440"/>
            <a:chOff x="5009666" y="2777439"/>
            <a:chExt cx="1028440" cy="1028440"/>
          </a:xfrm>
        </p:grpSpPr>
        <p:sp>
          <p:nvSpPr>
            <p:cNvPr id="16" name="Freihandform: Form 15">
              <a:extLst>
                <a:ext uri="{FF2B5EF4-FFF2-40B4-BE49-F238E27FC236}">
                  <a16:creationId xmlns:a16="http://schemas.microsoft.com/office/drawing/2014/main" id="{18268658-A134-0B7D-5226-95B42A0ADE6E}"/>
                </a:ext>
              </a:extLst>
            </p:cNvPr>
            <p:cNvSpPr/>
            <p:nvPr/>
          </p:nvSpPr>
          <p:spPr>
            <a:xfrm>
              <a:off x="5009666"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rgbClr val="00C1B6"/>
            </a:solidFill>
            <a:ln w="6794" cap="flat">
              <a:noFill/>
              <a:prstDash val="solid"/>
              <a:miter/>
            </a:ln>
          </p:spPr>
          <p:txBody>
            <a:bodyPr rtlCol="0" anchor="ctr"/>
            <a:lstStyle/>
            <a:p>
              <a:endParaRPr lang="en-US"/>
            </a:p>
          </p:txBody>
        </p:sp>
        <p:sp>
          <p:nvSpPr>
            <p:cNvPr id="17" name="Freihandform: Form 16">
              <a:extLst>
                <a:ext uri="{FF2B5EF4-FFF2-40B4-BE49-F238E27FC236}">
                  <a16:creationId xmlns:a16="http://schemas.microsoft.com/office/drawing/2014/main" id="{A12B2634-3406-0329-A627-8054FC01B145}"/>
                </a:ext>
              </a:extLst>
            </p:cNvPr>
            <p:cNvSpPr/>
            <p:nvPr/>
          </p:nvSpPr>
          <p:spPr>
            <a:xfrm>
              <a:off x="5304485" y="3050866"/>
              <a:ext cx="453336" cy="473905"/>
            </a:xfrm>
            <a:custGeom>
              <a:avLst/>
              <a:gdLst>
                <a:gd name="connsiteX0" fmla="*/ 137125 w 453336"/>
                <a:gd name="connsiteY0" fmla="*/ 220223 h 473905"/>
                <a:gd name="connsiteX1" fmla="*/ 246826 w 453336"/>
                <a:gd name="connsiteY1" fmla="*/ 220223 h 473905"/>
                <a:gd name="connsiteX2" fmla="*/ 246826 w 453336"/>
                <a:gd name="connsiteY2" fmla="*/ 473905 h 473905"/>
                <a:gd name="connsiteX3" fmla="*/ 137125 w 453336"/>
                <a:gd name="connsiteY3" fmla="*/ 473905 h 473905"/>
                <a:gd name="connsiteX4" fmla="*/ 137125 w 453336"/>
                <a:gd name="connsiteY4" fmla="*/ 220223 h 473905"/>
                <a:gd name="connsiteX5" fmla="*/ 0 w 453336"/>
                <a:gd name="connsiteY5" fmla="*/ 473905 h 473905"/>
                <a:gd name="connsiteX6" fmla="*/ 109700 w 453336"/>
                <a:gd name="connsiteY6" fmla="*/ 473905 h 473905"/>
                <a:gd name="connsiteX7" fmla="*/ 109700 w 453336"/>
                <a:gd name="connsiteY7" fmla="*/ 158517 h 473905"/>
                <a:gd name="connsiteX8" fmla="*/ 0 w 453336"/>
                <a:gd name="connsiteY8" fmla="*/ 158517 h 473905"/>
                <a:gd name="connsiteX9" fmla="*/ 0 w 453336"/>
                <a:gd name="connsiteY9" fmla="*/ 473905 h 473905"/>
                <a:gd name="connsiteX10" fmla="*/ 274251 w 453336"/>
                <a:gd name="connsiteY10" fmla="*/ 473905 h 473905"/>
                <a:gd name="connsiteX11" fmla="*/ 383951 w 453336"/>
                <a:gd name="connsiteY11" fmla="*/ 473905 h 473905"/>
                <a:gd name="connsiteX12" fmla="*/ 383951 w 453336"/>
                <a:gd name="connsiteY12" fmla="*/ 288786 h 473905"/>
                <a:gd name="connsiteX13" fmla="*/ 274251 w 453336"/>
                <a:gd name="connsiteY13" fmla="*/ 288786 h 473905"/>
                <a:gd name="connsiteX14" fmla="*/ 274251 w 453336"/>
                <a:gd name="connsiteY14" fmla="*/ 473905 h 473905"/>
                <a:gd name="connsiteX15" fmla="*/ 453336 w 453336"/>
                <a:gd name="connsiteY15" fmla="*/ 62529 h 473905"/>
                <a:gd name="connsiteX16" fmla="*/ 453336 w 453336"/>
                <a:gd name="connsiteY16" fmla="*/ 199654 h 473905"/>
                <a:gd name="connsiteX17" fmla="*/ 316211 w 453336"/>
                <a:gd name="connsiteY17" fmla="*/ 199654 h 473905"/>
                <a:gd name="connsiteX18" fmla="*/ 316211 w 453336"/>
                <a:gd name="connsiteY18" fmla="*/ 158517 h 473905"/>
                <a:gd name="connsiteX19" fmla="*/ 383128 w 453336"/>
                <a:gd name="connsiteY19" fmla="*/ 158517 h 473905"/>
                <a:gd name="connsiteX20" fmla="*/ 253682 w 453336"/>
                <a:gd name="connsiteY20" fmla="*/ 29071 h 473905"/>
                <a:gd name="connsiteX21" fmla="*/ 282752 w 453336"/>
                <a:gd name="connsiteY21" fmla="*/ 0 h 473905"/>
                <a:gd name="connsiteX22" fmla="*/ 412199 w 453336"/>
                <a:gd name="connsiteY22" fmla="*/ 129446 h 473905"/>
                <a:gd name="connsiteX23" fmla="*/ 412199 w 453336"/>
                <a:gd name="connsiteY23" fmla="*/ 62529 h 473905"/>
                <a:gd name="connsiteX24" fmla="*/ 453336 w 453336"/>
                <a:gd name="connsiteY24" fmla="*/ 62529 h 47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3336" h="473905">
                  <a:moveTo>
                    <a:pt x="137125" y="220223"/>
                  </a:moveTo>
                  <a:lnTo>
                    <a:pt x="246826" y="220223"/>
                  </a:lnTo>
                  <a:lnTo>
                    <a:pt x="246826" y="473905"/>
                  </a:lnTo>
                  <a:lnTo>
                    <a:pt x="137125" y="473905"/>
                  </a:lnTo>
                  <a:lnTo>
                    <a:pt x="137125" y="220223"/>
                  </a:lnTo>
                  <a:close/>
                  <a:moveTo>
                    <a:pt x="0" y="473905"/>
                  </a:moveTo>
                  <a:lnTo>
                    <a:pt x="109700" y="473905"/>
                  </a:lnTo>
                  <a:lnTo>
                    <a:pt x="109700" y="158517"/>
                  </a:lnTo>
                  <a:lnTo>
                    <a:pt x="0" y="158517"/>
                  </a:lnTo>
                  <a:lnTo>
                    <a:pt x="0" y="473905"/>
                  </a:lnTo>
                  <a:close/>
                  <a:moveTo>
                    <a:pt x="274251" y="473905"/>
                  </a:moveTo>
                  <a:lnTo>
                    <a:pt x="383951" y="473905"/>
                  </a:lnTo>
                  <a:lnTo>
                    <a:pt x="383951" y="288786"/>
                  </a:lnTo>
                  <a:lnTo>
                    <a:pt x="274251" y="288786"/>
                  </a:lnTo>
                  <a:lnTo>
                    <a:pt x="274251" y="473905"/>
                  </a:lnTo>
                  <a:close/>
                  <a:moveTo>
                    <a:pt x="453336" y="62529"/>
                  </a:moveTo>
                  <a:lnTo>
                    <a:pt x="453336" y="199654"/>
                  </a:lnTo>
                  <a:lnTo>
                    <a:pt x="316211" y="199654"/>
                  </a:lnTo>
                  <a:lnTo>
                    <a:pt x="316211" y="158517"/>
                  </a:lnTo>
                  <a:lnTo>
                    <a:pt x="383128" y="158517"/>
                  </a:lnTo>
                  <a:lnTo>
                    <a:pt x="253682" y="29071"/>
                  </a:lnTo>
                  <a:lnTo>
                    <a:pt x="282752" y="0"/>
                  </a:lnTo>
                  <a:lnTo>
                    <a:pt x="412199" y="129446"/>
                  </a:lnTo>
                  <a:lnTo>
                    <a:pt x="412199" y="62529"/>
                  </a:lnTo>
                  <a:lnTo>
                    <a:pt x="453336" y="62529"/>
                  </a:lnTo>
                  <a:close/>
                </a:path>
              </a:pathLst>
            </a:custGeom>
            <a:solidFill>
              <a:srgbClr val="000028"/>
            </a:solidFill>
            <a:ln w="6794" cap="flat">
              <a:noFill/>
              <a:prstDash val="solid"/>
              <a:miter/>
            </a:ln>
          </p:spPr>
          <p:txBody>
            <a:bodyPr rtlCol="0" anchor="ctr"/>
            <a:lstStyle/>
            <a:p>
              <a:endParaRPr lang="en-US"/>
            </a:p>
          </p:txBody>
        </p:sp>
      </p:grpSp>
      <p:grpSp>
        <p:nvGrpSpPr>
          <p:cNvPr id="18" name="siemens, time, zeit, clock, watch, uhr, schnell, sehr schnell, utraschnell, ultrafast">
            <a:extLst>
              <a:ext uri="{FF2B5EF4-FFF2-40B4-BE49-F238E27FC236}">
                <a16:creationId xmlns:a16="http://schemas.microsoft.com/office/drawing/2014/main" id="{EB6B11C9-80C1-62E1-675C-FA29A6C70811}"/>
              </a:ext>
            </a:extLst>
          </p:cNvPr>
          <p:cNvGrpSpPr>
            <a:grpSpLocks/>
          </p:cNvGrpSpPr>
          <p:nvPr/>
        </p:nvGrpSpPr>
        <p:grpSpPr>
          <a:xfrm>
            <a:off x="8439563" y="1944024"/>
            <a:ext cx="1028440" cy="1028440"/>
            <a:chOff x="10758748" y="1638752"/>
            <a:chExt cx="1028440" cy="1028440"/>
          </a:xfrm>
        </p:grpSpPr>
        <p:sp>
          <p:nvSpPr>
            <p:cNvPr id="19" name="Freihandform: Form 18">
              <a:extLst>
                <a:ext uri="{FF2B5EF4-FFF2-40B4-BE49-F238E27FC236}">
                  <a16:creationId xmlns:a16="http://schemas.microsoft.com/office/drawing/2014/main" id="{4A89F90F-7955-B5A1-0635-805783CF2883}"/>
                </a:ext>
              </a:extLst>
            </p:cNvPr>
            <p:cNvSpPr/>
            <p:nvPr/>
          </p:nvSpPr>
          <p:spPr>
            <a:xfrm>
              <a:off x="10758748" y="1638752"/>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rgbClr val="00C1B6"/>
            </a:solidFill>
            <a:ln w="6794" cap="flat">
              <a:noFill/>
              <a:prstDash val="solid"/>
              <a:miter/>
            </a:ln>
          </p:spPr>
          <p:txBody>
            <a:bodyPr rtlCol="0" anchor="ctr"/>
            <a:lstStyle/>
            <a:p>
              <a:endParaRPr lang="en-US"/>
            </a:p>
          </p:txBody>
        </p:sp>
        <p:sp>
          <p:nvSpPr>
            <p:cNvPr id="20" name="Freihandform: Form 19">
              <a:extLst>
                <a:ext uri="{FF2B5EF4-FFF2-40B4-BE49-F238E27FC236}">
                  <a16:creationId xmlns:a16="http://schemas.microsoft.com/office/drawing/2014/main" id="{165FCC48-E4C6-5D45-6442-BF5C7634F607}"/>
                </a:ext>
              </a:extLst>
            </p:cNvPr>
            <p:cNvSpPr/>
            <p:nvPr/>
          </p:nvSpPr>
          <p:spPr>
            <a:xfrm>
              <a:off x="10937010" y="1913002"/>
              <a:ext cx="630776" cy="479938"/>
            </a:xfrm>
            <a:custGeom>
              <a:avLst/>
              <a:gdLst>
                <a:gd name="connsiteX0" fmla="*/ 630777 w 630776"/>
                <a:gd name="connsiteY0" fmla="*/ 239969 h 479938"/>
                <a:gd name="connsiteX1" fmla="*/ 390807 w 630776"/>
                <a:gd name="connsiteY1" fmla="*/ 479939 h 479938"/>
                <a:gd name="connsiteX2" fmla="*/ 189302 w 630776"/>
                <a:gd name="connsiteY2" fmla="*/ 370238 h 479938"/>
                <a:gd name="connsiteX3" fmla="*/ 249911 w 630776"/>
                <a:gd name="connsiteY3" fmla="*/ 370238 h 479938"/>
                <a:gd name="connsiteX4" fmla="*/ 390739 w 630776"/>
                <a:gd name="connsiteY4" fmla="*/ 431945 h 479938"/>
                <a:gd name="connsiteX5" fmla="*/ 582714 w 630776"/>
                <a:gd name="connsiteY5" fmla="*/ 239969 h 479938"/>
                <a:gd name="connsiteX6" fmla="*/ 390739 w 630776"/>
                <a:gd name="connsiteY6" fmla="*/ 47994 h 479938"/>
                <a:gd name="connsiteX7" fmla="*/ 214190 w 630776"/>
                <a:gd name="connsiteY7" fmla="*/ 164550 h 479938"/>
                <a:gd name="connsiteX8" fmla="*/ 162905 w 630776"/>
                <a:gd name="connsiteY8" fmla="*/ 164550 h 479938"/>
                <a:gd name="connsiteX9" fmla="*/ 390739 w 630776"/>
                <a:gd name="connsiteY9" fmla="*/ 0 h 479938"/>
                <a:gd name="connsiteX10" fmla="*/ 630708 w 630776"/>
                <a:gd name="connsiteY10" fmla="*/ 239969 h 479938"/>
                <a:gd name="connsiteX11" fmla="*/ 500507 w 630776"/>
                <a:gd name="connsiteY11" fmla="*/ 233113 h 479938"/>
                <a:gd name="connsiteX12" fmla="*/ 411376 w 630776"/>
                <a:gd name="connsiteY12" fmla="*/ 233113 h 479938"/>
                <a:gd name="connsiteX13" fmla="*/ 411376 w 630776"/>
                <a:gd name="connsiteY13" fmla="*/ 95988 h 479938"/>
                <a:gd name="connsiteX14" fmla="*/ 363382 w 630776"/>
                <a:gd name="connsiteY14" fmla="*/ 95988 h 479938"/>
                <a:gd name="connsiteX15" fmla="*/ 363382 w 630776"/>
                <a:gd name="connsiteY15" fmla="*/ 281107 h 479938"/>
                <a:gd name="connsiteX16" fmla="*/ 500507 w 630776"/>
                <a:gd name="connsiteY16" fmla="*/ 281107 h 479938"/>
                <a:gd name="connsiteX17" fmla="*/ 500507 w 630776"/>
                <a:gd name="connsiteY17" fmla="*/ 233113 h 479938"/>
                <a:gd name="connsiteX18" fmla="*/ 294819 w 630776"/>
                <a:gd name="connsiteY18" fmla="*/ 281107 h 479938"/>
                <a:gd name="connsiteX19" fmla="*/ 294819 w 630776"/>
                <a:gd name="connsiteY19" fmla="*/ 253682 h 479938"/>
                <a:gd name="connsiteX20" fmla="*/ 95988 w 630776"/>
                <a:gd name="connsiteY20" fmla="*/ 253682 h 479938"/>
                <a:gd name="connsiteX21" fmla="*/ 95988 w 630776"/>
                <a:gd name="connsiteY21" fmla="*/ 281107 h 479938"/>
                <a:gd name="connsiteX22" fmla="*/ 294819 w 630776"/>
                <a:gd name="connsiteY22" fmla="*/ 281107 h 479938"/>
                <a:gd name="connsiteX23" fmla="*/ 212544 w 630776"/>
                <a:gd name="connsiteY23" fmla="*/ 226257 h 479938"/>
                <a:gd name="connsiteX24" fmla="*/ 212544 w 630776"/>
                <a:gd name="connsiteY24" fmla="*/ 198832 h 479938"/>
                <a:gd name="connsiteX25" fmla="*/ 0 w 630776"/>
                <a:gd name="connsiteY25" fmla="*/ 198832 h 479938"/>
                <a:gd name="connsiteX26" fmla="*/ 0 w 630776"/>
                <a:gd name="connsiteY26" fmla="*/ 226257 h 479938"/>
                <a:gd name="connsiteX27" fmla="*/ 212544 w 630776"/>
                <a:gd name="connsiteY27" fmla="*/ 226257 h 479938"/>
                <a:gd name="connsiteX28" fmla="*/ 246826 w 630776"/>
                <a:gd name="connsiteY28" fmla="*/ 335957 h 479938"/>
                <a:gd name="connsiteX29" fmla="*/ 246826 w 630776"/>
                <a:gd name="connsiteY29" fmla="*/ 308532 h 479938"/>
                <a:gd name="connsiteX30" fmla="*/ 61706 w 630776"/>
                <a:gd name="connsiteY30" fmla="*/ 308532 h 479938"/>
                <a:gd name="connsiteX31" fmla="*/ 61706 w 630776"/>
                <a:gd name="connsiteY31" fmla="*/ 335957 h 479938"/>
                <a:gd name="connsiteX32" fmla="*/ 246826 w 630776"/>
                <a:gd name="connsiteY32" fmla="*/ 335957 h 47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30776" h="479938">
                  <a:moveTo>
                    <a:pt x="630777" y="239969"/>
                  </a:moveTo>
                  <a:cubicBezTo>
                    <a:pt x="630777" y="372501"/>
                    <a:pt x="523339" y="479939"/>
                    <a:pt x="390807" y="479939"/>
                  </a:cubicBezTo>
                  <a:cubicBezTo>
                    <a:pt x="306338" y="479939"/>
                    <a:pt x="232085" y="436264"/>
                    <a:pt x="189302" y="370238"/>
                  </a:cubicBezTo>
                  <a:lnTo>
                    <a:pt x="249911" y="370238"/>
                  </a:lnTo>
                  <a:cubicBezTo>
                    <a:pt x="285015" y="408154"/>
                    <a:pt x="335134" y="431945"/>
                    <a:pt x="390739" y="431945"/>
                  </a:cubicBezTo>
                  <a:cubicBezTo>
                    <a:pt x="496599" y="431945"/>
                    <a:pt x="582714" y="345830"/>
                    <a:pt x="582714" y="239969"/>
                  </a:cubicBezTo>
                  <a:cubicBezTo>
                    <a:pt x="582714" y="134109"/>
                    <a:pt x="496599" y="47994"/>
                    <a:pt x="390739" y="47994"/>
                  </a:cubicBezTo>
                  <a:cubicBezTo>
                    <a:pt x="311617" y="47994"/>
                    <a:pt x="243603" y="96056"/>
                    <a:pt x="214190" y="164550"/>
                  </a:cubicBezTo>
                  <a:lnTo>
                    <a:pt x="162905" y="164550"/>
                  </a:lnTo>
                  <a:cubicBezTo>
                    <a:pt x="194512" y="68974"/>
                    <a:pt x="284535" y="0"/>
                    <a:pt x="390739" y="0"/>
                  </a:cubicBezTo>
                  <a:cubicBezTo>
                    <a:pt x="523270" y="0"/>
                    <a:pt x="630708" y="107438"/>
                    <a:pt x="630708" y="239969"/>
                  </a:cubicBezTo>
                  <a:close/>
                  <a:moveTo>
                    <a:pt x="500507" y="233113"/>
                  </a:moveTo>
                  <a:lnTo>
                    <a:pt x="411376" y="233113"/>
                  </a:lnTo>
                  <a:lnTo>
                    <a:pt x="411376" y="95988"/>
                  </a:lnTo>
                  <a:lnTo>
                    <a:pt x="363382" y="95988"/>
                  </a:lnTo>
                  <a:lnTo>
                    <a:pt x="363382" y="281107"/>
                  </a:lnTo>
                  <a:lnTo>
                    <a:pt x="500507" y="281107"/>
                  </a:lnTo>
                  <a:lnTo>
                    <a:pt x="500507" y="233113"/>
                  </a:lnTo>
                  <a:close/>
                  <a:moveTo>
                    <a:pt x="294819" y="281107"/>
                  </a:moveTo>
                  <a:lnTo>
                    <a:pt x="294819" y="253682"/>
                  </a:lnTo>
                  <a:lnTo>
                    <a:pt x="95988" y="253682"/>
                  </a:lnTo>
                  <a:lnTo>
                    <a:pt x="95988" y="281107"/>
                  </a:lnTo>
                  <a:lnTo>
                    <a:pt x="294819" y="281107"/>
                  </a:lnTo>
                  <a:close/>
                  <a:moveTo>
                    <a:pt x="212544" y="226257"/>
                  </a:moveTo>
                  <a:lnTo>
                    <a:pt x="212544" y="198832"/>
                  </a:lnTo>
                  <a:lnTo>
                    <a:pt x="0" y="198832"/>
                  </a:lnTo>
                  <a:lnTo>
                    <a:pt x="0" y="226257"/>
                  </a:lnTo>
                  <a:lnTo>
                    <a:pt x="212544" y="226257"/>
                  </a:lnTo>
                  <a:close/>
                  <a:moveTo>
                    <a:pt x="246826" y="335957"/>
                  </a:moveTo>
                  <a:lnTo>
                    <a:pt x="246826" y="308532"/>
                  </a:lnTo>
                  <a:lnTo>
                    <a:pt x="61706" y="308532"/>
                  </a:lnTo>
                  <a:lnTo>
                    <a:pt x="61706" y="335957"/>
                  </a:lnTo>
                  <a:lnTo>
                    <a:pt x="246826" y="335957"/>
                  </a:lnTo>
                  <a:close/>
                </a:path>
              </a:pathLst>
            </a:custGeom>
            <a:solidFill>
              <a:srgbClr val="000028"/>
            </a:solidFill>
            <a:ln w="6794" cap="flat">
              <a:noFill/>
              <a:prstDash val="solid"/>
              <a:miter/>
            </a:ln>
          </p:spPr>
          <p:txBody>
            <a:bodyPr rtlCol="0" anchor="ctr"/>
            <a:lstStyle/>
            <a:p>
              <a:endParaRPr lang="en-US"/>
            </a:p>
          </p:txBody>
        </p:sp>
      </p:grpSp>
      <p:grpSp>
        <p:nvGrpSpPr>
          <p:cNvPr id="21" name="siemens, gearing, engineering, zahnrad, gear, produktion, production, machine, maschine, waltung, maintenance">
            <a:extLst>
              <a:ext uri="{FF2B5EF4-FFF2-40B4-BE49-F238E27FC236}">
                <a16:creationId xmlns:a16="http://schemas.microsoft.com/office/drawing/2014/main" id="{2E0E1B53-614C-CF15-447A-86C7518D75D6}"/>
              </a:ext>
            </a:extLst>
          </p:cNvPr>
          <p:cNvGrpSpPr>
            <a:grpSpLocks/>
          </p:cNvGrpSpPr>
          <p:nvPr/>
        </p:nvGrpSpPr>
        <p:grpSpPr bwMode="gray">
          <a:xfrm>
            <a:off x="665934" y="4249074"/>
            <a:ext cx="1028440" cy="1028440"/>
            <a:chOff x="2710034" y="1638752"/>
            <a:chExt cx="1028440" cy="1028440"/>
          </a:xfrm>
        </p:grpSpPr>
        <p:sp>
          <p:nvSpPr>
            <p:cNvPr id="22" name="Freihandform: Form 21">
              <a:extLst>
                <a:ext uri="{FF2B5EF4-FFF2-40B4-BE49-F238E27FC236}">
                  <a16:creationId xmlns:a16="http://schemas.microsoft.com/office/drawing/2014/main" id="{F97AEF5D-9EE5-D29C-F41F-218235C1561C}"/>
                </a:ext>
              </a:extLst>
            </p:cNvPr>
            <p:cNvSpPr/>
            <p:nvPr/>
          </p:nvSpPr>
          <p:spPr bwMode="gray">
            <a:xfrm>
              <a:off x="2710034" y="1638752"/>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rgbClr val="00C1B6"/>
            </a:solidFill>
            <a:ln w="6794" cap="flat">
              <a:noFill/>
              <a:prstDash val="solid"/>
              <a:miter/>
            </a:ln>
          </p:spPr>
          <p:txBody>
            <a:bodyPr rtlCol="0" anchor="ctr"/>
            <a:lstStyle/>
            <a:p>
              <a:endParaRPr lang="en-US"/>
            </a:p>
          </p:txBody>
        </p:sp>
        <p:sp>
          <p:nvSpPr>
            <p:cNvPr id="23" name="Freihandform: Form 22">
              <a:extLst>
                <a:ext uri="{FF2B5EF4-FFF2-40B4-BE49-F238E27FC236}">
                  <a16:creationId xmlns:a16="http://schemas.microsoft.com/office/drawing/2014/main" id="{B73CDB0C-A718-0E4B-0F6D-31AD930AD9F9}"/>
                </a:ext>
              </a:extLst>
            </p:cNvPr>
            <p:cNvSpPr/>
            <p:nvPr/>
          </p:nvSpPr>
          <p:spPr bwMode="gray">
            <a:xfrm>
              <a:off x="2963647" y="1913002"/>
              <a:ext cx="520390" cy="493651"/>
            </a:xfrm>
            <a:custGeom>
              <a:avLst/>
              <a:gdLst>
                <a:gd name="connsiteX0" fmla="*/ 172778 w 520390"/>
                <a:gd name="connsiteY0" fmla="*/ 201849 h 493651"/>
                <a:gd name="connsiteX1" fmla="*/ 201848 w 520390"/>
                <a:gd name="connsiteY1" fmla="*/ 172778 h 493651"/>
                <a:gd name="connsiteX2" fmla="*/ 175520 w 520390"/>
                <a:gd name="connsiteY2" fmla="*/ 146450 h 493651"/>
                <a:gd name="connsiteX3" fmla="*/ 182171 w 520390"/>
                <a:gd name="connsiteY3" fmla="*/ 130269 h 493651"/>
                <a:gd name="connsiteX4" fmla="*/ 219401 w 520390"/>
                <a:gd name="connsiteY4" fmla="*/ 130269 h 493651"/>
                <a:gd name="connsiteX5" fmla="*/ 219401 w 520390"/>
                <a:gd name="connsiteY5" fmla="*/ 89131 h 493651"/>
                <a:gd name="connsiteX6" fmla="*/ 182171 w 520390"/>
                <a:gd name="connsiteY6" fmla="*/ 89131 h 493651"/>
                <a:gd name="connsiteX7" fmla="*/ 175520 w 520390"/>
                <a:gd name="connsiteY7" fmla="*/ 72951 h 493651"/>
                <a:gd name="connsiteX8" fmla="*/ 201848 w 520390"/>
                <a:gd name="connsiteY8" fmla="*/ 46623 h 493651"/>
                <a:gd name="connsiteX9" fmla="*/ 172778 w 520390"/>
                <a:gd name="connsiteY9" fmla="*/ 17552 h 493651"/>
                <a:gd name="connsiteX10" fmla="*/ 146450 w 520390"/>
                <a:gd name="connsiteY10" fmla="*/ 43880 h 493651"/>
                <a:gd name="connsiteX11" fmla="*/ 130269 w 520390"/>
                <a:gd name="connsiteY11" fmla="*/ 37230 h 493651"/>
                <a:gd name="connsiteX12" fmla="*/ 130269 w 520390"/>
                <a:gd name="connsiteY12" fmla="*/ 0 h 493651"/>
                <a:gd name="connsiteX13" fmla="*/ 89131 w 520390"/>
                <a:gd name="connsiteY13" fmla="*/ 0 h 493651"/>
                <a:gd name="connsiteX14" fmla="*/ 89131 w 520390"/>
                <a:gd name="connsiteY14" fmla="*/ 37230 h 493651"/>
                <a:gd name="connsiteX15" fmla="*/ 72951 w 520390"/>
                <a:gd name="connsiteY15" fmla="*/ 43880 h 493651"/>
                <a:gd name="connsiteX16" fmla="*/ 46623 w 520390"/>
                <a:gd name="connsiteY16" fmla="*/ 17552 h 493651"/>
                <a:gd name="connsiteX17" fmla="*/ 17552 w 520390"/>
                <a:gd name="connsiteY17" fmla="*/ 46623 h 493651"/>
                <a:gd name="connsiteX18" fmla="*/ 43880 w 520390"/>
                <a:gd name="connsiteY18" fmla="*/ 72951 h 493651"/>
                <a:gd name="connsiteX19" fmla="*/ 37230 w 520390"/>
                <a:gd name="connsiteY19" fmla="*/ 89131 h 493651"/>
                <a:gd name="connsiteX20" fmla="*/ 0 w 520390"/>
                <a:gd name="connsiteY20" fmla="*/ 89131 h 493651"/>
                <a:gd name="connsiteX21" fmla="*/ 0 w 520390"/>
                <a:gd name="connsiteY21" fmla="*/ 130269 h 493651"/>
                <a:gd name="connsiteX22" fmla="*/ 37230 w 520390"/>
                <a:gd name="connsiteY22" fmla="*/ 130269 h 493651"/>
                <a:gd name="connsiteX23" fmla="*/ 43880 w 520390"/>
                <a:gd name="connsiteY23" fmla="*/ 146450 h 493651"/>
                <a:gd name="connsiteX24" fmla="*/ 17552 w 520390"/>
                <a:gd name="connsiteY24" fmla="*/ 172778 h 493651"/>
                <a:gd name="connsiteX25" fmla="*/ 46623 w 520390"/>
                <a:gd name="connsiteY25" fmla="*/ 201849 h 493651"/>
                <a:gd name="connsiteX26" fmla="*/ 72951 w 520390"/>
                <a:gd name="connsiteY26" fmla="*/ 175520 h 493651"/>
                <a:gd name="connsiteX27" fmla="*/ 89131 w 520390"/>
                <a:gd name="connsiteY27" fmla="*/ 182171 h 493651"/>
                <a:gd name="connsiteX28" fmla="*/ 89131 w 520390"/>
                <a:gd name="connsiteY28" fmla="*/ 219401 h 493651"/>
                <a:gd name="connsiteX29" fmla="*/ 130269 w 520390"/>
                <a:gd name="connsiteY29" fmla="*/ 219401 h 493651"/>
                <a:gd name="connsiteX30" fmla="*/ 130269 w 520390"/>
                <a:gd name="connsiteY30" fmla="*/ 182171 h 493651"/>
                <a:gd name="connsiteX31" fmla="*/ 146450 w 520390"/>
                <a:gd name="connsiteY31" fmla="*/ 175520 h 493651"/>
                <a:gd name="connsiteX32" fmla="*/ 172778 w 520390"/>
                <a:gd name="connsiteY32" fmla="*/ 201849 h 493651"/>
                <a:gd name="connsiteX33" fmla="*/ 109769 w 520390"/>
                <a:gd name="connsiteY33" fmla="*/ 157694 h 493651"/>
                <a:gd name="connsiteX34" fmla="*/ 61775 w 520390"/>
                <a:gd name="connsiteY34" fmla="*/ 109700 h 493651"/>
                <a:gd name="connsiteX35" fmla="*/ 109769 w 520390"/>
                <a:gd name="connsiteY35" fmla="*/ 61706 h 493651"/>
                <a:gd name="connsiteX36" fmla="*/ 157763 w 520390"/>
                <a:gd name="connsiteY36" fmla="*/ 109700 h 493651"/>
                <a:gd name="connsiteX37" fmla="*/ 157763 w 520390"/>
                <a:gd name="connsiteY37" fmla="*/ 109700 h 493651"/>
                <a:gd name="connsiteX38" fmla="*/ 109769 w 520390"/>
                <a:gd name="connsiteY38" fmla="*/ 157694 h 493651"/>
                <a:gd name="connsiteX39" fmla="*/ 361942 w 520390"/>
                <a:gd name="connsiteY39" fmla="*/ 332598 h 493651"/>
                <a:gd name="connsiteX40" fmla="*/ 390602 w 520390"/>
                <a:gd name="connsiteY40" fmla="*/ 316074 h 493651"/>
                <a:gd name="connsiteX41" fmla="*/ 370033 w 520390"/>
                <a:gd name="connsiteY41" fmla="*/ 280421 h 493651"/>
                <a:gd name="connsiteX42" fmla="*/ 341305 w 520390"/>
                <a:gd name="connsiteY42" fmla="*/ 297013 h 493651"/>
                <a:gd name="connsiteX43" fmla="*/ 333832 w 520390"/>
                <a:gd name="connsiteY43" fmla="*/ 289540 h 493651"/>
                <a:gd name="connsiteX44" fmla="*/ 350424 w 520390"/>
                <a:gd name="connsiteY44" fmla="*/ 260812 h 493651"/>
                <a:gd name="connsiteX45" fmla="*/ 314771 w 520390"/>
                <a:gd name="connsiteY45" fmla="*/ 240244 h 493651"/>
                <a:gd name="connsiteX46" fmla="*/ 298248 w 520390"/>
                <a:gd name="connsiteY46" fmla="*/ 268903 h 493651"/>
                <a:gd name="connsiteX47" fmla="*/ 288032 w 520390"/>
                <a:gd name="connsiteY47" fmla="*/ 266160 h 493651"/>
                <a:gd name="connsiteX48" fmla="*/ 288032 w 520390"/>
                <a:gd name="connsiteY48" fmla="*/ 233113 h 493651"/>
                <a:gd name="connsiteX49" fmla="*/ 246894 w 520390"/>
                <a:gd name="connsiteY49" fmla="*/ 233113 h 493651"/>
                <a:gd name="connsiteX50" fmla="*/ 246894 w 520390"/>
                <a:gd name="connsiteY50" fmla="*/ 266160 h 493651"/>
                <a:gd name="connsiteX51" fmla="*/ 236678 w 520390"/>
                <a:gd name="connsiteY51" fmla="*/ 268903 h 493651"/>
                <a:gd name="connsiteX52" fmla="*/ 220155 w 520390"/>
                <a:gd name="connsiteY52" fmla="*/ 240244 h 493651"/>
                <a:gd name="connsiteX53" fmla="*/ 184502 w 520390"/>
                <a:gd name="connsiteY53" fmla="*/ 260812 h 493651"/>
                <a:gd name="connsiteX54" fmla="*/ 201094 w 520390"/>
                <a:gd name="connsiteY54" fmla="*/ 289540 h 493651"/>
                <a:gd name="connsiteX55" fmla="*/ 193621 w 520390"/>
                <a:gd name="connsiteY55" fmla="*/ 297013 h 493651"/>
                <a:gd name="connsiteX56" fmla="*/ 164893 w 520390"/>
                <a:gd name="connsiteY56" fmla="*/ 280421 h 493651"/>
                <a:gd name="connsiteX57" fmla="*/ 144324 w 520390"/>
                <a:gd name="connsiteY57" fmla="*/ 316074 h 493651"/>
                <a:gd name="connsiteX58" fmla="*/ 172984 w 520390"/>
                <a:gd name="connsiteY58" fmla="*/ 332598 h 493651"/>
                <a:gd name="connsiteX59" fmla="*/ 170241 w 520390"/>
                <a:gd name="connsiteY59" fmla="*/ 342813 h 493651"/>
                <a:gd name="connsiteX60" fmla="*/ 137194 w 520390"/>
                <a:gd name="connsiteY60" fmla="*/ 342813 h 493651"/>
                <a:gd name="connsiteX61" fmla="*/ 137194 w 520390"/>
                <a:gd name="connsiteY61" fmla="*/ 383951 h 493651"/>
                <a:gd name="connsiteX62" fmla="*/ 170241 w 520390"/>
                <a:gd name="connsiteY62" fmla="*/ 383951 h 493651"/>
                <a:gd name="connsiteX63" fmla="*/ 172984 w 520390"/>
                <a:gd name="connsiteY63" fmla="*/ 394167 h 493651"/>
                <a:gd name="connsiteX64" fmla="*/ 144324 w 520390"/>
                <a:gd name="connsiteY64" fmla="*/ 410690 h 493651"/>
                <a:gd name="connsiteX65" fmla="*/ 164893 w 520390"/>
                <a:gd name="connsiteY65" fmla="*/ 446343 h 493651"/>
                <a:gd name="connsiteX66" fmla="*/ 193621 w 520390"/>
                <a:gd name="connsiteY66" fmla="*/ 429751 h 493651"/>
                <a:gd name="connsiteX67" fmla="*/ 201094 w 520390"/>
                <a:gd name="connsiteY67" fmla="*/ 437224 h 493651"/>
                <a:gd name="connsiteX68" fmla="*/ 184502 w 520390"/>
                <a:gd name="connsiteY68" fmla="*/ 465952 h 493651"/>
                <a:gd name="connsiteX69" fmla="*/ 220155 w 520390"/>
                <a:gd name="connsiteY69" fmla="*/ 486521 h 493651"/>
                <a:gd name="connsiteX70" fmla="*/ 236678 w 520390"/>
                <a:gd name="connsiteY70" fmla="*/ 457861 h 493651"/>
                <a:gd name="connsiteX71" fmla="*/ 246894 w 520390"/>
                <a:gd name="connsiteY71" fmla="*/ 460604 h 493651"/>
                <a:gd name="connsiteX72" fmla="*/ 246894 w 520390"/>
                <a:gd name="connsiteY72" fmla="*/ 493651 h 493651"/>
                <a:gd name="connsiteX73" fmla="*/ 288032 w 520390"/>
                <a:gd name="connsiteY73" fmla="*/ 493651 h 493651"/>
                <a:gd name="connsiteX74" fmla="*/ 288032 w 520390"/>
                <a:gd name="connsiteY74" fmla="*/ 460604 h 493651"/>
                <a:gd name="connsiteX75" fmla="*/ 298248 w 520390"/>
                <a:gd name="connsiteY75" fmla="*/ 457861 h 493651"/>
                <a:gd name="connsiteX76" fmla="*/ 314771 w 520390"/>
                <a:gd name="connsiteY76" fmla="*/ 486521 h 493651"/>
                <a:gd name="connsiteX77" fmla="*/ 350424 w 520390"/>
                <a:gd name="connsiteY77" fmla="*/ 465952 h 493651"/>
                <a:gd name="connsiteX78" fmla="*/ 333832 w 520390"/>
                <a:gd name="connsiteY78" fmla="*/ 437224 h 493651"/>
                <a:gd name="connsiteX79" fmla="*/ 341305 w 520390"/>
                <a:gd name="connsiteY79" fmla="*/ 429751 h 493651"/>
                <a:gd name="connsiteX80" fmla="*/ 370033 w 520390"/>
                <a:gd name="connsiteY80" fmla="*/ 446343 h 493651"/>
                <a:gd name="connsiteX81" fmla="*/ 390602 w 520390"/>
                <a:gd name="connsiteY81" fmla="*/ 410690 h 493651"/>
                <a:gd name="connsiteX82" fmla="*/ 361942 w 520390"/>
                <a:gd name="connsiteY82" fmla="*/ 394167 h 493651"/>
                <a:gd name="connsiteX83" fmla="*/ 364685 w 520390"/>
                <a:gd name="connsiteY83" fmla="*/ 383951 h 493651"/>
                <a:gd name="connsiteX84" fmla="*/ 397732 w 520390"/>
                <a:gd name="connsiteY84" fmla="*/ 383951 h 493651"/>
                <a:gd name="connsiteX85" fmla="*/ 397732 w 520390"/>
                <a:gd name="connsiteY85" fmla="*/ 342813 h 493651"/>
                <a:gd name="connsiteX86" fmla="*/ 364685 w 520390"/>
                <a:gd name="connsiteY86" fmla="*/ 342813 h 493651"/>
                <a:gd name="connsiteX87" fmla="*/ 361942 w 520390"/>
                <a:gd name="connsiteY87" fmla="*/ 332598 h 493651"/>
                <a:gd name="connsiteX88" fmla="*/ 267463 w 520390"/>
                <a:gd name="connsiteY88" fmla="*/ 435373 h 493651"/>
                <a:gd name="connsiteX89" fmla="*/ 195472 w 520390"/>
                <a:gd name="connsiteY89" fmla="*/ 363382 h 493651"/>
                <a:gd name="connsiteX90" fmla="*/ 267463 w 520390"/>
                <a:gd name="connsiteY90" fmla="*/ 291391 h 493651"/>
                <a:gd name="connsiteX91" fmla="*/ 339454 w 520390"/>
                <a:gd name="connsiteY91" fmla="*/ 363382 h 493651"/>
                <a:gd name="connsiteX92" fmla="*/ 267463 w 520390"/>
                <a:gd name="connsiteY92" fmla="*/ 435373 h 493651"/>
                <a:gd name="connsiteX93" fmla="*/ 301744 w 520390"/>
                <a:gd name="connsiteY93" fmla="*/ 363382 h 493651"/>
                <a:gd name="connsiteX94" fmla="*/ 267463 w 520390"/>
                <a:gd name="connsiteY94" fmla="*/ 397663 h 493651"/>
                <a:gd name="connsiteX95" fmla="*/ 233182 w 520390"/>
                <a:gd name="connsiteY95" fmla="*/ 363382 h 493651"/>
                <a:gd name="connsiteX96" fmla="*/ 267463 w 520390"/>
                <a:gd name="connsiteY96" fmla="*/ 329101 h 493651"/>
                <a:gd name="connsiteX97" fmla="*/ 301744 w 520390"/>
                <a:gd name="connsiteY97" fmla="*/ 363382 h 493651"/>
                <a:gd name="connsiteX98" fmla="*/ 500576 w 520390"/>
                <a:gd name="connsiteY98" fmla="*/ 150838 h 493651"/>
                <a:gd name="connsiteX99" fmla="*/ 499479 w 520390"/>
                <a:gd name="connsiteY99" fmla="*/ 139594 h 493651"/>
                <a:gd name="connsiteX100" fmla="*/ 520391 w 520390"/>
                <a:gd name="connsiteY100" fmla="*/ 127527 h 493651"/>
                <a:gd name="connsiteX101" fmla="*/ 499822 w 520390"/>
                <a:gd name="connsiteY101" fmla="*/ 91874 h 493651"/>
                <a:gd name="connsiteX102" fmla="*/ 478910 w 520390"/>
                <a:gd name="connsiteY102" fmla="*/ 103941 h 493651"/>
                <a:gd name="connsiteX103" fmla="*/ 459438 w 520390"/>
                <a:gd name="connsiteY103" fmla="*/ 92697 h 493651"/>
                <a:gd name="connsiteX104" fmla="*/ 459438 w 520390"/>
                <a:gd name="connsiteY104" fmla="*/ 68494 h 493651"/>
                <a:gd name="connsiteX105" fmla="*/ 418301 w 520390"/>
                <a:gd name="connsiteY105" fmla="*/ 68494 h 493651"/>
                <a:gd name="connsiteX106" fmla="*/ 418301 w 520390"/>
                <a:gd name="connsiteY106" fmla="*/ 92697 h 493651"/>
                <a:gd name="connsiteX107" fmla="*/ 398829 w 520390"/>
                <a:gd name="connsiteY107" fmla="*/ 103941 h 493651"/>
                <a:gd name="connsiteX108" fmla="*/ 377917 w 520390"/>
                <a:gd name="connsiteY108" fmla="*/ 91874 h 493651"/>
                <a:gd name="connsiteX109" fmla="*/ 357349 w 520390"/>
                <a:gd name="connsiteY109" fmla="*/ 127527 h 493651"/>
                <a:gd name="connsiteX110" fmla="*/ 378260 w 520390"/>
                <a:gd name="connsiteY110" fmla="*/ 139594 h 493651"/>
                <a:gd name="connsiteX111" fmla="*/ 378260 w 520390"/>
                <a:gd name="connsiteY111" fmla="*/ 162082 h 493651"/>
                <a:gd name="connsiteX112" fmla="*/ 357349 w 520390"/>
                <a:gd name="connsiteY112" fmla="*/ 174149 h 493651"/>
                <a:gd name="connsiteX113" fmla="*/ 377917 w 520390"/>
                <a:gd name="connsiteY113" fmla="*/ 209802 h 493651"/>
                <a:gd name="connsiteX114" fmla="*/ 398829 w 520390"/>
                <a:gd name="connsiteY114" fmla="*/ 197735 h 493651"/>
                <a:gd name="connsiteX115" fmla="*/ 418301 w 520390"/>
                <a:gd name="connsiteY115" fmla="*/ 208979 h 493651"/>
                <a:gd name="connsiteX116" fmla="*/ 418301 w 520390"/>
                <a:gd name="connsiteY116" fmla="*/ 233182 h 493651"/>
                <a:gd name="connsiteX117" fmla="*/ 459438 w 520390"/>
                <a:gd name="connsiteY117" fmla="*/ 233182 h 493651"/>
                <a:gd name="connsiteX118" fmla="*/ 459438 w 520390"/>
                <a:gd name="connsiteY118" fmla="*/ 208979 h 493651"/>
                <a:gd name="connsiteX119" fmla="*/ 478910 w 520390"/>
                <a:gd name="connsiteY119" fmla="*/ 197735 h 493651"/>
                <a:gd name="connsiteX120" fmla="*/ 499822 w 520390"/>
                <a:gd name="connsiteY120" fmla="*/ 209802 h 493651"/>
                <a:gd name="connsiteX121" fmla="*/ 520391 w 520390"/>
                <a:gd name="connsiteY121" fmla="*/ 174149 h 493651"/>
                <a:gd name="connsiteX122" fmla="*/ 499479 w 520390"/>
                <a:gd name="connsiteY122" fmla="*/ 162082 h 493651"/>
                <a:gd name="connsiteX123" fmla="*/ 500576 w 520390"/>
                <a:gd name="connsiteY123" fmla="*/ 150838 h 493651"/>
                <a:gd name="connsiteX124" fmla="*/ 438870 w 520390"/>
                <a:gd name="connsiteY124" fmla="*/ 185119 h 493651"/>
                <a:gd name="connsiteX125" fmla="*/ 404588 w 520390"/>
                <a:gd name="connsiteY125" fmla="*/ 150838 h 493651"/>
                <a:gd name="connsiteX126" fmla="*/ 438870 w 520390"/>
                <a:gd name="connsiteY126" fmla="*/ 116557 h 493651"/>
                <a:gd name="connsiteX127" fmla="*/ 473151 w 520390"/>
                <a:gd name="connsiteY127" fmla="*/ 150838 h 493651"/>
                <a:gd name="connsiteX128" fmla="*/ 438870 w 520390"/>
                <a:gd name="connsiteY128" fmla="*/ 185119 h 49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20390" h="493651">
                  <a:moveTo>
                    <a:pt x="172778" y="201849"/>
                  </a:moveTo>
                  <a:lnTo>
                    <a:pt x="201848" y="172778"/>
                  </a:lnTo>
                  <a:lnTo>
                    <a:pt x="175520" y="146450"/>
                  </a:lnTo>
                  <a:cubicBezTo>
                    <a:pt x="178400" y="141376"/>
                    <a:pt x="180594" y="135891"/>
                    <a:pt x="182171" y="130269"/>
                  </a:cubicBezTo>
                  <a:lnTo>
                    <a:pt x="219401" y="130269"/>
                  </a:lnTo>
                  <a:lnTo>
                    <a:pt x="219401" y="89131"/>
                  </a:lnTo>
                  <a:lnTo>
                    <a:pt x="182171" y="89131"/>
                  </a:lnTo>
                  <a:cubicBezTo>
                    <a:pt x="180594" y="83509"/>
                    <a:pt x="178331" y="78093"/>
                    <a:pt x="175520" y="72951"/>
                  </a:cubicBezTo>
                  <a:lnTo>
                    <a:pt x="201848" y="46623"/>
                  </a:lnTo>
                  <a:lnTo>
                    <a:pt x="172778" y="17552"/>
                  </a:lnTo>
                  <a:lnTo>
                    <a:pt x="146450" y="43880"/>
                  </a:lnTo>
                  <a:cubicBezTo>
                    <a:pt x="141376" y="41000"/>
                    <a:pt x="135891" y="38806"/>
                    <a:pt x="130269" y="37230"/>
                  </a:cubicBezTo>
                  <a:lnTo>
                    <a:pt x="130269" y="0"/>
                  </a:lnTo>
                  <a:lnTo>
                    <a:pt x="89131" y="0"/>
                  </a:lnTo>
                  <a:lnTo>
                    <a:pt x="89131" y="37230"/>
                  </a:lnTo>
                  <a:cubicBezTo>
                    <a:pt x="83509" y="38806"/>
                    <a:pt x="78093" y="41069"/>
                    <a:pt x="72951" y="43880"/>
                  </a:cubicBezTo>
                  <a:lnTo>
                    <a:pt x="46623" y="17552"/>
                  </a:lnTo>
                  <a:lnTo>
                    <a:pt x="17552" y="46623"/>
                  </a:lnTo>
                  <a:lnTo>
                    <a:pt x="43880" y="72951"/>
                  </a:lnTo>
                  <a:cubicBezTo>
                    <a:pt x="41000" y="78024"/>
                    <a:pt x="38806" y="83509"/>
                    <a:pt x="37230" y="89131"/>
                  </a:cubicBezTo>
                  <a:lnTo>
                    <a:pt x="0" y="89131"/>
                  </a:lnTo>
                  <a:lnTo>
                    <a:pt x="0" y="130269"/>
                  </a:lnTo>
                  <a:lnTo>
                    <a:pt x="37230" y="130269"/>
                  </a:lnTo>
                  <a:cubicBezTo>
                    <a:pt x="38806" y="135891"/>
                    <a:pt x="41069" y="141308"/>
                    <a:pt x="43880" y="146450"/>
                  </a:cubicBezTo>
                  <a:lnTo>
                    <a:pt x="17552" y="172778"/>
                  </a:lnTo>
                  <a:lnTo>
                    <a:pt x="46623" y="201849"/>
                  </a:lnTo>
                  <a:lnTo>
                    <a:pt x="72951" y="175520"/>
                  </a:lnTo>
                  <a:cubicBezTo>
                    <a:pt x="78024" y="178400"/>
                    <a:pt x="83509" y="180594"/>
                    <a:pt x="89131" y="182171"/>
                  </a:cubicBezTo>
                  <a:lnTo>
                    <a:pt x="89131" y="219401"/>
                  </a:lnTo>
                  <a:lnTo>
                    <a:pt x="130269" y="219401"/>
                  </a:lnTo>
                  <a:lnTo>
                    <a:pt x="130269" y="182171"/>
                  </a:lnTo>
                  <a:cubicBezTo>
                    <a:pt x="135891" y="180594"/>
                    <a:pt x="141308" y="178332"/>
                    <a:pt x="146450" y="175520"/>
                  </a:cubicBezTo>
                  <a:lnTo>
                    <a:pt x="172778" y="201849"/>
                  </a:lnTo>
                  <a:close/>
                  <a:moveTo>
                    <a:pt x="109769" y="157694"/>
                  </a:moveTo>
                  <a:cubicBezTo>
                    <a:pt x="83235" y="157694"/>
                    <a:pt x="61775" y="136234"/>
                    <a:pt x="61775" y="109700"/>
                  </a:cubicBezTo>
                  <a:cubicBezTo>
                    <a:pt x="61775" y="83167"/>
                    <a:pt x="83235" y="61706"/>
                    <a:pt x="109769" y="61706"/>
                  </a:cubicBezTo>
                  <a:cubicBezTo>
                    <a:pt x="136303" y="61706"/>
                    <a:pt x="157763" y="83167"/>
                    <a:pt x="157763" y="109700"/>
                  </a:cubicBezTo>
                  <a:lnTo>
                    <a:pt x="157763" y="109700"/>
                  </a:lnTo>
                  <a:cubicBezTo>
                    <a:pt x="157763" y="136165"/>
                    <a:pt x="136234" y="157694"/>
                    <a:pt x="109769" y="157694"/>
                  </a:cubicBezTo>
                  <a:close/>
                  <a:moveTo>
                    <a:pt x="361942" y="332598"/>
                  </a:moveTo>
                  <a:lnTo>
                    <a:pt x="390602" y="316074"/>
                  </a:lnTo>
                  <a:lnTo>
                    <a:pt x="370033" y="280421"/>
                  </a:lnTo>
                  <a:lnTo>
                    <a:pt x="341305" y="297013"/>
                  </a:lnTo>
                  <a:cubicBezTo>
                    <a:pt x="338974" y="294408"/>
                    <a:pt x="336506" y="291940"/>
                    <a:pt x="333832" y="289540"/>
                  </a:cubicBezTo>
                  <a:lnTo>
                    <a:pt x="350424" y="260812"/>
                  </a:lnTo>
                  <a:lnTo>
                    <a:pt x="314771" y="240244"/>
                  </a:lnTo>
                  <a:lnTo>
                    <a:pt x="298248" y="268903"/>
                  </a:lnTo>
                  <a:cubicBezTo>
                    <a:pt x="294888" y="267806"/>
                    <a:pt x="291460" y="266846"/>
                    <a:pt x="288032" y="266160"/>
                  </a:cubicBezTo>
                  <a:lnTo>
                    <a:pt x="288032" y="233113"/>
                  </a:lnTo>
                  <a:lnTo>
                    <a:pt x="246894" y="233113"/>
                  </a:lnTo>
                  <a:lnTo>
                    <a:pt x="246894" y="266160"/>
                  </a:lnTo>
                  <a:cubicBezTo>
                    <a:pt x="243466" y="266914"/>
                    <a:pt x="240038" y="267806"/>
                    <a:pt x="236678" y="268903"/>
                  </a:cubicBezTo>
                  <a:lnTo>
                    <a:pt x="220155" y="240244"/>
                  </a:lnTo>
                  <a:lnTo>
                    <a:pt x="184502" y="260812"/>
                  </a:lnTo>
                  <a:lnTo>
                    <a:pt x="201094" y="289540"/>
                  </a:lnTo>
                  <a:cubicBezTo>
                    <a:pt x="198489" y="291871"/>
                    <a:pt x="196021" y="294340"/>
                    <a:pt x="193621" y="297013"/>
                  </a:cubicBezTo>
                  <a:lnTo>
                    <a:pt x="164893" y="280421"/>
                  </a:lnTo>
                  <a:lnTo>
                    <a:pt x="144324" y="316074"/>
                  </a:lnTo>
                  <a:lnTo>
                    <a:pt x="172984" y="332598"/>
                  </a:lnTo>
                  <a:cubicBezTo>
                    <a:pt x="171887" y="335957"/>
                    <a:pt x="170927" y="339385"/>
                    <a:pt x="170241" y="342813"/>
                  </a:cubicBezTo>
                  <a:lnTo>
                    <a:pt x="137194" y="342813"/>
                  </a:lnTo>
                  <a:lnTo>
                    <a:pt x="137194" y="383951"/>
                  </a:lnTo>
                  <a:lnTo>
                    <a:pt x="170241" y="383951"/>
                  </a:lnTo>
                  <a:cubicBezTo>
                    <a:pt x="170995" y="387379"/>
                    <a:pt x="171887" y="390807"/>
                    <a:pt x="172984" y="394167"/>
                  </a:cubicBezTo>
                  <a:lnTo>
                    <a:pt x="144324" y="410690"/>
                  </a:lnTo>
                  <a:lnTo>
                    <a:pt x="164893" y="446343"/>
                  </a:lnTo>
                  <a:lnTo>
                    <a:pt x="193621" y="429751"/>
                  </a:lnTo>
                  <a:cubicBezTo>
                    <a:pt x="195952" y="432356"/>
                    <a:pt x="198420" y="434824"/>
                    <a:pt x="201094" y="437224"/>
                  </a:cubicBezTo>
                  <a:lnTo>
                    <a:pt x="184502" y="465952"/>
                  </a:lnTo>
                  <a:lnTo>
                    <a:pt x="220155" y="486521"/>
                  </a:lnTo>
                  <a:lnTo>
                    <a:pt x="236678" y="457861"/>
                  </a:lnTo>
                  <a:cubicBezTo>
                    <a:pt x="240038" y="458959"/>
                    <a:pt x="243466" y="459918"/>
                    <a:pt x="246894" y="460604"/>
                  </a:cubicBezTo>
                  <a:lnTo>
                    <a:pt x="246894" y="493651"/>
                  </a:lnTo>
                  <a:lnTo>
                    <a:pt x="288032" y="493651"/>
                  </a:lnTo>
                  <a:lnTo>
                    <a:pt x="288032" y="460604"/>
                  </a:lnTo>
                  <a:cubicBezTo>
                    <a:pt x="291460" y="459850"/>
                    <a:pt x="294888" y="458959"/>
                    <a:pt x="298248" y="457861"/>
                  </a:cubicBezTo>
                  <a:lnTo>
                    <a:pt x="314771" y="486521"/>
                  </a:lnTo>
                  <a:lnTo>
                    <a:pt x="350424" y="465952"/>
                  </a:lnTo>
                  <a:lnTo>
                    <a:pt x="333832" y="437224"/>
                  </a:lnTo>
                  <a:cubicBezTo>
                    <a:pt x="336437" y="434893"/>
                    <a:pt x="338905" y="432425"/>
                    <a:pt x="341305" y="429751"/>
                  </a:cubicBezTo>
                  <a:lnTo>
                    <a:pt x="370033" y="446343"/>
                  </a:lnTo>
                  <a:lnTo>
                    <a:pt x="390602" y="410690"/>
                  </a:lnTo>
                  <a:lnTo>
                    <a:pt x="361942" y="394167"/>
                  </a:lnTo>
                  <a:cubicBezTo>
                    <a:pt x="363039" y="390807"/>
                    <a:pt x="363999" y="387379"/>
                    <a:pt x="364685" y="383951"/>
                  </a:cubicBezTo>
                  <a:lnTo>
                    <a:pt x="397732" y="383951"/>
                  </a:lnTo>
                  <a:lnTo>
                    <a:pt x="397732" y="342813"/>
                  </a:lnTo>
                  <a:lnTo>
                    <a:pt x="364685" y="342813"/>
                  </a:lnTo>
                  <a:cubicBezTo>
                    <a:pt x="363931" y="339385"/>
                    <a:pt x="363039" y="335957"/>
                    <a:pt x="361942" y="332598"/>
                  </a:cubicBezTo>
                  <a:close/>
                  <a:moveTo>
                    <a:pt x="267463" y="435373"/>
                  </a:moveTo>
                  <a:cubicBezTo>
                    <a:pt x="227697" y="435373"/>
                    <a:pt x="195472" y="403149"/>
                    <a:pt x="195472" y="363382"/>
                  </a:cubicBezTo>
                  <a:cubicBezTo>
                    <a:pt x="195472" y="323616"/>
                    <a:pt x="227697" y="291391"/>
                    <a:pt x="267463" y="291391"/>
                  </a:cubicBezTo>
                  <a:cubicBezTo>
                    <a:pt x="307229" y="291391"/>
                    <a:pt x="339454" y="323616"/>
                    <a:pt x="339454" y="363382"/>
                  </a:cubicBezTo>
                  <a:cubicBezTo>
                    <a:pt x="339454" y="403149"/>
                    <a:pt x="307229" y="435304"/>
                    <a:pt x="267463" y="435373"/>
                  </a:cubicBezTo>
                  <a:close/>
                  <a:moveTo>
                    <a:pt x="301744" y="363382"/>
                  </a:moveTo>
                  <a:cubicBezTo>
                    <a:pt x="301744" y="382305"/>
                    <a:pt x="286386" y="397663"/>
                    <a:pt x="267463" y="397663"/>
                  </a:cubicBezTo>
                  <a:cubicBezTo>
                    <a:pt x="248540" y="397663"/>
                    <a:pt x="233182" y="382305"/>
                    <a:pt x="233182" y="363382"/>
                  </a:cubicBezTo>
                  <a:cubicBezTo>
                    <a:pt x="233182" y="344459"/>
                    <a:pt x="248540" y="329101"/>
                    <a:pt x="267463" y="329101"/>
                  </a:cubicBezTo>
                  <a:cubicBezTo>
                    <a:pt x="286386" y="329101"/>
                    <a:pt x="301744" y="344459"/>
                    <a:pt x="301744" y="363382"/>
                  </a:cubicBezTo>
                  <a:close/>
                  <a:moveTo>
                    <a:pt x="500576" y="150838"/>
                  </a:moveTo>
                  <a:cubicBezTo>
                    <a:pt x="500576" y="147067"/>
                    <a:pt x="500233" y="143296"/>
                    <a:pt x="499479" y="139594"/>
                  </a:cubicBezTo>
                  <a:lnTo>
                    <a:pt x="520391" y="127527"/>
                  </a:lnTo>
                  <a:lnTo>
                    <a:pt x="499822" y="91874"/>
                  </a:lnTo>
                  <a:lnTo>
                    <a:pt x="478910" y="103941"/>
                  </a:lnTo>
                  <a:cubicBezTo>
                    <a:pt x="473151" y="99004"/>
                    <a:pt x="466569" y="95234"/>
                    <a:pt x="459438" y="92697"/>
                  </a:cubicBezTo>
                  <a:lnTo>
                    <a:pt x="459438" y="68494"/>
                  </a:lnTo>
                  <a:lnTo>
                    <a:pt x="418301" y="68494"/>
                  </a:lnTo>
                  <a:lnTo>
                    <a:pt x="418301" y="92697"/>
                  </a:lnTo>
                  <a:cubicBezTo>
                    <a:pt x="411170" y="95234"/>
                    <a:pt x="404588" y="99004"/>
                    <a:pt x="398829" y="103941"/>
                  </a:cubicBezTo>
                  <a:lnTo>
                    <a:pt x="377917" y="91874"/>
                  </a:lnTo>
                  <a:lnTo>
                    <a:pt x="357349" y="127527"/>
                  </a:lnTo>
                  <a:lnTo>
                    <a:pt x="378260" y="139594"/>
                  </a:lnTo>
                  <a:cubicBezTo>
                    <a:pt x="376820" y="146998"/>
                    <a:pt x="376820" y="154677"/>
                    <a:pt x="378260" y="162082"/>
                  </a:cubicBezTo>
                  <a:lnTo>
                    <a:pt x="357349" y="174149"/>
                  </a:lnTo>
                  <a:lnTo>
                    <a:pt x="377917" y="209802"/>
                  </a:lnTo>
                  <a:lnTo>
                    <a:pt x="398829" y="197735"/>
                  </a:lnTo>
                  <a:cubicBezTo>
                    <a:pt x="404588" y="202671"/>
                    <a:pt x="411170" y="206442"/>
                    <a:pt x="418301" y="208979"/>
                  </a:cubicBezTo>
                  <a:lnTo>
                    <a:pt x="418301" y="233182"/>
                  </a:lnTo>
                  <a:lnTo>
                    <a:pt x="459438" y="233182"/>
                  </a:lnTo>
                  <a:lnTo>
                    <a:pt x="459438" y="208979"/>
                  </a:lnTo>
                  <a:cubicBezTo>
                    <a:pt x="466569" y="206442"/>
                    <a:pt x="473151" y="202671"/>
                    <a:pt x="478910" y="197735"/>
                  </a:cubicBezTo>
                  <a:lnTo>
                    <a:pt x="499822" y="209802"/>
                  </a:lnTo>
                  <a:lnTo>
                    <a:pt x="520391" y="174149"/>
                  </a:lnTo>
                  <a:lnTo>
                    <a:pt x="499479" y="162082"/>
                  </a:lnTo>
                  <a:cubicBezTo>
                    <a:pt x="500165" y="158380"/>
                    <a:pt x="500576" y="154609"/>
                    <a:pt x="500576" y="150838"/>
                  </a:cubicBezTo>
                  <a:close/>
                  <a:moveTo>
                    <a:pt x="438870" y="185119"/>
                  </a:moveTo>
                  <a:cubicBezTo>
                    <a:pt x="419946" y="185119"/>
                    <a:pt x="404588" y="169761"/>
                    <a:pt x="404588" y="150838"/>
                  </a:cubicBezTo>
                  <a:cubicBezTo>
                    <a:pt x="404588" y="131915"/>
                    <a:pt x="419946" y="116557"/>
                    <a:pt x="438870" y="116557"/>
                  </a:cubicBezTo>
                  <a:cubicBezTo>
                    <a:pt x="457793" y="116557"/>
                    <a:pt x="473151" y="131915"/>
                    <a:pt x="473151" y="150838"/>
                  </a:cubicBezTo>
                  <a:cubicBezTo>
                    <a:pt x="473151" y="169761"/>
                    <a:pt x="457793" y="185119"/>
                    <a:pt x="438870" y="185119"/>
                  </a:cubicBezTo>
                  <a:close/>
                </a:path>
              </a:pathLst>
            </a:custGeom>
            <a:solidFill>
              <a:schemeClr val="accent6"/>
            </a:solidFill>
            <a:ln w="6794" cap="flat">
              <a:noFill/>
              <a:prstDash val="solid"/>
              <a:miter/>
            </a:ln>
          </p:spPr>
          <p:txBody>
            <a:bodyPr rtlCol="0" anchor="ctr"/>
            <a:lstStyle/>
            <a:p>
              <a:endParaRPr lang="en-US"/>
            </a:p>
          </p:txBody>
        </p:sp>
      </p:grpSp>
      <p:grpSp>
        <p:nvGrpSpPr>
          <p:cNvPr id="24" name="siemens, efficiency-performance, process, anstieg, rise, diagramm, steigerung, zuwachs, increase, sales, verkäufe, aktien, shares">
            <a:extLst>
              <a:ext uri="{FF2B5EF4-FFF2-40B4-BE49-F238E27FC236}">
                <a16:creationId xmlns:a16="http://schemas.microsoft.com/office/drawing/2014/main" id="{23FC56EF-4FC1-23D0-5C2B-3D667A25C9C4}"/>
              </a:ext>
            </a:extLst>
          </p:cNvPr>
          <p:cNvGrpSpPr>
            <a:grpSpLocks/>
          </p:cNvGrpSpPr>
          <p:nvPr/>
        </p:nvGrpSpPr>
        <p:grpSpPr bwMode="gray">
          <a:xfrm>
            <a:off x="4550950" y="4249074"/>
            <a:ext cx="1028440" cy="1028440"/>
            <a:chOff x="410402" y="1638752"/>
            <a:chExt cx="1028440" cy="1028440"/>
          </a:xfrm>
        </p:grpSpPr>
        <p:sp>
          <p:nvSpPr>
            <p:cNvPr id="25" name="Freihandform: Form 24">
              <a:extLst>
                <a:ext uri="{FF2B5EF4-FFF2-40B4-BE49-F238E27FC236}">
                  <a16:creationId xmlns:a16="http://schemas.microsoft.com/office/drawing/2014/main" id="{301D88BB-E477-3E4C-4776-3B317598C957}"/>
                </a:ext>
              </a:extLst>
            </p:cNvPr>
            <p:cNvSpPr/>
            <p:nvPr/>
          </p:nvSpPr>
          <p:spPr bwMode="gray">
            <a:xfrm>
              <a:off x="410402" y="1638752"/>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rgbClr val="00C1B6"/>
            </a:solidFill>
            <a:ln w="6794" cap="flat">
              <a:noFill/>
              <a:prstDash val="solid"/>
              <a:miter/>
            </a:ln>
          </p:spPr>
          <p:txBody>
            <a:bodyPr rtlCol="0" anchor="ctr"/>
            <a:lstStyle/>
            <a:p>
              <a:endParaRPr lang="en-US"/>
            </a:p>
          </p:txBody>
        </p:sp>
        <p:sp>
          <p:nvSpPr>
            <p:cNvPr id="26" name="Freihandform: Form 25">
              <a:extLst>
                <a:ext uri="{FF2B5EF4-FFF2-40B4-BE49-F238E27FC236}">
                  <a16:creationId xmlns:a16="http://schemas.microsoft.com/office/drawing/2014/main" id="{8E196552-C9C2-A5FA-79FD-7BDCF299E257}"/>
                </a:ext>
              </a:extLst>
            </p:cNvPr>
            <p:cNvSpPr/>
            <p:nvPr/>
          </p:nvSpPr>
          <p:spPr bwMode="gray">
            <a:xfrm>
              <a:off x="725790" y="1914031"/>
              <a:ext cx="415146" cy="478910"/>
            </a:xfrm>
            <a:custGeom>
              <a:avLst/>
              <a:gdLst>
                <a:gd name="connsiteX0" fmla="*/ 137125 w 415146"/>
                <a:gd name="connsiteY0" fmla="*/ 286935 h 478910"/>
                <a:gd name="connsiteX1" fmla="*/ 246826 w 415146"/>
                <a:gd name="connsiteY1" fmla="*/ 286935 h 478910"/>
                <a:gd name="connsiteX2" fmla="*/ 246826 w 415146"/>
                <a:gd name="connsiteY2" fmla="*/ 478910 h 478910"/>
                <a:gd name="connsiteX3" fmla="*/ 137125 w 415146"/>
                <a:gd name="connsiteY3" fmla="*/ 478910 h 478910"/>
                <a:gd name="connsiteX4" fmla="*/ 137125 w 415146"/>
                <a:gd name="connsiteY4" fmla="*/ 286935 h 478910"/>
                <a:gd name="connsiteX5" fmla="*/ 274251 w 415146"/>
                <a:gd name="connsiteY5" fmla="*/ 478910 h 478910"/>
                <a:gd name="connsiteX6" fmla="*/ 383951 w 415146"/>
                <a:gd name="connsiteY6" fmla="*/ 478910 h 478910"/>
                <a:gd name="connsiteX7" fmla="*/ 383951 w 415146"/>
                <a:gd name="connsiteY7" fmla="*/ 225228 h 478910"/>
                <a:gd name="connsiteX8" fmla="*/ 274251 w 415146"/>
                <a:gd name="connsiteY8" fmla="*/ 225228 h 478910"/>
                <a:gd name="connsiteX9" fmla="*/ 274251 w 415146"/>
                <a:gd name="connsiteY9" fmla="*/ 478910 h 478910"/>
                <a:gd name="connsiteX10" fmla="*/ 0 w 415146"/>
                <a:gd name="connsiteY10" fmla="*/ 478910 h 478910"/>
                <a:gd name="connsiteX11" fmla="*/ 109700 w 415146"/>
                <a:gd name="connsiteY11" fmla="*/ 478910 h 478910"/>
                <a:gd name="connsiteX12" fmla="*/ 109700 w 415146"/>
                <a:gd name="connsiteY12" fmla="*/ 355497 h 478910"/>
                <a:gd name="connsiteX13" fmla="*/ 0 w 415146"/>
                <a:gd name="connsiteY13" fmla="*/ 355497 h 478910"/>
                <a:gd name="connsiteX14" fmla="*/ 0 w 415146"/>
                <a:gd name="connsiteY14" fmla="*/ 478910 h 478910"/>
                <a:gd name="connsiteX15" fmla="*/ 294819 w 415146"/>
                <a:gd name="connsiteY15" fmla="*/ 69 h 478910"/>
                <a:gd name="connsiteX16" fmla="*/ 277884 w 415146"/>
                <a:gd name="connsiteY16" fmla="*/ 41275 h 478910"/>
                <a:gd name="connsiteX17" fmla="*/ 335477 w 415146"/>
                <a:gd name="connsiteY17" fmla="*/ 64929 h 478910"/>
                <a:gd name="connsiteX18" fmla="*/ 0 w 415146"/>
                <a:gd name="connsiteY18" fmla="*/ 232702 h 478910"/>
                <a:gd name="connsiteX19" fmla="*/ 0 w 415146"/>
                <a:gd name="connsiteY19" fmla="*/ 286386 h 478910"/>
                <a:gd name="connsiteX20" fmla="*/ 354949 w 415146"/>
                <a:gd name="connsiteY20" fmla="*/ 108877 h 478910"/>
                <a:gd name="connsiteX21" fmla="*/ 341305 w 415146"/>
                <a:gd name="connsiteY21" fmla="*/ 165510 h 478910"/>
                <a:gd name="connsiteX22" fmla="*/ 384637 w 415146"/>
                <a:gd name="connsiteY22" fmla="*/ 175932 h 478910"/>
                <a:gd name="connsiteX23" fmla="*/ 415147 w 415146"/>
                <a:gd name="connsiteY23" fmla="*/ 49434 h 478910"/>
                <a:gd name="connsiteX24" fmla="*/ 294819 w 415146"/>
                <a:gd name="connsiteY24" fmla="*/ 0 h 47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5146" h="478910">
                  <a:moveTo>
                    <a:pt x="137125" y="286935"/>
                  </a:moveTo>
                  <a:lnTo>
                    <a:pt x="246826" y="286935"/>
                  </a:lnTo>
                  <a:lnTo>
                    <a:pt x="246826" y="478910"/>
                  </a:lnTo>
                  <a:lnTo>
                    <a:pt x="137125" y="478910"/>
                  </a:lnTo>
                  <a:lnTo>
                    <a:pt x="137125" y="286935"/>
                  </a:lnTo>
                  <a:close/>
                  <a:moveTo>
                    <a:pt x="274251" y="478910"/>
                  </a:moveTo>
                  <a:lnTo>
                    <a:pt x="383951" y="478910"/>
                  </a:lnTo>
                  <a:lnTo>
                    <a:pt x="383951" y="225228"/>
                  </a:lnTo>
                  <a:lnTo>
                    <a:pt x="274251" y="225228"/>
                  </a:lnTo>
                  <a:lnTo>
                    <a:pt x="274251" y="478910"/>
                  </a:lnTo>
                  <a:close/>
                  <a:moveTo>
                    <a:pt x="0" y="478910"/>
                  </a:moveTo>
                  <a:lnTo>
                    <a:pt x="109700" y="478910"/>
                  </a:lnTo>
                  <a:lnTo>
                    <a:pt x="109700" y="355497"/>
                  </a:lnTo>
                  <a:lnTo>
                    <a:pt x="0" y="355497"/>
                  </a:lnTo>
                  <a:lnTo>
                    <a:pt x="0" y="478910"/>
                  </a:lnTo>
                  <a:close/>
                  <a:moveTo>
                    <a:pt x="294819" y="69"/>
                  </a:moveTo>
                  <a:lnTo>
                    <a:pt x="277884" y="41275"/>
                  </a:lnTo>
                  <a:lnTo>
                    <a:pt x="335477" y="64929"/>
                  </a:lnTo>
                  <a:lnTo>
                    <a:pt x="0" y="232702"/>
                  </a:lnTo>
                  <a:lnTo>
                    <a:pt x="0" y="286386"/>
                  </a:lnTo>
                  <a:lnTo>
                    <a:pt x="354949" y="108877"/>
                  </a:lnTo>
                  <a:lnTo>
                    <a:pt x="341305" y="165510"/>
                  </a:lnTo>
                  <a:lnTo>
                    <a:pt x="384637" y="175932"/>
                  </a:lnTo>
                  <a:lnTo>
                    <a:pt x="415147" y="49434"/>
                  </a:lnTo>
                  <a:lnTo>
                    <a:pt x="294819" y="0"/>
                  </a:lnTo>
                  <a:close/>
                </a:path>
              </a:pathLst>
            </a:custGeom>
            <a:solidFill>
              <a:schemeClr val="accent6"/>
            </a:solidFill>
            <a:ln w="6794" cap="flat">
              <a:noFill/>
              <a:prstDash val="solid"/>
              <a:miter/>
            </a:ln>
          </p:spPr>
          <p:txBody>
            <a:bodyPr rtlCol="0" anchor="ctr"/>
            <a:lstStyle/>
            <a:p>
              <a:endParaRPr lang="en-US"/>
            </a:p>
          </p:txBody>
        </p:sp>
      </p:grpSp>
      <p:grpSp>
        <p:nvGrpSpPr>
          <p:cNvPr id="27" name="siemens, healthcare, pharma, reagenzglas, test tube, chemie, labor, laboratory">
            <a:extLst>
              <a:ext uri="{FF2B5EF4-FFF2-40B4-BE49-F238E27FC236}">
                <a16:creationId xmlns:a16="http://schemas.microsoft.com/office/drawing/2014/main" id="{C1F372A7-0340-062A-3E41-747E9E9471FA}"/>
              </a:ext>
            </a:extLst>
          </p:cNvPr>
          <p:cNvGrpSpPr>
            <a:grpSpLocks/>
          </p:cNvGrpSpPr>
          <p:nvPr/>
        </p:nvGrpSpPr>
        <p:grpSpPr>
          <a:xfrm>
            <a:off x="8439563" y="4249074"/>
            <a:ext cx="1028440" cy="1028440"/>
            <a:chOff x="5009666" y="2777439"/>
            <a:chExt cx="1028440" cy="1028440"/>
          </a:xfrm>
        </p:grpSpPr>
        <p:sp>
          <p:nvSpPr>
            <p:cNvPr id="28" name="Freihandform: Form 27">
              <a:extLst>
                <a:ext uri="{FF2B5EF4-FFF2-40B4-BE49-F238E27FC236}">
                  <a16:creationId xmlns:a16="http://schemas.microsoft.com/office/drawing/2014/main" id="{15636CB4-F3E6-3B87-4BC4-F2E01C164560}"/>
                </a:ext>
              </a:extLst>
            </p:cNvPr>
            <p:cNvSpPr/>
            <p:nvPr/>
          </p:nvSpPr>
          <p:spPr>
            <a:xfrm>
              <a:off x="5009666"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rgbClr val="00C1B6"/>
            </a:solidFill>
            <a:ln w="6794"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E04759E7-0D5D-651C-9036-D5AE694DB1C9}"/>
                </a:ext>
              </a:extLst>
            </p:cNvPr>
            <p:cNvSpPr/>
            <p:nvPr/>
          </p:nvSpPr>
          <p:spPr>
            <a:xfrm>
              <a:off x="5281615" y="3092827"/>
              <a:ext cx="502808" cy="397663"/>
            </a:xfrm>
            <a:custGeom>
              <a:avLst/>
              <a:gdLst>
                <a:gd name="connsiteX0" fmla="*/ 502809 w 502808"/>
                <a:gd name="connsiteY0" fmla="*/ 0 h 397663"/>
                <a:gd name="connsiteX1" fmla="*/ 338258 w 502808"/>
                <a:gd name="connsiteY1" fmla="*/ 0 h 397663"/>
                <a:gd name="connsiteX2" fmla="*/ 338258 w 502808"/>
                <a:gd name="connsiteY2" fmla="*/ 27425 h 397663"/>
                <a:gd name="connsiteX3" fmla="*/ 358827 w 502808"/>
                <a:gd name="connsiteY3" fmla="*/ 27425 h 397663"/>
                <a:gd name="connsiteX4" fmla="*/ 358827 w 502808"/>
                <a:gd name="connsiteY4" fmla="*/ 335957 h 397663"/>
                <a:gd name="connsiteX5" fmla="*/ 420534 w 502808"/>
                <a:gd name="connsiteY5" fmla="*/ 397663 h 397663"/>
                <a:gd name="connsiteX6" fmla="*/ 482240 w 502808"/>
                <a:gd name="connsiteY6" fmla="*/ 335957 h 397663"/>
                <a:gd name="connsiteX7" fmla="*/ 482240 w 502808"/>
                <a:gd name="connsiteY7" fmla="*/ 27425 h 397663"/>
                <a:gd name="connsiteX8" fmla="*/ 502809 w 502808"/>
                <a:gd name="connsiteY8" fmla="*/ 27425 h 397663"/>
                <a:gd name="connsiteX9" fmla="*/ 502809 w 502808"/>
                <a:gd name="connsiteY9" fmla="*/ 0 h 397663"/>
                <a:gd name="connsiteX10" fmla="*/ 454815 w 502808"/>
                <a:gd name="connsiteY10" fmla="*/ 178263 h 397663"/>
                <a:gd name="connsiteX11" fmla="*/ 386252 w 502808"/>
                <a:gd name="connsiteY11" fmla="*/ 178263 h 397663"/>
                <a:gd name="connsiteX12" fmla="*/ 386252 w 502808"/>
                <a:gd name="connsiteY12" fmla="*/ 27425 h 397663"/>
                <a:gd name="connsiteX13" fmla="*/ 454815 w 502808"/>
                <a:gd name="connsiteY13" fmla="*/ 27425 h 397663"/>
                <a:gd name="connsiteX14" fmla="*/ 454815 w 502808"/>
                <a:gd name="connsiteY14" fmla="*/ 178263 h 397663"/>
                <a:gd name="connsiteX15" fmla="*/ 309873 w 502808"/>
                <a:gd name="connsiteY15" fmla="*/ 357349 h 397663"/>
                <a:gd name="connsiteX16" fmla="*/ 221702 w 502808"/>
                <a:gd name="connsiteY16" fmla="*/ 171407 h 397663"/>
                <a:gd name="connsiteX17" fmla="*/ 221702 w 502808"/>
                <a:gd name="connsiteY17" fmla="*/ 27425 h 397663"/>
                <a:gd name="connsiteX18" fmla="*/ 242271 w 502808"/>
                <a:gd name="connsiteY18" fmla="*/ 27425 h 397663"/>
                <a:gd name="connsiteX19" fmla="*/ 242271 w 502808"/>
                <a:gd name="connsiteY19" fmla="*/ 0 h 397663"/>
                <a:gd name="connsiteX20" fmla="*/ 70864 w 502808"/>
                <a:gd name="connsiteY20" fmla="*/ 0 h 397663"/>
                <a:gd name="connsiteX21" fmla="*/ 70864 w 502808"/>
                <a:gd name="connsiteY21" fmla="*/ 27425 h 397663"/>
                <a:gd name="connsiteX22" fmla="*/ 91433 w 502808"/>
                <a:gd name="connsiteY22" fmla="*/ 27425 h 397663"/>
                <a:gd name="connsiteX23" fmla="*/ 91433 w 502808"/>
                <a:gd name="connsiteY23" fmla="*/ 171407 h 397663"/>
                <a:gd name="connsiteX24" fmla="*/ 3261 w 502808"/>
                <a:gd name="connsiteY24" fmla="*/ 357349 h 397663"/>
                <a:gd name="connsiteX25" fmla="*/ 27464 w 502808"/>
                <a:gd name="connsiteY25" fmla="*/ 397663 h 397663"/>
                <a:gd name="connsiteX26" fmla="*/ 285739 w 502808"/>
                <a:gd name="connsiteY26" fmla="*/ 397663 h 397663"/>
                <a:gd name="connsiteX27" fmla="*/ 309942 w 502808"/>
                <a:gd name="connsiteY27" fmla="*/ 357349 h 397663"/>
                <a:gd name="connsiteX28" fmla="*/ 79503 w 502808"/>
                <a:gd name="connsiteY28" fmla="*/ 260538 h 397663"/>
                <a:gd name="connsiteX29" fmla="*/ 118858 w 502808"/>
                <a:gd name="connsiteY29" fmla="*/ 177577 h 397663"/>
                <a:gd name="connsiteX30" fmla="*/ 118858 w 502808"/>
                <a:gd name="connsiteY30" fmla="*/ 27425 h 397663"/>
                <a:gd name="connsiteX31" fmla="*/ 194277 w 502808"/>
                <a:gd name="connsiteY31" fmla="*/ 27425 h 397663"/>
                <a:gd name="connsiteX32" fmla="*/ 194277 w 502808"/>
                <a:gd name="connsiteY32" fmla="*/ 177577 h 397663"/>
                <a:gd name="connsiteX33" fmla="*/ 233632 w 502808"/>
                <a:gd name="connsiteY33" fmla="*/ 260538 h 397663"/>
                <a:gd name="connsiteX34" fmla="*/ 79503 w 502808"/>
                <a:gd name="connsiteY34" fmla="*/ 260538 h 39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02808" h="397663">
                  <a:moveTo>
                    <a:pt x="502809" y="0"/>
                  </a:moveTo>
                  <a:lnTo>
                    <a:pt x="338258" y="0"/>
                  </a:lnTo>
                  <a:lnTo>
                    <a:pt x="338258" y="27425"/>
                  </a:lnTo>
                  <a:lnTo>
                    <a:pt x="358827" y="27425"/>
                  </a:lnTo>
                  <a:lnTo>
                    <a:pt x="358827" y="335957"/>
                  </a:lnTo>
                  <a:cubicBezTo>
                    <a:pt x="358827" y="370033"/>
                    <a:pt x="386458" y="397663"/>
                    <a:pt x="420534" y="397663"/>
                  </a:cubicBezTo>
                  <a:cubicBezTo>
                    <a:pt x="454609" y="397663"/>
                    <a:pt x="482240" y="370033"/>
                    <a:pt x="482240" y="335957"/>
                  </a:cubicBezTo>
                  <a:lnTo>
                    <a:pt x="482240" y="27425"/>
                  </a:lnTo>
                  <a:lnTo>
                    <a:pt x="502809" y="27425"/>
                  </a:lnTo>
                  <a:lnTo>
                    <a:pt x="502809" y="0"/>
                  </a:lnTo>
                  <a:close/>
                  <a:moveTo>
                    <a:pt x="454815" y="178263"/>
                  </a:moveTo>
                  <a:lnTo>
                    <a:pt x="386252" y="178263"/>
                  </a:lnTo>
                  <a:lnTo>
                    <a:pt x="386252" y="27425"/>
                  </a:lnTo>
                  <a:lnTo>
                    <a:pt x="454815" y="27425"/>
                  </a:lnTo>
                  <a:lnTo>
                    <a:pt x="454815" y="178263"/>
                  </a:lnTo>
                  <a:close/>
                  <a:moveTo>
                    <a:pt x="309873" y="357349"/>
                  </a:moveTo>
                  <a:lnTo>
                    <a:pt x="221702" y="171407"/>
                  </a:lnTo>
                  <a:lnTo>
                    <a:pt x="221702" y="27425"/>
                  </a:lnTo>
                  <a:lnTo>
                    <a:pt x="242271" y="27425"/>
                  </a:lnTo>
                  <a:lnTo>
                    <a:pt x="242271" y="0"/>
                  </a:lnTo>
                  <a:lnTo>
                    <a:pt x="70864" y="0"/>
                  </a:lnTo>
                  <a:lnTo>
                    <a:pt x="70864" y="27425"/>
                  </a:lnTo>
                  <a:lnTo>
                    <a:pt x="91433" y="27425"/>
                  </a:lnTo>
                  <a:lnTo>
                    <a:pt x="91433" y="171407"/>
                  </a:lnTo>
                  <a:lnTo>
                    <a:pt x="3261" y="357349"/>
                  </a:lnTo>
                  <a:cubicBezTo>
                    <a:pt x="-6475" y="375586"/>
                    <a:pt x="6758" y="397663"/>
                    <a:pt x="27464" y="397663"/>
                  </a:cubicBezTo>
                  <a:lnTo>
                    <a:pt x="285739" y="397663"/>
                  </a:lnTo>
                  <a:cubicBezTo>
                    <a:pt x="306445" y="397663"/>
                    <a:pt x="319678" y="375586"/>
                    <a:pt x="309942" y="357349"/>
                  </a:cubicBezTo>
                  <a:close/>
                  <a:moveTo>
                    <a:pt x="79503" y="260538"/>
                  </a:moveTo>
                  <a:lnTo>
                    <a:pt x="118858" y="177577"/>
                  </a:lnTo>
                  <a:lnTo>
                    <a:pt x="118858" y="27425"/>
                  </a:lnTo>
                  <a:lnTo>
                    <a:pt x="194277" y="27425"/>
                  </a:lnTo>
                  <a:lnTo>
                    <a:pt x="194277" y="177577"/>
                  </a:lnTo>
                  <a:lnTo>
                    <a:pt x="233632" y="260538"/>
                  </a:lnTo>
                  <a:lnTo>
                    <a:pt x="79503" y="260538"/>
                  </a:lnTo>
                  <a:close/>
                </a:path>
              </a:pathLst>
            </a:custGeom>
            <a:solidFill>
              <a:srgbClr val="000028"/>
            </a:solidFill>
            <a:ln w="6794" cap="flat">
              <a:noFill/>
              <a:prstDash val="solid"/>
              <a:miter/>
            </a:ln>
          </p:spPr>
          <p:txBody>
            <a:bodyPr rtlCol="0" anchor="ctr"/>
            <a:lstStyle/>
            <a:p>
              <a:endParaRPr lang="de-DE"/>
            </a:p>
          </p:txBody>
        </p:sp>
      </p:grpSp>
      <p:sp>
        <p:nvSpPr>
          <p:cNvPr id="36" name="Textfeld 35">
            <a:extLst>
              <a:ext uri="{FF2B5EF4-FFF2-40B4-BE49-F238E27FC236}">
                <a16:creationId xmlns:a16="http://schemas.microsoft.com/office/drawing/2014/main" id="{88B04E18-2AC0-81BB-F75F-DBF88D2C6124}"/>
              </a:ext>
            </a:extLst>
          </p:cNvPr>
          <p:cNvSpPr txBox="1">
            <a:spLocks/>
          </p:cNvSpPr>
          <p:nvPr/>
        </p:nvSpPr>
        <p:spPr>
          <a:xfrm>
            <a:off x="428632" y="2150467"/>
            <a:ext cx="3581330" cy="923330"/>
          </a:xfrm>
          <a:prstGeom prst="rect">
            <a:avLst/>
          </a:prstGeom>
          <a:noFill/>
        </p:spPr>
        <p:txBody>
          <a:bodyPr wrap="square" lIns="0" tIns="0" rIns="0" bIns="0" rtlCol="0" anchor="t">
            <a:spAutoFit/>
          </a:bodyPr>
          <a:lstStyle/>
          <a:p>
            <a:pPr algn="l"/>
            <a:r>
              <a:rPr lang="en-US" sz="2000">
                <a:solidFill>
                  <a:schemeClr val="tx1"/>
                </a:solidFill>
              </a:rPr>
              <a:t>… and jointly pave the path towards Software-Defined Automation</a:t>
            </a:r>
          </a:p>
        </p:txBody>
      </p:sp>
      <p:grpSp>
        <p:nvGrpSpPr>
          <p:cNvPr id="30" name="siemens, arrow, pfeil, double, doppelt">
            <a:extLst>
              <a:ext uri="{FF2B5EF4-FFF2-40B4-BE49-F238E27FC236}">
                <a16:creationId xmlns:a16="http://schemas.microsoft.com/office/drawing/2014/main" id="{00164C36-0DF9-E372-1DC1-6FF4AA24560B}"/>
              </a:ext>
            </a:extLst>
          </p:cNvPr>
          <p:cNvGrpSpPr>
            <a:grpSpLocks/>
          </p:cNvGrpSpPr>
          <p:nvPr/>
        </p:nvGrpSpPr>
        <p:grpSpPr bwMode="gray">
          <a:xfrm rot="5400000">
            <a:off x="9194889" y="5060280"/>
            <a:ext cx="417114" cy="417114"/>
            <a:chOff x="2710034" y="2777439"/>
            <a:chExt cx="1028440" cy="1028440"/>
          </a:xfrm>
        </p:grpSpPr>
        <p:sp>
          <p:nvSpPr>
            <p:cNvPr id="31" name="Freihandform: Form 30">
              <a:extLst>
                <a:ext uri="{FF2B5EF4-FFF2-40B4-BE49-F238E27FC236}">
                  <a16:creationId xmlns:a16="http://schemas.microsoft.com/office/drawing/2014/main" id="{34B2024A-90DA-9F1A-9711-48F3CE037F5C}"/>
                </a:ext>
              </a:extLst>
            </p:cNvPr>
            <p:cNvSpPr/>
            <p:nvPr/>
          </p:nvSpPr>
          <p:spPr bwMode="gray">
            <a:xfrm>
              <a:off x="2710034"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chemeClr val="tx1"/>
            </a:solidFill>
            <a:ln w="6794" cap="flat">
              <a:noFill/>
              <a:prstDash val="solid"/>
              <a:miter/>
            </a:ln>
          </p:spPr>
          <p:txBody>
            <a:bodyPr rtlCol="0" anchor="ctr"/>
            <a:lstStyle/>
            <a:p>
              <a:endParaRPr lang="en-US"/>
            </a:p>
          </p:txBody>
        </p:sp>
        <p:sp>
          <p:nvSpPr>
            <p:cNvPr id="32" name="Freihandform: Form 31">
              <a:extLst>
                <a:ext uri="{FF2B5EF4-FFF2-40B4-BE49-F238E27FC236}">
                  <a16:creationId xmlns:a16="http://schemas.microsoft.com/office/drawing/2014/main" id="{1678DB61-236C-34D8-F24F-AF58451476EE}"/>
                </a:ext>
              </a:extLst>
            </p:cNvPr>
            <p:cNvSpPr/>
            <p:nvPr/>
          </p:nvSpPr>
          <p:spPr bwMode="gray">
            <a:xfrm>
              <a:off x="2977428" y="3147677"/>
              <a:ext cx="493651" cy="287963"/>
            </a:xfrm>
            <a:custGeom>
              <a:avLst/>
              <a:gdLst>
                <a:gd name="connsiteX0" fmla="*/ 363382 w 493651"/>
                <a:gd name="connsiteY0" fmla="*/ 143982 h 287963"/>
                <a:gd name="connsiteX1" fmla="*/ 240244 w 493651"/>
                <a:gd name="connsiteY1" fmla="*/ 287963 h 287963"/>
                <a:gd name="connsiteX2" fmla="*/ 198832 w 493651"/>
                <a:gd name="connsiteY2" fmla="*/ 252036 h 287963"/>
                <a:gd name="connsiteX3" fmla="*/ 267737 w 493651"/>
                <a:gd name="connsiteY3" fmla="*/ 171407 h 287963"/>
                <a:gd name="connsiteX4" fmla="*/ 95988 w 493651"/>
                <a:gd name="connsiteY4" fmla="*/ 171407 h 287963"/>
                <a:gd name="connsiteX5" fmla="*/ 95988 w 493651"/>
                <a:gd name="connsiteY5" fmla="*/ 116557 h 287963"/>
                <a:gd name="connsiteX6" fmla="*/ 267737 w 493651"/>
                <a:gd name="connsiteY6" fmla="*/ 116557 h 287963"/>
                <a:gd name="connsiteX7" fmla="*/ 198832 w 493651"/>
                <a:gd name="connsiteY7" fmla="*/ 35927 h 287963"/>
                <a:gd name="connsiteX8" fmla="*/ 240244 w 493651"/>
                <a:gd name="connsiteY8" fmla="*/ 0 h 287963"/>
                <a:gd name="connsiteX9" fmla="*/ 363382 w 493651"/>
                <a:gd name="connsiteY9" fmla="*/ 143982 h 287963"/>
                <a:gd name="connsiteX10" fmla="*/ 370513 w 493651"/>
                <a:gd name="connsiteY10" fmla="*/ 0 h 287963"/>
                <a:gd name="connsiteX11" fmla="*/ 329101 w 493651"/>
                <a:gd name="connsiteY11" fmla="*/ 35927 h 287963"/>
                <a:gd name="connsiteX12" fmla="*/ 421455 w 493651"/>
                <a:gd name="connsiteY12" fmla="*/ 143982 h 287963"/>
                <a:gd name="connsiteX13" fmla="*/ 329101 w 493651"/>
                <a:gd name="connsiteY13" fmla="*/ 252036 h 287963"/>
                <a:gd name="connsiteX14" fmla="*/ 370513 w 493651"/>
                <a:gd name="connsiteY14" fmla="*/ 287963 h 287963"/>
                <a:gd name="connsiteX15" fmla="*/ 493651 w 493651"/>
                <a:gd name="connsiteY15" fmla="*/ 143982 h 287963"/>
                <a:gd name="connsiteX16" fmla="*/ 370513 w 493651"/>
                <a:gd name="connsiteY16" fmla="*/ 0 h 287963"/>
                <a:gd name="connsiteX17" fmla="*/ 27425 w 493651"/>
                <a:gd name="connsiteY17" fmla="*/ 116557 h 287963"/>
                <a:gd name="connsiteX18" fmla="*/ 0 w 493651"/>
                <a:gd name="connsiteY18" fmla="*/ 143982 h 287963"/>
                <a:gd name="connsiteX19" fmla="*/ 27425 w 493651"/>
                <a:gd name="connsiteY19" fmla="*/ 171407 h 287963"/>
                <a:gd name="connsiteX20" fmla="*/ 54850 w 493651"/>
                <a:gd name="connsiteY20" fmla="*/ 143982 h 287963"/>
                <a:gd name="connsiteX21" fmla="*/ 27425 w 493651"/>
                <a:gd name="connsiteY21" fmla="*/ 116557 h 28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3651" h="287963">
                  <a:moveTo>
                    <a:pt x="363382" y="143982"/>
                  </a:moveTo>
                  <a:lnTo>
                    <a:pt x="240244" y="287963"/>
                  </a:lnTo>
                  <a:lnTo>
                    <a:pt x="198832" y="252036"/>
                  </a:lnTo>
                  <a:lnTo>
                    <a:pt x="267737" y="171407"/>
                  </a:lnTo>
                  <a:lnTo>
                    <a:pt x="95988" y="171407"/>
                  </a:lnTo>
                  <a:lnTo>
                    <a:pt x="95988" y="116557"/>
                  </a:lnTo>
                  <a:lnTo>
                    <a:pt x="267737" y="116557"/>
                  </a:lnTo>
                  <a:lnTo>
                    <a:pt x="198832" y="35927"/>
                  </a:lnTo>
                  <a:lnTo>
                    <a:pt x="240244" y="0"/>
                  </a:lnTo>
                  <a:lnTo>
                    <a:pt x="363382" y="143982"/>
                  </a:lnTo>
                  <a:close/>
                  <a:moveTo>
                    <a:pt x="370513" y="0"/>
                  </a:moveTo>
                  <a:lnTo>
                    <a:pt x="329101" y="35927"/>
                  </a:lnTo>
                  <a:lnTo>
                    <a:pt x="421455" y="143982"/>
                  </a:lnTo>
                  <a:lnTo>
                    <a:pt x="329101" y="252036"/>
                  </a:lnTo>
                  <a:lnTo>
                    <a:pt x="370513" y="287963"/>
                  </a:lnTo>
                  <a:lnTo>
                    <a:pt x="493651" y="143982"/>
                  </a:lnTo>
                  <a:lnTo>
                    <a:pt x="370513" y="0"/>
                  </a:lnTo>
                  <a:close/>
                  <a:moveTo>
                    <a:pt x="27425" y="116557"/>
                  </a:moveTo>
                  <a:cubicBezTo>
                    <a:pt x="12273" y="116557"/>
                    <a:pt x="0" y="128829"/>
                    <a:pt x="0" y="143982"/>
                  </a:cubicBezTo>
                  <a:cubicBezTo>
                    <a:pt x="0" y="159134"/>
                    <a:pt x="12273" y="171407"/>
                    <a:pt x="27425" y="171407"/>
                  </a:cubicBezTo>
                  <a:cubicBezTo>
                    <a:pt x="42577" y="171407"/>
                    <a:pt x="54850" y="159134"/>
                    <a:pt x="54850" y="143982"/>
                  </a:cubicBezTo>
                  <a:cubicBezTo>
                    <a:pt x="54850" y="128829"/>
                    <a:pt x="42577" y="116557"/>
                    <a:pt x="27425" y="116557"/>
                  </a:cubicBezTo>
                  <a:close/>
                </a:path>
              </a:pathLst>
            </a:custGeom>
            <a:solidFill>
              <a:srgbClr val="000028"/>
            </a:solidFill>
            <a:ln w="6794" cap="flat">
              <a:noFill/>
              <a:prstDash val="solid"/>
              <a:miter/>
            </a:ln>
          </p:spPr>
          <p:txBody>
            <a:bodyPr rtlCol="0" anchor="ctr"/>
            <a:lstStyle/>
            <a:p>
              <a:endParaRPr lang="en-US"/>
            </a:p>
          </p:txBody>
        </p:sp>
      </p:grpSp>
      <p:grpSp>
        <p:nvGrpSpPr>
          <p:cNvPr id="33" name="siemens, arrow, pfeil, double, doppelt">
            <a:extLst>
              <a:ext uri="{FF2B5EF4-FFF2-40B4-BE49-F238E27FC236}">
                <a16:creationId xmlns:a16="http://schemas.microsoft.com/office/drawing/2014/main" id="{6DD7740F-70DD-C3FE-0A51-399E216E8C30}"/>
              </a:ext>
            </a:extLst>
          </p:cNvPr>
          <p:cNvGrpSpPr>
            <a:grpSpLocks/>
          </p:cNvGrpSpPr>
          <p:nvPr/>
        </p:nvGrpSpPr>
        <p:grpSpPr bwMode="gray">
          <a:xfrm rot="5400000">
            <a:off x="1434174" y="5060280"/>
            <a:ext cx="417114" cy="417114"/>
            <a:chOff x="2710034" y="2777439"/>
            <a:chExt cx="1028440" cy="1028440"/>
          </a:xfrm>
        </p:grpSpPr>
        <p:sp>
          <p:nvSpPr>
            <p:cNvPr id="34" name="Freihandform: Form 33">
              <a:extLst>
                <a:ext uri="{FF2B5EF4-FFF2-40B4-BE49-F238E27FC236}">
                  <a16:creationId xmlns:a16="http://schemas.microsoft.com/office/drawing/2014/main" id="{823A242C-8B6E-E1CE-CC69-03C29613385D}"/>
                </a:ext>
              </a:extLst>
            </p:cNvPr>
            <p:cNvSpPr/>
            <p:nvPr/>
          </p:nvSpPr>
          <p:spPr bwMode="gray">
            <a:xfrm>
              <a:off x="2710034"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chemeClr val="tx1"/>
            </a:solidFill>
            <a:ln w="6794" cap="flat">
              <a:noFill/>
              <a:prstDash val="solid"/>
              <a:miter/>
            </a:ln>
          </p:spPr>
          <p:txBody>
            <a:bodyPr rtlCol="0" anchor="ctr"/>
            <a:lstStyle/>
            <a:p>
              <a:endParaRPr lang="en-US"/>
            </a:p>
          </p:txBody>
        </p:sp>
        <p:sp>
          <p:nvSpPr>
            <p:cNvPr id="35" name="Freihandform: Form 34">
              <a:extLst>
                <a:ext uri="{FF2B5EF4-FFF2-40B4-BE49-F238E27FC236}">
                  <a16:creationId xmlns:a16="http://schemas.microsoft.com/office/drawing/2014/main" id="{D96815B4-BD2B-0845-42B9-13B4DAFB3E9B}"/>
                </a:ext>
              </a:extLst>
            </p:cNvPr>
            <p:cNvSpPr/>
            <p:nvPr/>
          </p:nvSpPr>
          <p:spPr bwMode="gray">
            <a:xfrm>
              <a:off x="2977428" y="3147677"/>
              <a:ext cx="493651" cy="287963"/>
            </a:xfrm>
            <a:custGeom>
              <a:avLst/>
              <a:gdLst>
                <a:gd name="connsiteX0" fmla="*/ 363382 w 493651"/>
                <a:gd name="connsiteY0" fmla="*/ 143982 h 287963"/>
                <a:gd name="connsiteX1" fmla="*/ 240244 w 493651"/>
                <a:gd name="connsiteY1" fmla="*/ 287963 h 287963"/>
                <a:gd name="connsiteX2" fmla="*/ 198832 w 493651"/>
                <a:gd name="connsiteY2" fmla="*/ 252036 h 287963"/>
                <a:gd name="connsiteX3" fmla="*/ 267737 w 493651"/>
                <a:gd name="connsiteY3" fmla="*/ 171407 h 287963"/>
                <a:gd name="connsiteX4" fmla="*/ 95988 w 493651"/>
                <a:gd name="connsiteY4" fmla="*/ 171407 h 287963"/>
                <a:gd name="connsiteX5" fmla="*/ 95988 w 493651"/>
                <a:gd name="connsiteY5" fmla="*/ 116557 h 287963"/>
                <a:gd name="connsiteX6" fmla="*/ 267737 w 493651"/>
                <a:gd name="connsiteY6" fmla="*/ 116557 h 287963"/>
                <a:gd name="connsiteX7" fmla="*/ 198832 w 493651"/>
                <a:gd name="connsiteY7" fmla="*/ 35927 h 287963"/>
                <a:gd name="connsiteX8" fmla="*/ 240244 w 493651"/>
                <a:gd name="connsiteY8" fmla="*/ 0 h 287963"/>
                <a:gd name="connsiteX9" fmla="*/ 363382 w 493651"/>
                <a:gd name="connsiteY9" fmla="*/ 143982 h 287963"/>
                <a:gd name="connsiteX10" fmla="*/ 370513 w 493651"/>
                <a:gd name="connsiteY10" fmla="*/ 0 h 287963"/>
                <a:gd name="connsiteX11" fmla="*/ 329101 w 493651"/>
                <a:gd name="connsiteY11" fmla="*/ 35927 h 287963"/>
                <a:gd name="connsiteX12" fmla="*/ 421455 w 493651"/>
                <a:gd name="connsiteY12" fmla="*/ 143982 h 287963"/>
                <a:gd name="connsiteX13" fmla="*/ 329101 w 493651"/>
                <a:gd name="connsiteY13" fmla="*/ 252036 h 287963"/>
                <a:gd name="connsiteX14" fmla="*/ 370513 w 493651"/>
                <a:gd name="connsiteY14" fmla="*/ 287963 h 287963"/>
                <a:gd name="connsiteX15" fmla="*/ 493651 w 493651"/>
                <a:gd name="connsiteY15" fmla="*/ 143982 h 287963"/>
                <a:gd name="connsiteX16" fmla="*/ 370513 w 493651"/>
                <a:gd name="connsiteY16" fmla="*/ 0 h 287963"/>
                <a:gd name="connsiteX17" fmla="*/ 27425 w 493651"/>
                <a:gd name="connsiteY17" fmla="*/ 116557 h 287963"/>
                <a:gd name="connsiteX18" fmla="*/ 0 w 493651"/>
                <a:gd name="connsiteY18" fmla="*/ 143982 h 287963"/>
                <a:gd name="connsiteX19" fmla="*/ 27425 w 493651"/>
                <a:gd name="connsiteY19" fmla="*/ 171407 h 287963"/>
                <a:gd name="connsiteX20" fmla="*/ 54850 w 493651"/>
                <a:gd name="connsiteY20" fmla="*/ 143982 h 287963"/>
                <a:gd name="connsiteX21" fmla="*/ 27425 w 493651"/>
                <a:gd name="connsiteY21" fmla="*/ 116557 h 28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3651" h="287963">
                  <a:moveTo>
                    <a:pt x="363382" y="143982"/>
                  </a:moveTo>
                  <a:lnTo>
                    <a:pt x="240244" y="287963"/>
                  </a:lnTo>
                  <a:lnTo>
                    <a:pt x="198832" y="252036"/>
                  </a:lnTo>
                  <a:lnTo>
                    <a:pt x="267737" y="171407"/>
                  </a:lnTo>
                  <a:lnTo>
                    <a:pt x="95988" y="171407"/>
                  </a:lnTo>
                  <a:lnTo>
                    <a:pt x="95988" y="116557"/>
                  </a:lnTo>
                  <a:lnTo>
                    <a:pt x="267737" y="116557"/>
                  </a:lnTo>
                  <a:lnTo>
                    <a:pt x="198832" y="35927"/>
                  </a:lnTo>
                  <a:lnTo>
                    <a:pt x="240244" y="0"/>
                  </a:lnTo>
                  <a:lnTo>
                    <a:pt x="363382" y="143982"/>
                  </a:lnTo>
                  <a:close/>
                  <a:moveTo>
                    <a:pt x="370513" y="0"/>
                  </a:moveTo>
                  <a:lnTo>
                    <a:pt x="329101" y="35927"/>
                  </a:lnTo>
                  <a:lnTo>
                    <a:pt x="421455" y="143982"/>
                  </a:lnTo>
                  <a:lnTo>
                    <a:pt x="329101" y="252036"/>
                  </a:lnTo>
                  <a:lnTo>
                    <a:pt x="370513" y="287963"/>
                  </a:lnTo>
                  <a:lnTo>
                    <a:pt x="493651" y="143982"/>
                  </a:lnTo>
                  <a:lnTo>
                    <a:pt x="370513" y="0"/>
                  </a:lnTo>
                  <a:close/>
                  <a:moveTo>
                    <a:pt x="27425" y="116557"/>
                  </a:moveTo>
                  <a:cubicBezTo>
                    <a:pt x="12273" y="116557"/>
                    <a:pt x="0" y="128829"/>
                    <a:pt x="0" y="143982"/>
                  </a:cubicBezTo>
                  <a:cubicBezTo>
                    <a:pt x="0" y="159134"/>
                    <a:pt x="12273" y="171407"/>
                    <a:pt x="27425" y="171407"/>
                  </a:cubicBezTo>
                  <a:cubicBezTo>
                    <a:pt x="42577" y="171407"/>
                    <a:pt x="54850" y="159134"/>
                    <a:pt x="54850" y="143982"/>
                  </a:cubicBezTo>
                  <a:cubicBezTo>
                    <a:pt x="54850" y="128829"/>
                    <a:pt x="42577" y="116557"/>
                    <a:pt x="27425" y="116557"/>
                  </a:cubicBezTo>
                  <a:close/>
                </a:path>
              </a:pathLst>
            </a:custGeom>
            <a:solidFill>
              <a:srgbClr val="000028"/>
            </a:solidFill>
            <a:ln w="6794" cap="flat">
              <a:noFill/>
              <a:prstDash val="solid"/>
              <a:miter/>
            </a:ln>
          </p:spPr>
          <p:txBody>
            <a:bodyPr rtlCol="0" anchor="ctr"/>
            <a:lstStyle/>
            <a:p>
              <a:endParaRPr lang="en-US"/>
            </a:p>
          </p:txBody>
        </p:sp>
      </p:grpSp>
      <p:sp>
        <p:nvSpPr>
          <p:cNvPr id="44" name="Textfeld 43">
            <a:extLst>
              <a:ext uri="{FF2B5EF4-FFF2-40B4-BE49-F238E27FC236}">
                <a16:creationId xmlns:a16="http://schemas.microsoft.com/office/drawing/2014/main" id="{4885C7AA-3451-95B8-A696-2532D0869FC3}"/>
              </a:ext>
            </a:extLst>
          </p:cNvPr>
          <p:cNvSpPr txBox="1">
            <a:spLocks/>
          </p:cNvSpPr>
          <p:nvPr/>
        </p:nvSpPr>
        <p:spPr>
          <a:xfrm>
            <a:off x="5831390" y="4239031"/>
            <a:ext cx="1896942" cy="923330"/>
          </a:xfrm>
          <a:prstGeom prst="rect">
            <a:avLst/>
          </a:prstGeom>
          <a:noFill/>
        </p:spPr>
        <p:txBody>
          <a:bodyPr wrap="square" lIns="0" tIns="0" rIns="0" bIns="0">
            <a:spAutoFit/>
          </a:bodyPr>
          <a:lstStyle/>
          <a:p>
            <a:pPr>
              <a:spcAft>
                <a:spcPts val="0"/>
              </a:spcAft>
            </a:pPr>
            <a:r>
              <a:rPr lang="en-US" sz="3200" b="1" cap="all" spc="100">
                <a:solidFill>
                  <a:srgbClr val="00C1B6"/>
                </a:solidFill>
              </a:rPr>
              <a:t>50%</a:t>
            </a:r>
          </a:p>
          <a:p>
            <a:pPr>
              <a:spcAft>
                <a:spcPts val="0"/>
              </a:spcAft>
            </a:pPr>
            <a:r>
              <a:rPr lang="en-US" sz="1400" b="1">
                <a:solidFill>
                  <a:schemeClr val="tx1"/>
                </a:solidFill>
              </a:rPr>
              <a:t>Increase </a:t>
            </a:r>
            <a:br>
              <a:rPr lang="en-US" sz="1400" b="1">
                <a:solidFill>
                  <a:schemeClr val="tx1"/>
                </a:solidFill>
              </a:rPr>
            </a:br>
            <a:r>
              <a:rPr lang="en-US" sz="1400">
                <a:solidFill>
                  <a:schemeClr val="tx1"/>
                </a:solidFill>
              </a:rPr>
              <a:t>in productivity</a:t>
            </a:r>
            <a:endParaRPr lang="en-US" sz="1400" b="1" cap="all" spc="100">
              <a:solidFill>
                <a:schemeClr val="tx1"/>
              </a:solidFill>
            </a:endParaRPr>
          </a:p>
        </p:txBody>
      </p:sp>
      <p:sp>
        <p:nvSpPr>
          <p:cNvPr id="45" name="Textfeld 44">
            <a:extLst>
              <a:ext uri="{FF2B5EF4-FFF2-40B4-BE49-F238E27FC236}">
                <a16:creationId xmlns:a16="http://schemas.microsoft.com/office/drawing/2014/main" id="{03C5B701-7E16-EE7A-B81B-45E7CF8E1307}"/>
              </a:ext>
            </a:extLst>
          </p:cNvPr>
          <p:cNvSpPr txBox="1">
            <a:spLocks/>
          </p:cNvSpPr>
          <p:nvPr/>
        </p:nvSpPr>
        <p:spPr>
          <a:xfrm>
            <a:off x="1946374" y="4239031"/>
            <a:ext cx="1732322" cy="1138773"/>
          </a:xfrm>
          <a:prstGeom prst="rect">
            <a:avLst/>
          </a:prstGeom>
          <a:noFill/>
        </p:spPr>
        <p:txBody>
          <a:bodyPr wrap="square" lIns="0" tIns="0" rIns="0" bIns="0">
            <a:spAutoFit/>
          </a:bodyPr>
          <a:lstStyle/>
          <a:p>
            <a:pPr>
              <a:spcAft>
                <a:spcPts val="0"/>
              </a:spcAft>
            </a:pPr>
            <a:r>
              <a:rPr lang="en-US" sz="3200" b="1" cap="all" spc="100">
                <a:solidFill>
                  <a:srgbClr val="00C1B6"/>
                </a:solidFill>
              </a:rPr>
              <a:t>70%</a:t>
            </a:r>
          </a:p>
          <a:p>
            <a:pPr>
              <a:spcAft>
                <a:spcPts val="0"/>
              </a:spcAft>
            </a:pPr>
            <a:r>
              <a:rPr lang="en-US" sz="1400" b="1">
                <a:solidFill>
                  <a:schemeClr val="tx1"/>
                </a:solidFill>
              </a:rPr>
              <a:t>Engineering </a:t>
            </a:r>
            <a:br>
              <a:rPr lang="en-US" sz="1400" b="1">
                <a:solidFill>
                  <a:schemeClr val="tx1"/>
                </a:solidFill>
              </a:rPr>
            </a:br>
            <a:r>
              <a:rPr lang="en-US" sz="1400" b="1">
                <a:solidFill>
                  <a:schemeClr val="tx1"/>
                </a:solidFill>
              </a:rPr>
              <a:t>savings </a:t>
            </a:r>
            <a:r>
              <a:rPr lang="en-US" sz="1400">
                <a:solidFill>
                  <a:schemeClr val="tx1"/>
                </a:solidFill>
              </a:rPr>
              <a:t>through easy integration of MTPs</a:t>
            </a:r>
          </a:p>
        </p:txBody>
      </p:sp>
      <p:grpSp>
        <p:nvGrpSpPr>
          <p:cNvPr id="54" name="siemens, arrow, pfeil, double, doppelt">
            <a:extLst>
              <a:ext uri="{FF2B5EF4-FFF2-40B4-BE49-F238E27FC236}">
                <a16:creationId xmlns:a16="http://schemas.microsoft.com/office/drawing/2014/main" id="{32D608C9-E426-6190-004C-EE62D8883B14}"/>
              </a:ext>
            </a:extLst>
          </p:cNvPr>
          <p:cNvGrpSpPr>
            <a:grpSpLocks/>
          </p:cNvGrpSpPr>
          <p:nvPr/>
        </p:nvGrpSpPr>
        <p:grpSpPr bwMode="gray">
          <a:xfrm rot="16200000" flipV="1">
            <a:off x="5306770" y="5060280"/>
            <a:ext cx="417114" cy="417114"/>
            <a:chOff x="2710034" y="2777439"/>
            <a:chExt cx="1028440" cy="1028440"/>
          </a:xfrm>
        </p:grpSpPr>
        <p:sp>
          <p:nvSpPr>
            <p:cNvPr id="55" name="Freihandform: Form 54">
              <a:extLst>
                <a:ext uri="{FF2B5EF4-FFF2-40B4-BE49-F238E27FC236}">
                  <a16:creationId xmlns:a16="http://schemas.microsoft.com/office/drawing/2014/main" id="{128CE464-3718-D783-85F5-3378293456FE}"/>
                </a:ext>
              </a:extLst>
            </p:cNvPr>
            <p:cNvSpPr/>
            <p:nvPr/>
          </p:nvSpPr>
          <p:spPr bwMode="gray">
            <a:xfrm>
              <a:off x="2710034"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chemeClr val="tx1"/>
            </a:solidFill>
            <a:ln w="6794" cap="flat">
              <a:noFill/>
              <a:prstDash val="solid"/>
              <a:miter/>
            </a:ln>
          </p:spPr>
          <p:txBody>
            <a:bodyPr rtlCol="0" anchor="ctr"/>
            <a:lstStyle/>
            <a:p>
              <a:endParaRPr lang="en-US"/>
            </a:p>
          </p:txBody>
        </p:sp>
        <p:sp>
          <p:nvSpPr>
            <p:cNvPr id="56" name="Freihandform: Form 55">
              <a:extLst>
                <a:ext uri="{FF2B5EF4-FFF2-40B4-BE49-F238E27FC236}">
                  <a16:creationId xmlns:a16="http://schemas.microsoft.com/office/drawing/2014/main" id="{F8E32BFC-0508-118D-D4E7-ED1CFDF86444}"/>
                </a:ext>
              </a:extLst>
            </p:cNvPr>
            <p:cNvSpPr/>
            <p:nvPr/>
          </p:nvSpPr>
          <p:spPr bwMode="gray">
            <a:xfrm>
              <a:off x="2977428" y="3147677"/>
              <a:ext cx="493651" cy="287963"/>
            </a:xfrm>
            <a:custGeom>
              <a:avLst/>
              <a:gdLst>
                <a:gd name="connsiteX0" fmla="*/ 363382 w 493651"/>
                <a:gd name="connsiteY0" fmla="*/ 143982 h 287963"/>
                <a:gd name="connsiteX1" fmla="*/ 240244 w 493651"/>
                <a:gd name="connsiteY1" fmla="*/ 287963 h 287963"/>
                <a:gd name="connsiteX2" fmla="*/ 198832 w 493651"/>
                <a:gd name="connsiteY2" fmla="*/ 252036 h 287963"/>
                <a:gd name="connsiteX3" fmla="*/ 267737 w 493651"/>
                <a:gd name="connsiteY3" fmla="*/ 171407 h 287963"/>
                <a:gd name="connsiteX4" fmla="*/ 95988 w 493651"/>
                <a:gd name="connsiteY4" fmla="*/ 171407 h 287963"/>
                <a:gd name="connsiteX5" fmla="*/ 95988 w 493651"/>
                <a:gd name="connsiteY5" fmla="*/ 116557 h 287963"/>
                <a:gd name="connsiteX6" fmla="*/ 267737 w 493651"/>
                <a:gd name="connsiteY6" fmla="*/ 116557 h 287963"/>
                <a:gd name="connsiteX7" fmla="*/ 198832 w 493651"/>
                <a:gd name="connsiteY7" fmla="*/ 35927 h 287963"/>
                <a:gd name="connsiteX8" fmla="*/ 240244 w 493651"/>
                <a:gd name="connsiteY8" fmla="*/ 0 h 287963"/>
                <a:gd name="connsiteX9" fmla="*/ 363382 w 493651"/>
                <a:gd name="connsiteY9" fmla="*/ 143982 h 287963"/>
                <a:gd name="connsiteX10" fmla="*/ 370513 w 493651"/>
                <a:gd name="connsiteY10" fmla="*/ 0 h 287963"/>
                <a:gd name="connsiteX11" fmla="*/ 329101 w 493651"/>
                <a:gd name="connsiteY11" fmla="*/ 35927 h 287963"/>
                <a:gd name="connsiteX12" fmla="*/ 421455 w 493651"/>
                <a:gd name="connsiteY12" fmla="*/ 143982 h 287963"/>
                <a:gd name="connsiteX13" fmla="*/ 329101 w 493651"/>
                <a:gd name="connsiteY13" fmla="*/ 252036 h 287963"/>
                <a:gd name="connsiteX14" fmla="*/ 370513 w 493651"/>
                <a:gd name="connsiteY14" fmla="*/ 287963 h 287963"/>
                <a:gd name="connsiteX15" fmla="*/ 493651 w 493651"/>
                <a:gd name="connsiteY15" fmla="*/ 143982 h 287963"/>
                <a:gd name="connsiteX16" fmla="*/ 370513 w 493651"/>
                <a:gd name="connsiteY16" fmla="*/ 0 h 287963"/>
                <a:gd name="connsiteX17" fmla="*/ 27425 w 493651"/>
                <a:gd name="connsiteY17" fmla="*/ 116557 h 287963"/>
                <a:gd name="connsiteX18" fmla="*/ 0 w 493651"/>
                <a:gd name="connsiteY18" fmla="*/ 143982 h 287963"/>
                <a:gd name="connsiteX19" fmla="*/ 27425 w 493651"/>
                <a:gd name="connsiteY19" fmla="*/ 171407 h 287963"/>
                <a:gd name="connsiteX20" fmla="*/ 54850 w 493651"/>
                <a:gd name="connsiteY20" fmla="*/ 143982 h 287963"/>
                <a:gd name="connsiteX21" fmla="*/ 27425 w 493651"/>
                <a:gd name="connsiteY21" fmla="*/ 116557 h 28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3651" h="287963">
                  <a:moveTo>
                    <a:pt x="363382" y="143982"/>
                  </a:moveTo>
                  <a:lnTo>
                    <a:pt x="240244" y="287963"/>
                  </a:lnTo>
                  <a:lnTo>
                    <a:pt x="198832" y="252036"/>
                  </a:lnTo>
                  <a:lnTo>
                    <a:pt x="267737" y="171407"/>
                  </a:lnTo>
                  <a:lnTo>
                    <a:pt x="95988" y="171407"/>
                  </a:lnTo>
                  <a:lnTo>
                    <a:pt x="95988" y="116557"/>
                  </a:lnTo>
                  <a:lnTo>
                    <a:pt x="267737" y="116557"/>
                  </a:lnTo>
                  <a:lnTo>
                    <a:pt x="198832" y="35927"/>
                  </a:lnTo>
                  <a:lnTo>
                    <a:pt x="240244" y="0"/>
                  </a:lnTo>
                  <a:lnTo>
                    <a:pt x="363382" y="143982"/>
                  </a:lnTo>
                  <a:close/>
                  <a:moveTo>
                    <a:pt x="370513" y="0"/>
                  </a:moveTo>
                  <a:lnTo>
                    <a:pt x="329101" y="35927"/>
                  </a:lnTo>
                  <a:lnTo>
                    <a:pt x="421455" y="143982"/>
                  </a:lnTo>
                  <a:lnTo>
                    <a:pt x="329101" y="252036"/>
                  </a:lnTo>
                  <a:lnTo>
                    <a:pt x="370513" y="287963"/>
                  </a:lnTo>
                  <a:lnTo>
                    <a:pt x="493651" y="143982"/>
                  </a:lnTo>
                  <a:lnTo>
                    <a:pt x="370513" y="0"/>
                  </a:lnTo>
                  <a:close/>
                  <a:moveTo>
                    <a:pt x="27425" y="116557"/>
                  </a:moveTo>
                  <a:cubicBezTo>
                    <a:pt x="12273" y="116557"/>
                    <a:pt x="0" y="128829"/>
                    <a:pt x="0" y="143982"/>
                  </a:cubicBezTo>
                  <a:cubicBezTo>
                    <a:pt x="0" y="159134"/>
                    <a:pt x="12273" y="171407"/>
                    <a:pt x="27425" y="171407"/>
                  </a:cubicBezTo>
                  <a:cubicBezTo>
                    <a:pt x="42577" y="171407"/>
                    <a:pt x="54850" y="159134"/>
                    <a:pt x="54850" y="143982"/>
                  </a:cubicBezTo>
                  <a:cubicBezTo>
                    <a:pt x="54850" y="128829"/>
                    <a:pt x="42577" y="116557"/>
                    <a:pt x="27425" y="116557"/>
                  </a:cubicBezTo>
                  <a:close/>
                </a:path>
              </a:pathLst>
            </a:custGeom>
            <a:solidFill>
              <a:srgbClr val="000028"/>
            </a:solidFill>
            <a:ln w="6794" cap="flat">
              <a:noFill/>
              <a:prstDash val="solid"/>
              <a:miter/>
            </a:ln>
          </p:spPr>
          <p:txBody>
            <a:bodyPr rtlCol="0" anchor="ctr"/>
            <a:lstStyle/>
            <a:p>
              <a:endParaRPr lang="en-US"/>
            </a:p>
          </p:txBody>
        </p:sp>
      </p:grpSp>
      <p:grpSp>
        <p:nvGrpSpPr>
          <p:cNvPr id="57" name="siemens, arrow, pfeil, double, doppelt">
            <a:extLst>
              <a:ext uri="{FF2B5EF4-FFF2-40B4-BE49-F238E27FC236}">
                <a16:creationId xmlns:a16="http://schemas.microsoft.com/office/drawing/2014/main" id="{6B6AAE93-3F9B-2EA5-D8BD-1106AEF18108}"/>
              </a:ext>
            </a:extLst>
          </p:cNvPr>
          <p:cNvGrpSpPr>
            <a:grpSpLocks/>
          </p:cNvGrpSpPr>
          <p:nvPr/>
        </p:nvGrpSpPr>
        <p:grpSpPr bwMode="gray">
          <a:xfrm rot="16200000" flipV="1">
            <a:off x="9194889" y="2685670"/>
            <a:ext cx="417114" cy="417114"/>
            <a:chOff x="2710034" y="2777439"/>
            <a:chExt cx="1028440" cy="1028440"/>
          </a:xfrm>
        </p:grpSpPr>
        <p:sp>
          <p:nvSpPr>
            <p:cNvPr id="58" name="Freihandform: Form 57">
              <a:extLst>
                <a:ext uri="{FF2B5EF4-FFF2-40B4-BE49-F238E27FC236}">
                  <a16:creationId xmlns:a16="http://schemas.microsoft.com/office/drawing/2014/main" id="{989298BA-C746-EF4E-9165-368572C05362}"/>
                </a:ext>
              </a:extLst>
            </p:cNvPr>
            <p:cNvSpPr/>
            <p:nvPr/>
          </p:nvSpPr>
          <p:spPr bwMode="gray">
            <a:xfrm>
              <a:off x="2710034"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chemeClr val="tx1"/>
            </a:solidFill>
            <a:ln w="6794" cap="flat">
              <a:noFill/>
              <a:prstDash val="solid"/>
              <a:miter/>
            </a:ln>
          </p:spPr>
          <p:txBody>
            <a:bodyPr rtlCol="0" anchor="ctr"/>
            <a:lstStyle/>
            <a:p>
              <a:endParaRPr lang="en-US"/>
            </a:p>
          </p:txBody>
        </p:sp>
        <p:sp>
          <p:nvSpPr>
            <p:cNvPr id="59" name="Freihandform: Form 58">
              <a:extLst>
                <a:ext uri="{FF2B5EF4-FFF2-40B4-BE49-F238E27FC236}">
                  <a16:creationId xmlns:a16="http://schemas.microsoft.com/office/drawing/2014/main" id="{CD21C466-C6E5-6881-23AE-9BA9DA50E6D1}"/>
                </a:ext>
              </a:extLst>
            </p:cNvPr>
            <p:cNvSpPr/>
            <p:nvPr/>
          </p:nvSpPr>
          <p:spPr bwMode="gray">
            <a:xfrm>
              <a:off x="2977428" y="3147677"/>
              <a:ext cx="493651" cy="287963"/>
            </a:xfrm>
            <a:custGeom>
              <a:avLst/>
              <a:gdLst>
                <a:gd name="connsiteX0" fmla="*/ 363382 w 493651"/>
                <a:gd name="connsiteY0" fmla="*/ 143982 h 287963"/>
                <a:gd name="connsiteX1" fmla="*/ 240244 w 493651"/>
                <a:gd name="connsiteY1" fmla="*/ 287963 h 287963"/>
                <a:gd name="connsiteX2" fmla="*/ 198832 w 493651"/>
                <a:gd name="connsiteY2" fmla="*/ 252036 h 287963"/>
                <a:gd name="connsiteX3" fmla="*/ 267737 w 493651"/>
                <a:gd name="connsiteY3" fmla="*/ 171407 h 287963"/>
                <a:gd name="connsiteX4" fmla="*/ 95988 w 493651"/>
                <a:gd name="connsiteY4" fmla="*/ 171407 h 287963"/>
                <a:gd name="connsiteX5" fmla="*/ 95988 w 493651"/>
                <a:gd name="connsiteY5" fmla="*/ 116557 h 287963"/>
                <a:gd name="connsiteX6" fmla="*/ 267737 w 493651"/>
                <a:gd name="connsiteY6" fmla="*/ 116557 h 287963"/>
                <a:gd name="connsiteX7" fmla="*/ 198832 w 493651"/>
                <a:gd name="connsiteY7" fmla="*/ 35927 h 287963"/>
                <a:gd name="connsiteX8" fmla="*/ 240244 w 493651"/>
                <a:gd name="connsiteY8" fmla="*/ 0 h 287963"/>
                <a:gd name="connsiteX9" fmla="*/ 363382 w 493651"/>
                <a:gd name="connsiteY9" fmla="*/ 143982 h 287963"/>
                <a:gd name="connsiteX10" fmla="*/ 370513 w 493651"/>
                <a:gd name="connsiteY10" fmla="*/ 0 h 287963"/>
                <a:gd name="connsiteX11" fmla="*/ 329101 w 493651"/>
                <a:gd name="connsiteY11" fmla="*/ 35927 h 287963"/>
                <a:gd name="connsiteX12" fmla="*/ 421455 w 493651"/>
                <a:gd name="connsiteY12" fmla="*/ 143982 h 287963"/>
                <a:gd name="connsiteX13" fmla="*/ 329101 w 493651"/>
                <a:gd name="connsiteY13" fmla="*/ 252036 h 287963"/>
                <a:gd name="connsiteX14" fmla="*/ 370513 w 493651"/>
                <a:gd name="connsiteY14" fmla="*/ 287963 h 287963"/>
                <a:gd name="connsiteX15" fmla="*/ 493651 w 493651"/>
                <a:gd name="connsiteY15" fmla="*/ 143982 h 287963"/>
                <a:gd name="connsiteX16" fmla="*/ 370513 w 493651"/>
                <a:gd name="connsiteY16" fmla="*/ 0 h 287963"/>
                <a:gd name="connsiteX17" fmla="*/ 27425 w 493651"/>
                <a:gd name="connsiteY17" fmla="*/ 116557 h 287963"/>
                <a:gd name="connsiteX18" fmla="*/ 0 w 493651"/>
                <a:gd name="connsiteY18" fmla="*/ 143982 h 287963"/>
                <a:gd name="connsiteX19" fmla="*/ 27425 w 493651"/>
                <a:gd name="connsiteY19" fmla="*/ 171407 h 287963"/>
                <a:gd name="connsiteX20" fmla="*/ 54850 w 493651"/>
                <a:gd name="connsiteY20" fmla="*/ 143982 h 287963"/>
                <a:gd name="connsiteX21" fmla="*/ 27425 w 493651"/>
                <a:gd name="connsiteY21" fmla="*/ 116557 h 28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3651" h="287963">
                  <a:moveTo>
                    <a:pt x="363382" y="143982"/>
                  </a:moveTo>
                  <a:lnTo>
                    <a:pt x="240244" y="287963"/>
                  </a:lnTo>
                  <a:lnTo>
                    <a:pt x="198832" y="252036"/>
                  </a:lnTo>
                  <a:lnTo>
                    <a:pt x="267737" y="171407"/>
                  </a:lnTo>
                  <a:lnTo>
                    <a:pt x="95988" y="171407"/>
                  </a:lnTo>
                  <a:lnTo>
                    <a:pt x="95988" y="116557"/>
                  </a:lnTo>
                  <a:lnTo>
                    <a:pt x="267737" y="116557"/>
                  </a:lnTo>
                  <a:lnTo>
                    <a:pt x="198832" y="35927"/>
                  </a:lnTo>
                  <a:lnTo>
                    <a:pt x="240244" y="0"/>
                  </a:lnTo>
                  <a:lnTo>
                    <a:pt x="363382" y="143982"/>
                  </a:lnTo>
                  <a:close/>
                  <a:moveTo>
                    <a:pt x="370513" y="0"/>
                  </a:moveTo>
                  <a:lnTo>
                    <a:pt x="329101" y="35927"/>
                  </a:lnTo>
                  <a:lnTo>
                    <a:pt x="421455" y="143982"/>
                  </a:lnTo>
                  <a:lnTo>
                    <a:pt x="329101" y="252036"/>
                  </a:lnTo>
                  <a:lnTo>
                    <a:pt x="370513" y="287963"/>
                  </a:lnTo>
                  <a:lnTo>
                    <a:pt x="493651" y="143982"/>
                  </a:lnTo>
                  <a:lnTo>
                    <a:pt x="370513" y="0"/>
                  </a:lnTo>
                  <a:close/>
                  <a:moveTo>
                    <a:pt x="27425" y="116557"/>
                  </a:moveTo>
                  <a:cubicBezTo>
                    <a:pt x="12273" y="116557"/>
                    <a:pt x="0" y="128829"/>
                    <a:pt x="0" y="143982"/>
                  </a:cubicBezTo>
                  <a:cubicBezTo>
                    <a:pt x="0" y="159134"/>
                    <a:pt x="12273" y="171407"/>
                    <a:pt x="27425" y="171407"/>
                  </a:cubicBezTo>
                  <a:cubicBezTo>
                    <a:pt x="42577" y="171407"/>
                    <a:pt x="54850" y="159134"/>
                    <a:pt x="54850" y="143982"/>
                  </a:cubicBezTo>
                  <a:cubicBezTo>
                    <a:pt x="54850" y="128829"/>
                    <a:pt x="42577" y="116557"/>
                    <a:pt x="27425" y="116557"/>
                  </a:cubicBezTo>
                  <a:close/>
                </a:path>
              </a:pathLst>
            </a:custGeom>
            <a:solidFill>
              <a:srgbClr val="000028"/>
            </a:solidFill>
            <a:ln w="6794" cap="flat">
              <a:noFill/>
              <a:prstDash val="solid"/>
              <a:miter/>
            </a:ln>
          </p:spPr>
          <p:txBody>
            <a:bodyPr rtlCol="0" anchor="ctr"/>
            <a:lstStyle/>
            <a:p>
              <a:endParaRPr lang="en-US"/>
            </a:p>
          </p:txBody>
        </p:sp>
      </p:grpSp>
      <p:grpSp>
        <p:nvGrpSpPr>
          <p:cNvPr id="60" name="siemens, arrow, pfeil, double, doppelt">
            <a:extLst>
              <a:ext uri="{FF2B5EF4-FFF2-40B4-BE49-F238E27FC236}">
                <a16:creationId xmlns:a16="http://schemas.microsoft.com/office/drawing/2014/main" id="{E22FE522-B837-6121-5BA8-4D14E037BB04}"/>
              </a:ext>
            </a:extLst>
          </p:cNvPr>
          <p:cNvGrpSpPr>
            <a:grpSpLocks/>
          </p:cNvGrpSpPr>
          <p:nvPr/>
        </p:nvGrpSpPr>
        <p:grpSpPr bwMode="gray">
          <a:xfrm rot="5400000">
            <a:off x="5306770" y="2685670"/>
            <a:ext cx="417114" cy="417114"/>
            <a:chOff x="2710034" y="2777439"/>
            <a:chExt cx="1028440" cy="1028440"/>
          </a:xfrm>
        </p:grpSpPr>
        <p:sp>
          <p:nvSpPr>
            <p:cNvPr id="61" name="Freihandform: Form 60">
              <a:extLst>
                <a:ext uri="{FF2B5EF4-FFF2-40B4-BE49-F238E27FC236}">
                  <a16:creationId xmlns:a16="http://schemas.microsoft.com/office/drawing/2014/main" id="{B57015FB-8B89-2E5D-35B2-F34E110B592C}"/>
                </a:ext>
              </a:extLst>
            </p:cNvPr>
            <p:cNvSpPr/>
            <p:nvPr/>
          </p:nvSpPr>
          <p:spPr bwMode="gray">
            <a:xfrm>
              <a:off x="2710034" y="2777439"/>
              <a:ext cx="1028440" cy="1028440"/>
            </a:xfrm>
            <a:custGeom>
              <a:avLst/>
              <a:gdLst>
                <a:gd name="connsiteX0" fmla="*/ 0 w 1028440"/>
                <a:gd name="connsiteY0" fmla="*/ 0 h 1028440"/>
                <a:gd name="connsiteX1" fmla="*/ 1028440 w 1028440"/>
                <a:gd name="connsiteY1" fmla="*/ 0 h 1028440"/>
                <a:gd name="connsiteX2" fmla="*/ 1028440 w 1028440"/>
                <a:gd name="connsiteY2" fmla="*/ 1028440 h 1028440"/>
                <a:gd name="connsiteX3" fmla="*/ 0 w 1028440"/>
                <a:gd name="connsiteY3" fmla="*/ 1028440 h 1028440"/>
              </a:gdLst>
              <a:ahLst/>
              <a:cxnLst>
                <a:cxn ang="0">
                  <a:pos x="connsiteX0" y="connsiteY0"/>
                </a:cxn>
                <a:cxn ang="0">
                  <a:pos x="connsiteX1" y="connsiteY1"/>
                </a:cxn>
                <a:cxn ang="0">
                  <a:pos x="connsiteX2" y="connsiteY2"/>
                </a:cxn>
                <a:cxn ang="0">
                  <a:pos x="connsiteX3" y="connsiteY3"/>
                </a:cxn>
              </a:cxnLst>
              <a:rect l="l" t="t" r="r" b="b"/>
              <a:pathLst>
                <a:path w="1028440" h="1028440">
                  <a:moveTo>
                    <a:pt x="0" y="0"/>
                  </a:moveTo>
                  <a:lnTo>
                    <a:pt x="1028440" y="0"/>
                  </a:lnTo>
                  <a:lnTo>
                    <a:pt x="1028440" y="1028440"/>
                  </a:lnTo>
                  <a:lnTo>
                    <a:pt x="0" y="1028440"/>
                  </a:lnTo>
                  <a:close/>
                </a:path>
              </a:pathLst>
            </a:custGeom>
            <a:solidFill>
              <a:schemeClr val="tx1"/>
            </a:solidFill>
            <a:ln w="6794" cap="flat">
              <a:noFill/>
              <a:prstDash val="solid"/>
              <a:miter/>
            </a:ln>
          </p:spPr>
          <p:txBody>
            <a:bodyPr rtlCol="0" anchor="ctr"/>
            <a:lstStyle/>
            <a:p>
              <a:endParaRPr lang="en-US"/>
            </a:p>
          </p:txBody>
        </p:sp>
        <p:sp>
          <p:nvSpPr>
            <p:cNvPr id="62" name="Freihandform: Form 61">
              <a:extLst>
                <a:ext uri="{FF2B5EF4-FFF2-40B4-BE49-F238E27FC236}">
                  <a16:creationId xmlns:a16="http://schemas.microsoft.com/office/drawing/2014/main" id="{306FAECF-47FD-17A6-5AC7-7FC05A642578}"/>
                </a:ext>
              </a:extLst>
            </p:cNvPr>
            <p:cNvSpPr/>
            <p:nvPr/>
          </p:nvSpPr>
          <p:spPr bwMode="gray">
            <a:xfrm>
              <a:off x="2977428" y="3147677"/>
              <a:ext cx="493651" cy="287963"/>
            </a:xfrm>
            <a:custGeom>
              <a:avLst/>
              <a:gdLst>
                <a:gd name="connsiteX0" fmla="*/ 363382 w 493651"/>
                <a:gd name="connsiteY0" fmla="*/ 143982 h 287963"/>
                <a:gd name="connsiteX1" fmla="*/ 240244 w 493651"/>
                <a:gd name="connsiteY1" fmla="*/ 287963 h 287963"/>
                <a:gd name="connsiteX2" fmla="*/ 198832 w 493651"/>
                <a:gd name="connsiteY2" fmla="*/ 252036 h 287963"/>
                <a:gd name="connsiteX3" fmla="*/ 267737 w 493651"/>
                <a:gd name="connsiteY3" fmla="*/ 171407 h 287963"/>
                <a:gd name="connsiteX4" fmla="*/ 95988 w 493651"/>
                <a:gd name="connsiteY4" fmla="*/ 171407 h 287963"/>
                <a:gd name="connsiteX5" fmla="*/ 95988 w 493651"/>
                <a:gd name="connsiteY5" fmla="*/ 116557 h 287963"/>
                <a:gd name="connsiteX6" fmla="*/ 267737 w 493651"/>
                <a:gd name="connsiteY6" fmla="*/ 116557 h 287963"/>
                <a:gd name="connsiteX7" fmla="*/ 198832 w 493651"/>
                <a:gd name="connsiteY7" fmla="*/ 35927 h 287963"/>
                <a:gd name="connsiteX8" fmla="*/ 240244 w 493651"/>
                <a:gd name="connsiteY8" fmla="*/ 0 h 287963"/>
                <a:gd name="connsiteX9" fmla="*/ 363382 w 493651"/>
                <a:gd name="connsiteY9" fmla="*/ 143982 h 287963"/>
                <a:gd name="connsiteX10" fmla="*/ 370513 w 493651"/>
                <a:gd name="connsiteY10" fmla="*/ 0 h 287963"/>
                <a:gd name="connsiteX11" fmla="*/ 329101 w 493651"/>
                <a:gd name="connsiteY11" fmla="*/ 35927 h 287963"/>
                <a:gd name="connsiteX12" fmla="*/ 421455 w 493651"/>
                <a:gd name="connsiteY12" fmla="*/ 143982 h 287963"/>
                <a:gd name="connsiteX13" fmla="*/ 329101 w 493651"/>
                <a:gd name="connsiteY13" fmla="*/ 252036 h 287963"/>
                <a:gd name="connsiteX14" fmla="*/ 370513 w 493651"/>
                <a:gd name="connsiteY14" fmla="*/ 287963 h 287963"/>
                <a:gd name="connsiteX15" fmla="*/ 493651 w 493651"/>
                <a:gd name="connsiteY15" fmla="*/ 143982 h 287963"/>
                <a:gd name="connsiteX16" fmla="*/ 370513 w 493651"/>
                <a:gd name="connsiteY16" fmla="*/ 0 h 287963"/>
                <a:gd name="connsiteX17" fmla="*/ 27425 w 493651"/>
                <a:gd name="connsiteY17" fmla="*/ 116557 h 287963"/>
                <a:gd name="connsiteX18" fmla="*/ 0 w 493651"/>
                <a:gd name="connsiteY18" fmla="*/ 143982 h 287963"/>
                <a:gd name="connsiteX19" fmla="*/ 27425 w 493651"/>
                <a:gd name="connsiteY19" fmla="*/ 171407 h 287963"/>
                <a:gd name="connsiteX20" fmla="*/ 54850 w 493651"/>
                <a:gd name="connsiteY20" fmla="*/ 143982 h 287963"/>
                <a:gd name="connsiteX21" fmla="*/ 27425 w 493651"/>
                <a:gd name="connsiteY21" fmla="*/ 116557 h 28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3651" h="287963">
                  <a:moveTo>
                    <a:pt x="363382" y="143982"/>
                  </a:moveTo>
                  <a:lnTo>
                    <a:pt x="240244" y="287963"/>
                  </a:lnTo>
                  <a:lnTo>
                    <a:pt x="198832" y="252036"/>
                  </a:lnTo>
                  <a:lnTo>
                    <a:pt x="267737" y="171407"/>
                  </a:lnTo>
                  <a:lnTo>
                    <a:pt x="95988" y="171407"/>
                  </a:lnTo>
                  <a:lnTo>
                    <a:pt x="95988" y="116557"/>
                  </a:lnTo>
                  <a:lnTo>
                    <a:pt x="267737" y="116557"/>
                  </a:lnTo>
                  <a:lnTo>
                    <a:pt x="198832" y="35927"/>
                  </a:lnTo>
                  <a:lnTo>
                    <a:pt x="240244" y="0"/>
                  </a:lnTo>
                  <a:lnTo>
                    <a:pt x="363382" y="143982"/>
                  </a:lnTo>
                  <a:close/>
                  <a:moveTo>
                    <a:pt x="370513" y="0"/>
                  </a:moveTo>
                  <a:lnTo>
                    <a:pt x="329101" y="35927"/>
                  </a:lnTo>
                  <a:lnTo>
                    <a:pt x="421455" y="143982"/>
                  </a:lnTo>
                  <a:lnTo>
                    <a:pt x="329101" y="252036"/>
                  </a:lnTo>
                  <a:lnTo>
                    <a:pt x="370513" y="287963"/>
                  </a:lnTo>
                  <a:lnTo>
                    <a:pt x="493651" y="143982"/>
                  </a:lnTo>
                  <a:lnTo>
                    <a:pt x="370513" y="0"/>
                  </a:lnTo>
                  <a:close/>
                  <a:moveTo>
                    <a:pt x="27425" y="116557"/>
                  </a:moveTo>
                  <a:cubicBezTo>
                    <a:pt x="12273" y="116557"/>
                    <a:pt x="0" y="128829"/>
                    <a:pt x="0" y="143982"/>
                  </a:cubicBezTo>
                  <a:cubicBezTo>
                    <a:pt x="0" y="159134"/>
                    <a:pt x="12273" y="171407"/>
                    <a:pt x="27425" y="171407"/>
                  </a:cubicBezTo>
                  <a:cubicBezTo>
                    <a:pt x="42577" y="171407"/>
                    <a:pt x="54850" y="159134"/>
                    <a:pt x="54850" y="143982"/>
                  </a:cubicBezTo>
                  <a:cubicBezTo>
                    <a:pt x="54850" y="128829"/>
                    <a:pt x="42577" y="116557"/>
                    <a:pt x="27425" y="116557"/>
                  </a:cubicBezTo>
                  <a:close/>
                </a:path>
              </a:pathLst>
            </a:custGeom>
            <a:solidFill>
              <a:srgbClr val="000028"/>
            </a:solidFill>
            <a:ln w="6794" cap="flat">
              <a:noFill/>
              <a:prstDash val="solid"/>
              <a:miter/>
            </a:ln>
          </p:spPr>
          <p:txBody>
            <a:bodyPr rtlCol="0" anchor="ctr"/>
            <a:lstStyle/>
            <a:p>
              <a:endParaRPr lang="en-US"/>
            </a:p>
          </p:txBody>
        </p:sp>
      </p:grpSp>
    </p:spTree>
    <p:extLst>
      <p:ext uri="{BB962C8B-B14F-4D97-AF65-F5344CB8AC3E}">
        <p14:creationId xmlns:p14="http://schemas.microsoft.com/office/powerpoint/2010/main" val="38346211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5686F-F1EB-E9C2-2B54-29CE5D542B2A}"/>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E0D9A418-D22E-41CC-CD9C-B20536B2E8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2" name="think-cell data - do not delete" hidden="1">
                        <a:extLst>
                          <a:ext uri="{FF2B5EF4-FFF2-40B4-BE49-F238E27FC236}">
                            <a16:creationId xmlns:a16="http://schemas.microsoft.com/office/drawing/2014/main" id="{E0D9A418-D22E-41CC-CD9C-B20536B2E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2192471-9E20-522D-059B-97BE9B41AF38}"/>
              </a:ext>
            </a:extLst>
          </p:cNvPr>
          <p:cNvSpPr>
            <a:spLocks noGrp="1"/>
          </p:cNvSpPr>
          <p:nvPr>
            <p:ph type="ftr" sz="quarter" idx="10"/>
          </p:nvPr>
        </p:nvSpPr>
        <p:spPr/>
        <p:txBody>
          <a:bodyPr/>
          <a:lstStyle/>
          <a:p>
            <a:pPr>
              <a:lnSpc>
                <a:spcPct val="100000"/>
              </a:lnSpc>
            </a:pPr>
            <a:r>
              <a:rPr lang="en-US"/>
              <a:t>Unrestricted | © Siemens 2025 | Raghav Tripathi</a:t>
            </a:r>
          </a:p>
        </p:txBody>
      </p:sp>
      <p:pic>
        <p:nvPicPr>
          <p:cNvPr id="5" name="Picture 4">
            <a:extLst>
              <a:ext uri="{FF2B5EF4-FFF2-40B4-BE49-F238E27FC236}">
                <a16:creationId xmlns:a16="http://schemas.microsoft.com/office/drawing/2014/main" id="{CABA9E8F-5846-80F0-D372-01DB5AC996FB}"/>
              </a:ext>
            </a:extLst>
          </p:cNvPr>
          <p:cNvPicPr preferRelativeResize="0">
            <a:picLocks noChangeArrowheads="1"/>
          </p:cNvPicPr>
          <p:nvPr/>
        </p:nvPicPr>
        <p:blipFill rotWithShape="1">
          <a:blip r:embed="rId6">
            <a:extLst>
              <a:ext uri="{28A0092B-C50C-407E-A947-70E740481C1C}">
                <a14:useLocalDpi xmlns:a14="http://schemas.microsoft.com/office/drawing/2010/main" val="0"/>
              </a:ext>
            </a:extLst>
          </a:blip>
          <a:srcRect t="28752" b="9106"/>
          <a:stretch>
            <a:fillRect/>
          </a:stretch>
        </p:blipFill>
        <p:spPr bwMode="auto">
          <a:xfrm>
            <a:off x="8198372" y="4134438"/>
            <a:ext cx="3588813" cy="16726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F3C8910-3F33-C3A1-4451-F75ED6C077C2}"/>
              </a:ext>
            </a:extLst>
          </p:cNvPr>
          <p:cNvPicPr preferRelativeResize="0">
            <a:picLocks noChangeArrowheads="1"/>
          </p:cNvPicPr>
          <p:nvPr/>
        </p:nvPicPr>
        <p:blipFill rotWithShape="1">
          <a:blip r:embed="rId7">
            <a:extLst>
              <a:ext uri="{28A0092B-C50C-407E-A947-70E740481C1C}">
                <a14:useLocalDpi xmlns:a14="http://schemas.microsoft.com/office/drawing/2010/main" val="0"/>
              </a:ext>
            </a:extLst>
          </a:blip>
          <a:srcRect t="19021" b="19021"/>
          <a:stretch>
            <a:fillRect/>
          </a:stretch>
        </p:blipFill>
        <p:spPr bwMode="auto">
          <a:xfrm>
            <a:off x="4298949" y="2222230"/>
            <a:ext cx="3599531" cy="1672637"/>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26" descr="Ein Bild, das Person, Kleidung, Menschliches Gesicht, Computer enthält.&#10;&#10;KI-generierte Inhalte können fehlerhaft sein.">
            <a:extLst>
              <a:ext uri="{FF2B5EF4-FFF2-40B4-BE49-F238E27FC236}">
                <a16:creationId xmlns:a16="http://schemas.microsoft.com/office/drawing/2014/main" id="{E358DFA1-EF64-FC89-CE23-2C2B38900F09}"/>
              </a:ext>
            </a:extLst>
          </p:cNvPr>
          <p:cNvPicPr preferRelativeResize="0">
            <a:picLocks/>
          </p:cNvPicPr>
          <p:nvPr/>
        </p:nvPicPr>
        <p:blipFill rotWithShape="1">
          <a:blip r:embed="rId8" cstate="print">
            <a:extLst>
              <a:ext uri="{28A0092B-C50C-407E-A947-70E740481C1C}">
                <a14:useLocalDpi xmlns:a14="http://schemas.microsoft.com/office/drawing/2010/main"/>
              </a:ext>
            </a:extLst>
          </a:blip>
          <a:srcRect l="404" r="404"/>
          <a:stretch>
            <a:fillRect/>
          </a:stretch>
        </p:blipFill>
        <p:spPr>
          <a:xfrm>
            <a:off x="411164" y="2222230"/>
            <a:ext cx="3598862" cy="1672637"/>
          </a:xfrm>
          <a:prstGeom prst="rect">
            <a:avLst/>
          </a:prstGeom>
        </p:spPr>
      </p:pic>
      <p:pic>
        <p:nvPicPr>
          <p:cNvPr id="9" name="Grafik 28" descr="Ein Bild, das Landwirtschaft, Plantage, Gras, Feldfrucht enthält.&#10;&#10;KI-generierte Inhalte können fehlerhaft sein.">
            <a:extLst>
              <a:ext uri="{FF2B5EF4-FFF2-40B4-BE49-F238E27FC236}">
                <a16:creationId xmlns:a16="http://schemas.microsoft.com/office/drawing/2014/main" id="{41A35031-526D-9411-EF8D-1604CACFBB1C}"/>
              </a:ext>
            </a:extLst>
          </p:cNvPr>
          <p:cNvPicPr preferRelativeResize="0">
            <a:picLocks/>
          </p:cNvPicPr>
          <p:nvPr/>
        </p:nvPicPr>
        <p:blipFill rotWithShape="1">
          <a:blip r:embed="rId9" cstate="print">
            <a:extLst>
              <a:ext uri="{28A0092B-C50C-407E-A947-70E740481C1C}">
                <a14:useLocalDpi xmlns:a14="http://schemas.microsoft.com/office/drawing/2010/main"/>
              </a:ext>
            </a:extLst>
          </a:blip>
          <a:srcRect l="404" r="404"/>
          <a:stretch>
            <a:fillRect/>
          </a:stretch>
        </p:blipFill>
        <p:spPr>
          <a:xfrm>
            <a:off x="411164" y="4134438"/>
            <a:ext cx="3598862" cy="1672637"/>
          </a:xfrm>
          <a:prstGeom prst="rect">
            <a:avLst/>
          </a:prstGeom>
        </p:spPr>
      </p:pic>
      <p:pic>
        <p:nvPicPr>
          <p:cNvPr id="10" name="Grafik 30" descr="Ein Bild, das Brille, Menschliches Gesicht, Person, Schutzbrille enthält.&#10;&#10;KI-generierte Inhalte können fehlerhaft sein.">
            <a:extLst>
              <a:ext uri="{FF2B5EF4-FFF2-40B4-BE49-F238E27FC236}">
                <a16:creationId xmlns:a16="http://schemas.microsoft.com/office/drawing/2014/main" id="{ACA04D0E-D290-DFA7-91DC-4A55D87350F4}"/>
              </a:ext>
            </a:extLst>
          </p:cNvPr>
          <p:cNvPicPr preferRelativeResize="0">
            <a:picLocks/>
          </p:cNvPicPr>
          <p:nvPr/>
        </p:nvPicPr>
        <p:blipFill rotWithShape="1">
          <a:blip r:embed="rId10" cstate="print">
            <a:extLst>
              <a:ext uri="{BEBA8EAE-BF5A-486C-A8C5-ECC9F3942E4B}">
                <a14:imgProps xmlns:a14="http://schemas.microsoft.com/office/drawing/2010/main">
                  <a14:imgLayer r:embed="rId11">
                    <a14:imgEffect>
                      <a14:brightnessContrast bright="-27000" contrast="-6000"/>
                    </a14:imgEffect>
                  </a14:imgLayer>
                </a14:imgProps>
              </a:ext>
              <a:ext uri="{28A0092B-C50C-407E-A947-70E740481C1C}">
                <a14:useLocalDpi xmlns:a14="http://schemas.microsoft.com/office/drawing/2010/main"/>
              </a:ext>
            </a:extLst>
          </a:blip>
          <a:srcRect l="390" r="390"/>
          <a:stretch>
            <a:fillRect/>
          </a:stretch>
        </p:blipFill>
        <p:spPr>
          <a:xfrm>
            <a:off x="8198373" y="2222230"/>
            <a:ext cx="3588813" cy="1672637"/>
          </a:xfrm>
          <a:prstGeom prst="rect">
            <a:avLst/>
          </a:prstGeom>
        </p:spPr>
      </p:pic>
      <p:pic>
        <p:nvPicPr>
          <p:cNvPr id="11" name="Grafik 32" descr="Ein Bild, das Kleidung, Person, Frachtcontainer, Mann enthält.&#10;&#10;KI-generierte Inhalte können fehlerhaft sein.">
            <a:extLst>
              <a:ext uri="{FF2B5EF4-FFF2-40B4-BE49-F238E27FC236}">
                <a16:creationId xmlns:a16="http://schemas.microsoft.com/office/drawing/2014/main" id="{AC5F6690-F584-4B87-138C-F7AE73BF973F}"/>
              </a:ext>
            </a:extLst>
          </p:cNvPr>
          <p:cNvPicPr preferRelativeResize="0">
            <a:picLocks/>
          </p:cNvPicPr>
          <p:nvPr/>
        </p:nvPicPr>
        <p:blipFill rotWithShape="1">
          <a:blip r:embed="rId12" cstate="print">
            <a:extLst>
              <a:ext uri="{28A0092B-C50C-407E-A947-70E740481C1C}">
                <a14:useLocalDpi xmlns:a14="http://schemas.microsoft.com/office/drawing/2010/main"/>
              </a:ext>
            </a:extLst>
          </a:blip>
          <a:srcRect l="272" r="272"/>
          <a:stretch>
            <a:fillRect/>
          </a:stretch>
        </p:blipFill>
        <p:spPr>
          <a:xfrm>
            <a:off x="4298949" y="4134438"/>
            <a:ext cx="3599531" cy="1672637"/>
          </a:xfrm>
          <a:prstGeom prst="rect">
            <a:avLst/>
          </a:prstGeom>
        </p:spPr>
      </p:pic>
      <p:sp>
        <p:nvSpPr>
          <p:cNvPr id="12" name="Rechteck 33">
            <a:extLst>
              <a:ext uri="{FF2B5EF4-FFF2-40B4-BE49-F238E27FC236}">
                <a16:creationId xmlns:a16="http://schemas.microsoft.com/office/drawing/2014/main" id="{97273CEA-AC10-9AD0-0878-D4D2FB0EDB03}"/>
              </a:ext>
            </a:extLst>
          </p:cNvPr>
          <p:cNvSpPr>
            <a:spLocks/>
          </p:cNvSpPr>
          <p:nvPr/>
        </p:nvSpPr>
        <p:spPr>
          <a:xfrm>
            <a:off x="404814" y="2222230"/>
            <a:ext cx="11382373" cy="1672637"/>
          </a:xfrm>
          <a:prstGeom prst="rect">
            <a:avLst/>
          </a:prstGeom>
          <a:gradFill flip="none" rotWithShape="1">
            <a:gsLst>
              <a:gs pos="0">
                <a:schemeClr val="bg2">
                  <a:alpha val="78000"/>
                </a:schemeClr>
              </a:gs>
              <a:gs pos="100000">
                <a:schemeClr val="bg2">
                  <a:alpha val="2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9" name="Titel 1">
            <a:extLst>
              <a:ext uri="{FF2B5EF4-FFF2-40B4-BE49-F238E27FC236}">
                <a16:creationId xmlns:a16="http://schemas.microsoft.com/office/drawing/2014/main" id="{8A83358A-7031-084F-FB56-0CA99C2AB67F}"/>
              </a:ext>
            </a:extLst>
          </p:cNvPr>
          <p:cNvSpPr txBox="1">
            <a:spLocks/>
          </p:cNvSpPr>
          <p:nvPr/>
        </p:nvSpPr>
        <p:spPr bwMode="black">
          <a:xfrm>
            <a:off x="401393" y="767566"/>
            <a:ext cx="11376025" cy="568538"/>
          </a:xfrm>
          <a:prstGeom prst="rect">
            <a:avLst/>
          </a:prstGeom>
        </p:spPr>
        <p:txBody>
          <a:bodyPr vert="horz" lIns="0" tIns="0" rIns="324000" bIns="1440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lnSpc>
                <a:spcPct val="100000"/>
              </a:lnSpc>
              <a:spcAft>
                <a:spcPts val="600"/>
              </a:spcAft>
              <a:buClrTx/>
              <a:defRPr/>
            </a:pPr>
            <a:r>
              <a:rPr kumimoji="0" lang="en-US" sz="3600" b="1" i="0" u="none" strike="noStrike" kern="1200" cap="none" spc="0" normalizeH="0" baseline="0" noProof="0">
                <a:ln>
                  <a:noFill/>
                </a:ln>
                <a:solidFill>
                  <a:srgbClr val="00C1B6"/>
                </a:solidFill>
                <a:effectLst/>
                <a:uLnTx/>
                <a:uFillTx/>
                <a:latin typeface="Arial"/>
                <a:ea typeface="+mj-ea"/>
                <a:cs typeface="+mj-cs"/>
              </a:rPr>
              <a:t>How Software-Defined Automation helps</a:t>
            </a:r>
            <a:r>
              <a:rPr lang="en-US" sz="3600">
                <a:solidFill>
                  <a:srgbClr val="00C1B6"/>
                </a:solidFill>
                <a:latin typeface="Arial"/>
              </a:rPr>
              <a:t> overcoming the industry's challenges</a:t>
            </a:r>
            <a:endParaRPr kumimoji="0" lang="en-US" sz="3600" b="1" i="0" u="none" strike="noStrike" kern="1200" cap="none" spc="0" normalizeH="0" baseline="0" noProof="0">
              <a:ln>
                <a:noFill/>
              </a:ln>
              <a:solidFill>
                <a:srgbClr val="00C1B6"/>
              </a:solidFill>
              <a:effectLst/>
              <a:uLnTx/>
              <a:uFillTx/>
              <a:latin typeface="Arial"/>
              <a:ea typeface="+mj-ea"/>
              <a:cs typeface="+mj-cs"/>
            </a:endParaRPr>
          </a:p>
        </p:txBody>
      </p:sp>
      <p:sp>
        <p:nvSpPr>
          <p:cNvPr id="23" name="Rechteck 33">
            <a:extLst>
              <a:ext uri="{FF2B5EF4-FFF2-40B4-BE49-F238E27FC236}">
                <a16:creationId xmlns:a16="http://schemas.microsoft.com/office/drawing/2014/main" id="{8020A707-9CC9-F16C-9530-113B54975A33}"/>
              </a:ext>
            </a:extLst>
          </p:cNvPr>
          <p:cNvSpPr>
            <a:spLocks/>
          </p:cNvSpPr>
          <p:nvPr/>
        </p:nvSpPr>
        <p:spPr>
          <a:xfrm>
            <a:off x="404814" y="4141032"/>
            <a:ext cx="11382373" cy="1672637"/>
          </a:xfrm>
          <a:prstGeom prst="rect">
            <a:avLst/>
          </a:prstGeom>
          <a:gradFill flip="none" rotWithShape="1">
            <a:gsLst>
              <a:gs pos="0">
                <a:schemeClr val="bg2">
                  <a:alpha val="78000"/>
                </a:schemeClr>
              </a:gs>
              <a:gs pos="100000">
                <a:schemeClr val="bg2">
                  <a:alpha val="2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43">
            <a:extLst>
              <a:ext uri="{FF2B5EF4-FFF2-40B4-BE49-F238E27FC236}">
                <a16:creationId xmlns:a16="http://schemas.microsoft.com/office/drawing/2014/main" id="{D3BE2FD6-C2CA-92FC-C3BF-ABA5E283C0FD}"/>
              </a:ext>
            </a:extLst>
          </p:cNvPr>
          <p:cNvSpPr>
            <a:spLocks/>
          </p:cNvSpPr>
          <p:nvPr/>
        </p:nvSpPr>
        <p:spPr>
          <a:xfrm>
            <a:off x="411162" y="5181344"/>
            <a:ext cx="3617659" cy="616886"/>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buClr>
                <a:schemeClr val="tx1"/>
              </a:buClr>
              <a:defRPr/>
            </a:pPr>
            <a:r>
              <a:rPr lang="en-US" sz="1400">
                <a:solidFill>
                  <a:prstClr val="white"/>
                </a:solidFill>
              </a:rPr>
              <a:t>Alternative feedstocks</a:t>
            </a:r>
            <a:endParaRPr kumimoji="0" lang="en-US" sz="1400" b="0" i="0" u="none" strike="noStrike" kern="1200" cap="none" spc="0" normalizeH="0" baseline="0" noProof="0">
              <a:ln>
                <a:noFill/>
              </a:ln>
              <a:solidFill>
                <a:prstClr val="white"/>
              </a:solidFill>
              <a:effectLst/>
              <a:uLnTx/>
              <a:uFillTx/>
              <a:latin typeface="Arial"/>
              <a:ea typeface="+mn-ea"/>
              <a:cs typeface="+mn-cs"/>
            </a:endParaRPr>
          </a:p>
          <a:p>
            <a:pPr marL="143510" marR="0" lvl="0" indent="-14351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400">
                <a:solidFill>
                  <a:prstClr val="white"/>
                </a:solidFill>
                <a:latin typeface="Arial"/>
              </a:rPr>
              <a:t>Adaptable</a:t>
            </a:r>
            <a:r>
              <a:rPr kumimoji="0" lang="en-US" sz="1400" b="0" i="0" u="none" strike="noStrike" kern="1200" cap="none" spc="0" normalizeH="0" baseline="0" noProof="0">
                <a:ln>
                  <a:noFill/>
                </a:ln>
                <a:solidFill>
                  <a:prstClr val="white"/>
                </a:solidFill>
                <a:effectLst/>
                <a:uLnTx/>
                <a:uFillTx/>
                <a:latin typeface="Arial"/>
                <a:ea typeface="+mn-ea"/>
                <a:cs typeface="+mn-cs"/>
              </a:rPr>
              <a:t> control systems</a:t>
            </a:r>
            <a:endParaRPr lang="en-US" sz="1400" b="0" i="0" u="none" strike="noStrike" kern="1200" cap="none" spc="0" normalizeH="0" baseline="0" noProof="0">
              <a:ln>
                <a:noFill/>
              </a:ln>
              <a:solidFill>
                <a:prstClr val="white"/>
              </a:solidFill>
              <a:effectLst/>
              <a:uLnTx/>
              <a:uFillTx/>
              <a:latin typeface="Arial"/>
              <a:cs typeface="Arial"/>
            </a:endParaRPr>
          </a:p>
        </p:txBody>
      </p:sp>
      <p:sp>
        <p:nvSpPr>
          <p:cNvPr id="17" name="Rectangle 47">
            <a:extLst>
              <a:ext uri="{FF2B5EF4-FFF2-40B4-BE49-F238E27FC236}">
                <a16:creationId xmlns:a16="http://schemas.microsoft.com/office/drawing/2014/main" id="{2807067A-4AFE-FEE9-B385-ECF870E312F8}"/>
              </a:ext>
            </a:extLst>
          </p:cNvPr>
          <p:cNvSpPr>
            <a:spLocks/>
          </p:cNvSpPr>
          <p:nvPr/>
        </p:nvSpPr>
        <p:spPr>
          <a:xfrm>
            <a:off x="4287171" y="5181344"/>
            <a:ext cx="3617659" cy="616886"/>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
                <a:schemeClr val="tx1"/>
              </a:buClr>
              <a:buSzTx/>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Inflexible operations</a:t>
            </a:r>
          </a:p>
          <a:p>
            <a:pPr marL="144000" marR="0" lvl="0" indent="-144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No changing of physical hardware</a:t>
            </a:r>
          </a:p>
        </p:txBody>
      </p:sp>
      <p:sp>
        <p:nvSpPr>
          <p:cNvPr id="18" name="Rectangle 48">
            <a:extLst>
              <a:ext uri="{FF2B5EF4-FFF2-40B4-BE49-F238E27FC236}">
                <a16:creationId xmlns:a16="http://schemas.microsoft.com/office/drawing/2014/main" id="{7F2D9547-82E5-5E23-C64D-94F6B460BA63}"/>
              </a:ext>
            </a:extLst>
          </p:cNvPr>
          <p:cNvSpPr>
            <a:spLocks/>
          </p:cNvSpPr>
          <p:nvPr/>
        </p:nvSpPr>
        <p:spPr>
          <a:xfrm>
            <a:off x="8163178" y="4861901"/>
            <a:ext cx="3617659" cy="936329"/>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44000" marR="0" lvl="0" indent="-144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endParaRPr kumimoji="0" lang="en-US" sz="1400" b="0" i="0" u="none" strike="noStrike" kern="1200" cap="none" spc="0" normalizeH="0" baseline="0" noProof="0">
              <a:ln>
                <a:noFill/>
              </a:ln>
              <a:solidFill>
                <a:prstClr val="white"/>
              </a:solidFill>
              <a:effectLst/>
              <a:uLnTx/>
              <a:uFillTx/>
              <a:latin typeface="Arial"/>
            </a:endParaRPr>
          </a:p>
          <a:p>
            <a:pPr>
              <a:spcAft>
                <a:spcPts val="600"/>
              </a:spcAft>
              <a:buClr>
                <a:schemeClr val="tx1"/>
              </a:buClr>
              <a:defRPr/>
            </a:pPr>
            <a:r>
              <a:rPr lang="en-US" sz="1400">
                <a:solidFill>
                  <a:prstClr val="white"/>
                </a:solidFill>
              </a:rPr>
              <a:t>Integration advanced technologies</a:t>
            </a:r>
          </a:p>
          <a:p>
            <a:pPr marL="144000" marR="0" lvl="0" indent="-144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rPr>
              <a:t>Open standards and APIs</a:t>
            </a:r>
          </a:p>
        </p:txBody>
      </p:sp>
      <p:sp>
        <p:nvSpPr>
          <p:cNvPr id="6" name="Rectangle 46">
            <a:extLst>
              <a:ext uri="{FF2B5EF4-FFF2-40B4-BE49-F238E27FC236}">
                <a16:creationId xmlns:a16="http://schemas.microsoft.com/office/drawing/2014/main" id="{E8060568-EBEF-7865-1F78-6BE1335F5EC8}"/>
              </a:ext>
            </a:extLst>
          </p:cNvPr>
          <p:cNvSpPr>
            <a:spLocks/>
          </p:cNvSpPr>
          <p:nvPr/>
        </p:nvSpPr>
        <p:spPr>
          <a:xfrm>
            <a:off x="4287171" y="2825819"/>
            <a:ext cx="3617659" cy="104777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
                <a:schemeClr val="tx1"/>
              </a:buClr>
              <a:buSzTx/>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Energy &amp; resource efficiency</a:t>
            </a:r>
          </a:p>
          <a:p>
            <a:pPr marL="144000" marR="0" lvl="0" indent="-144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Dynamically optimize </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rPr>
              <a:t>processes in real-time</a:t>
            </a:r>
          </a:p>
        </p:txBody>
      </p:sp>
      <p:sp>
        <p:nvSpPr>
          <p:cNvPr id="13" name="Rectangle 15">
            <a:extLst>
              <a:ext uri="{FF2B5EF4-FFF2-40B4-BE49-F238E27FC236}">
                <a16:creationId xmlns:a16="http://schemas.microsoft.com/office/drawing/2014/main" id="{7F13A5FC-34AE-5085-0497-AA464CDA3E52}"/>
              </a:ext>
            </a:extLst>
          </p:cNvPr>
          <p:cNvSpPr>
            <a:spLocks/>
          </p:cNvSpPr>
          <p:nvPr/>
        </p:nvSpPr>
        <p:spPr>
          <a:xfrm>
            <a:off x="411162" y="3041262"/>
            <a:ext cx="3617659" cy="832330"/>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
                <a:schemeClr val="tx1"/>
              </a:buClr>
              <a:buSzTx/>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Labor shortage</a:t>
            </a:r>
          </a:p>
          <a:p>
            <a:pPr marL="144000" marR="0" lvl="0" indent="-144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Centralized operations </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rPr>
              <a:t>&amp; IT-like engineering</a:t>
            </a:r>
          </a:p>
        </p:txBody>
      </p:sp>
      <p:sp>
        <p:nvSpPr>
          <p:cNvPr id="14" name="Rectangle 45">
            <a:extLst>
              <a:ext uri="{FF2B5EF4-FFF2-40B4-BE49-F238E27FC236}">
                <a16:creationId xmlns:a16="http://schemas.microsoft.com/office/drawing/2014/main" id="{CAC39AF4-A104-FB95-4AB4-4023516E6818}"/>
              </a:ext>
            </a:extLst>
          </p:cNvPr>
          <p:cNvSpPr>
            <a:spLocks/>
          </p:cNvSpPr>
          <p:nvPr/>
        </p:nvSpPr>
        <p:spPr>
          <a:xfrm>
            <a:off x="8163178" y="3041262"/>
            <a:ext cx="3617659" cy="832330"/>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b"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
                <a:schemeClr val="tx1"/>
              </a:buClr>
              <a:buSzTx/>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Cybersecurity &amp; Regulations</a:t>
            </a:r>
          </a:p>
          <a:p>
            <a:pPr marL="144000" marR="0" lvl="0" indent="-1440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Software-Driven updates &amp; </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rPr>
              <a:t>Data traceability</a:t>
            </a:r>
          </a:p>
        </p:txBody>
      </p:sp>
    </p:spTree>
    <p:extLst>
      <p:ext uri="{BB962C8B-B14F-4D97-AF65-F5344CB8AC3E}">
        <p14:creationId xmlns:p14="http://schemas.microsoft.com/office/powerpoint/2010/main" val="35940813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E07409-7B4C-EDF7-C140-367A6B7543EF}"/>
              </a:ext>
            </a:extLst>
          </p:cNvPr>
          <p:cNvGraphicFramePr>
            <a:graphicFrameLocks noChangeAspect="1"/>
          </p:cNvGraphicFramePr>
          <p:nvPr>
            <p:custDataLst>
              <p:tags r:id="rId1"/>
            </p:custDataLst>
            <p:extLst>
              <p:ext uri="{D42A27DB-BD31-4B8C-83A1-F6EECF244321}">
                <p14:modId xmlns:p14="http://schemas.microsoft.com/office/powerpoint/2010/main" val="2108697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3AE07409-7B4C-EDF7-C140-367A6B7543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Gruppieren 14">
            <a:extLst>
              <a:ext uri="{FF2B5EF4-FFF2-40B4-BE49-F238E27FC236}">
                <a16:creationId xmlns:a16="http://schemas.microsoft.com/office/drawing/2014/main" id="{E7BA360A-8881-0FAB-0223-7C58014204AB}"/>
              </a:ext>
            </a:extLst>
          </p:cNvPr>
          <p:cNvGrpSpPr/>
          <p:nvPr/>
        </p:nvGrpSpPr>
        <p:grpSpPr bwMode="gray">
          <a:xfrm rot="16200000">
            <a:off x="-958114" y="2977141"/>
            <a:ext cx="3220458" cy="2128317"/>
            <a:chOff x="8209419" y="3921919"/>
            <a:chExt cx="980659" cy="648092"/>
          </a:xfrm>
          <a:gradFill>
            <a:gsLst>
              <a:gs pos="0">
                <a:srgbClr val="00FFB9">
                  <a:alpha val="0"/>
                </a:srgbClr>
              </a:gs>
              <a:gs pos="100000">
                <a:srgbClr val="00FFB9">
                  <a:alpha val="26000"/>
                </a:srgbClr>
              </a:gs>
            </a:gsLst>
            <a:lin ang="5400000" scaled="1"/>
          </a:gradFill>
        </p:grpSpPr>
        <p:sp>
          <p:nvSpPr>
            <p:cNvPr id="16" name="Ellipse 15">
              <a:extLst>
                <a:ext uri="{FF2B5EF4-FFF2-40B4-BE49-F238E27FC236}">
                  <a16:creationId xmlns:a16="http://schemas.microsoft.com/office/drawing/2014/main" id="{A3A17BBA-EEF4-6009-15C0-352F9175941D}"/>
                </a:ext>
              </a:extLst>
            </p:cNvPr>
            <p:cNvSpPr>
              <a:spLocks/>
            </p:cNvSpPr>
            <p:nvPr/>
          </p:nvSpPr>
          <p:spPr bwMode="gray">
            <a:xfrm>
              <a:off x="8602555"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7" name="Ellipse 16">
              <a:extLst>
                <a:ext uri="{FF2B5EF4-FFF2-40B4-BE49-F238E27FC236}">
                  <a16:creationId xmlns:a16="http://schemas.microsoft.com/office/drawing/2014/main" id="{C58D67C3-8F05-AE32-078B-AEE173078D3E}"/>
                </a:ext>
              </a:extLst>
            </p:cNvPr>
            <p:cNvSpPr>
              <a:spLocks/>
            </p:cNvSpPr>
            <p:nvPr/>
          </p:nvSpPr>
          <p:spPr bwMode="gray">
            <a:xfrm>
              <a:off x="8602555"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8" name="Ellipse 17">
              <a:extLst>
                <a:ext uri="{FF2B5EF4-FFF2-40B4-BE49-F238E27FC236}">
                  <a16:creationId xmlns:a16="http://schemas.microsoft.com/office/drawing/2014/main" id="{DD8E84E5-55DD-A097-867C-A81C22AF224C}"/>
                </a:ext>
              </a:extLst>
            </p:cNvPr>
            <p:cNvSpPr>
              <a:spLocks/>
            </p:cNvSpPr>
            <p:nvPr/>
          </p:nvSpPr>
          <p:spPr bwMode="gray">
            <a:xfrm>
              <a:off x="8602555"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9" name="Ellipse 18">
              <a:extLst>
                <a:ext uri="{FF2B5EF4-FFF2-40B4-BE49-F238E27FC236}">
                  <a16:creationId xmlns:a16="http://schemas.microsoft.com/office/drawing/2014/main" id="{849FACBB-6789-43E2-48DD-495757F0A466}"/>
                </a:ext>
              </a:extLst>
            </p:cNvPr>
            <p:cNvSpPr>
              <a:spLocks/>
            </p:cNvSpPr>
            <p:nvPr/>
          </p:nvSpPr>
          <p:spPr bwMode="gray">
            <a:xfrm>
              <a:off x="8602555"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0" name="Ellipse 19">
              <a:extLst>
                <a:ext uri="{FF2B5EF4-FFF2-40B4-BE49-F238E27FC236}">
                  <a16:creationId xmlns:a16="http://schemas.microsoft.com/office/drawing/2014/main" id="{BBD8F52A-AD90-4B67-D7E6-0103E915CEB7}"/>
                </a:ext>
              </a:extLst>
            </p:cNvPr>
            <p:cNvSpPr/>
            <p:nvPr/>
          </p:nvSpPr>
          <p:spPr bwMode="gray">
            <a:xfrm>
              <a:off x="8602555"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1" name="Ellipse 20">
              <a:extLst>
                <a:ext uri="{FF2B5EF4-FFF2-40B4-BE49-F238E27FC236}">
                  <a16:creationId xmlns:a16="http://schemas.microsoft.com/office/drawing/2014/main" id="{2B1D7B5E-1A65-877A-7154-BACECEABC87A}"/>
                </a:ext>
              </a:extLst>
            </p:cNvPr>
            <p:cNvSpPr>
              <a:spLocks/>
            </p:cNvSpPr>
            <p:nvPr/>
          </p:nvSpPr>
          <p:spPr bwMode="gray">
            <a:xfrm>
              <a:off x="8470874"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2" name="Ellipse 21">
              <a:extLst>
                <a:ext uri="{FF2B5EF4-FFF2-40B4-BE49-F238E27FC236}">
                  <a16:creationId xmlns:a16="http://schemas.microsoft.com/office/drawing/2014/main" id="{B4C0A6C2-F78D-1712-9B95-77C06B1F2332}"/>
                </a:ext>
              </a:extLst>
            </p:cNvPr>
            <p:cNvSpPr>
              <a:spLocks/>
            </p:cNvSpPr>
            <p:nvPr/>
          </p:nvSpPr>
          <p:spPr bwMode="gray">
            <a:xfrm>
              <a:off x="8470874"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3" name="Ellipse 22">
              <a:extLst>
                <a:ext uri="{FF2B5EF4-FFF2-40B4-BE49-F238E27FC236}">
                  <a16:creationId xmlns:a16="http://schemas.microsoft.com/office/drawing/2014/main" id="{AB0C7410-B5CF-CBD6-D24D-2D2E56FEAE67}"/>
                </a:ext>
              </a:extLst>
            </p:cNvPr>
            <p:cNvSpPr>
              <a:spLocks/>
            </p:cNvSpPr>
            <p:nvPr/>
          </p:nvSpPr>
          <p:spPr bwMode="gray">
            <a:xfrm>
              <a:off x="8470874"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4" name="Ellipse 23">
              <a:extLst>
                <a:ext uri="{FF2B5EF4-FFF2-40B4-BE49-F238E27FC236}">
                  <a16:creationId xmlns:a16="http://schemas.microsoft.com/office/drawing/2014/main" id="{D238252D-2E85-EDFA-7C25-9BCB407C83A1}"/>
                </a:ext>
              </a:extLst>
            </p:cNvPr>
            <p:cNvSpPr>
              <a:spLocks/>
            </p:cNvSpPr>
            <p:nvPr/>
          </p:nvSpPr>
          <p:spPr bwMode="gray">
            <a:xfrm>
              <a:off x="8470874"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5" name="Ellipse 24">
              <a:extLst>
                <a:ext uri="{FF2B5EF4-FFF2-40B4-BE49-F238E27FC236}">
                  <a16:creationId xmlns:a16="http://schemas.microsoft.com/office/drawing/2014/main" id="{122969F1-950E-1596-950E-DF42054551A3}"/>
                </a:ext>
              </a:extLst>
            </p:cNvPr>
            <p:cNvSpPr/>
            <p:nvPr/>
          </p:nvSpPr>
          <p:spPr bwMode="gray">
            <a:xfrm>
              <a:off x="8470874"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6" name="Ellipse 25">
              <a:extLst>
                <a:ext uri="{FF2B5EF4-FFF2-40B4-BE49-F238E27FC236}">
                  <a16:creationId xmlns:a16="http://schemas.microsoft.com/office/drawing/2014/main" id="{73A35E23-A750-8EDF-61D6-6A8750A8D424}"/>
                </a:ext>
              </a:extLst>
            </p:cNvPr>
            <p:cNvSpPr>
              <a:spLocks/>
            </p:cNvSpPr>
            <p:nvPr/>
          </p:nvSpPr>
          <p:spPr bwMode="gray">
            <a:xfrm>
              <a:off x="8341100"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7" name="Ellipse 26">
              <a:extLst>
                <a:ext uri="{FF2B5EF4-FFF2-40B4-BE49-F238E27FC236}">
                  <a16:creationId xmlns:a16="http://schemas.microsoft.com/office/drawing/2014/main" id="{F50AB655-C134-FE13-EDA3-F6FD6C3C0CBA}"/>
                </a:ext>
              </a:extLst>
            </p:cNvPr>
            <p:cNvSpPr>
              <a:spLocks/>
            </p:cNvSpPr>
            <p:nvPr/>
          </p:nvSpPr>
          <p:spPr bwMode="gray">
            <a:xfrm>
              <a:off x="8341100"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8" name="Ellipse 27">
              <a:extLst>
                <a:ext uri="{FF2B5EF4-FFF2-40B4-BE49-F238E27FC236}">
                  <a16:creationId xmlns:a16="http://schemas.microsoft.com/office/drawing/2014/main" id="{567C502D-7DC4-7A43-1AD6-120B960B62EC}"/>
                </a:ext>
              </a:extLst>
            </p:cNvPr>
            <p:cNvSpPr>
              <a:spLocks/>
            </p:cNvSpPr>
            <p:nvPr/>
          </p:nvSpPr>
          <p:spPr bwMode="gray">
            <a:xfrm>
              <a:off x="8341100"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9" name="Ellipse 28">
              <a:extLst>
                <a:ext uri="{FF2B5EF4-FFF2-40B4-BE49-F238E27FC236}">
                  <a16:creationId xmlns:a16="http://schemas.microsoft.com/office/drawing/2014/main" id="{FB333C8A-F55B-98D5-354A-C88701E968EC}"/>
                </a:ext>
              </a:extLst>
            </p:cNvPr>
            <p:cNvSpPr>
              <a:spLocks/>
            </p:cNvSpPr>
            <p:nvPr/>
          </p:nvSpPr>
          <p:spPr bwMode="gray">
            <a:xfrm>
              <a:off x="8341100"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0" name="Ellipse 29">
              <a:extLst>
                <a:ext uri="{FF2B5EF4-FFF2-40B4-BE49-F238E27FC236}">
                  <a16:creationId xmlns:a16="http://schemas.microsoft.com/office/drawing/2014/main" id="{14DCF0B8-99D6-2E65-6E12-9BD5E3AB182A}"/>
                </a:ext>
              </a:extLst>
            </p:cNvPr>
            <p:cNvSpPr/>
            <p:nvPr/>
          </p:nvSpPr>
          <p:spPr bwMode="gray">
            <a:xfrm>
              <a:off x="8341100"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1" name="Ellipse 30">
              <a:extLst>
                <a:ext uri="{FF2B5EF4-FFF2-40B4-BE49-F238E27FC236}">
                  <a16:creationId xmlns:a16="http://schemas.microsoft.com/office/drawing/2014/main" id="{3A8ED1D3-1D7F-3BD0-B309-13480662C60F}"/>
                </a:ext>
              </a:extLst>
            </p:cNvPr>
            <p:cNvSpPr>
              <a:spLocks/>
            </p:cNvSpPr>
            <p:nvPr/>
          </p:nvSpPr>
          <p:spPr bwMode="gray">
            <a:xfrm>
              <a:off x="8209419"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2" name="Ellipse 31">
              <a:extLst>
                <a:ext uri="{FF2B5EF4-FFF2-40B4-BE49-F238E27FC236}">
                  <a16:creationId xmlns:a16="http://schemas.microsoft.com/office/drawing/2014/main" id="{EE0B5B4A-6B43-CF52-6605-656DFFFE419F}"/>
                </a:ext>
              </a:extLst>
            </p:cNvPr>
            <p:cNvSpPr>
              <a:spLocks/>
            </p:cNvSpPr>
            <p:nvPr/>
          </p:nvSpPr>
          <p:spPr bwMode="gray">
            <a:xfrm>
              <a:off x="8209419"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3" name="Ellipse 32">
              <a:extLst>
                <a:ext uri="{FF2B5EF4-FFF2-40B4-BE49-F238E27FC236}">
                  <a16:creationId xmlns:a16="http://schemas.microsoft.com/office/drawing/2014/main" id="{0BFA4F19-DFE6-007E-07A5-E1A25DA2C9CE}"/>
                </a:ext>
              </a:extLst>
            </p:cNvPr>
            <p:cNvSpPr>
              <a:spLocks/>
            </p:cNvSpPr>
            <p:nvPr/>
          </p:nvSpPr>
          <p:spPr bwMode="gray">
            <a:xfrm>
              <a:off x="8209419"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4" name="Ellipse 33">
              <a:extLst>
                <a:ext uri="{FF2B5EF4-FFF2-40B4-BE49-F238E27FC236}">
                  <a16:creationId xmlns:a16="http://schemas.microsoft.com/office/drawing/2014/main" id="{6FB5F597-F37F-0BD2-3661-A01FBEA63318}"/>
                </a:ext>
              </a:extLst>
            </p:cNvPr>
            <p:cNvSpPr>
              <a:spLocks/>
            </p:cNvSpPr>
            <p:nvPr/>
          </p:nvSpPr>
          <p:spPr bwMode="gray">
            <a:xfrm>
              <a:off x="8209419"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5" name="Ellipse 34">
              <a:extLst>
                <a:ext uri="{FF2B5EF4-FFF2-40B4-BE49-F238E27FC236}">
                  <a16:creationId xmlns:a16="http://schemas.microsoft.com/office/drawing/2014/main" id="{CB42E153-C6D8-B568-7FA4-8B3FCCEF82FA}"/>
                </a:ext>
              </a:extLst>
            </p:cNvPr>
            <p:cNvSpPr/>
            <p:nvPr/>
          </p:nvSpPr>
          <p:spPr bwMode="gray">
            <a:xfrm>
              <a:off x="8209419"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6" name="Ellipse 35">
              <a:extLst>
                <a:ext uri="{FF2B5EF4-FFF2-40B4-BE49-F238E27FC236}">
                  <a16:creationId xmlns:a16="http://schemas.microsoft.com/office/drawing/2014/main" id="{FD438100-6BAB-69C2-D7A0-C8E0A53E8394}"/>
                </a:ext>
              </a:extLst>
            </p:cNvPr>
            <p:cNvSpPr>
              <a:spLocks/>
            </p:cNvSpPr>
            <p:nvPr/>
          </p:nvSpPr>
          <p:spPr bwMode="gray">
            <a:xfrm>
              <a:off x="8862724"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7" name="Ellipse 36">
              <a:extLst>
                <a:ext uri="{FF2B5EF4-FFF2-40B4-BE49-F238E27FC236}">
                  <a16:creationId xmlns:a16="http://schemas.microsoft.com/office/drawing/2014/main" id="{79BF3B3B-AAC7-B632-706D-CE7B190A650E}"/>
                </a:ext>
              </a:extLst>
            </p:cNvPr>
            <p:cNvSpPr>
              <a:spLocks/>
            </p:cNvSpPr>
            <p:nvPr/>
          </p:nvSpPr>
          <p:spPr bwMode="gray">
            <a:xfrm>
              <a:off x="8862724"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8" name="Ellipse 37">
              <a:extLst>
                <a:ext uri="{FF2B5EF4-FFF2-40B4-BE49-F238E27FC236}">
                  <a16:creationId xmlns:a16="http://schemas.microsoft.com/office/drawing/2014/main" id="{FDD926D0-5B50-668D-6B8B-74FE9DDDA828}"/>
                </a:ext>
              </a:extLst>
            </p:cNvPr>
            <p:cNvSpPr>
              <a:spLocks/>
            </p:cNvSpPr>
            <p:nvPr/>
          </p:nvSpPr>
          <p:spPr bwMode="gray">
            <a:xfrm>
              <a:off x="8862724"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9" name="Ellipse 38">
              <a:extLst>
                <a:ext uri="{FF2B5EF4-FFF2-40B4-BE49-F238E27FC236}">
                  <a16:creationId xmlns:a16="http://schemas.microsoft.com/office/drawing/2014/main" id="{5D8A088C-8F28-1DEE-108D-D3A60E546291}"/>
                </a:ext>
              </a:extLst>
            </p:cNvPr>
            <p:cNvSpPr>
              <a:spLocks/>
            </p:cNvSpPr>
            <p:nvPr/>
          </p:nvSpPr>
          <p:spPr bwMode="gray">
            <a:xfrm>
              <a:off x="8862724"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0" name="Ellipse 39">
              <a:extLst>
                <a:ext uri="{FF2B5EF4-FFF2-40B4-BE49-F238E27FC236}">
                  <a16:creationId xmlns:a16="http://schemas.microsoft.com/office/drawing/2014/main" id="{5903F27F-8A4D-AC18-75D1-42EE0C21A38E}"/>
                </a:ext>
              </a:extLst>
            </p:cNvPr>
            <p:cNvSpPr/>
            <p:nvPr/>
          </p:nvSpPr>
          <p:spPr bwMode="gray">
            <a:xfrm>
              <a:off x="8862724"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1" name="Ellipse 40">
              <a:extLst>
                <a:ext uri="{FF2B5EF4-FFF2-40B4-BE49-F238E27FC236}">
                  <a16:creationId xmlns:a16="http://schemas.microsoft.com/office/drawing/2014/main" id="{C5E50375-CBC5-3E8C-8338-64386C991955}"/>
                </a:ext>
              </a:extLst>
            </p:cNvPr>
            <p:cNvSpPr>
              <a:spLocks/>
            </p:cNvSpPr>
            <p:nvPr/>
          </p:nvSpPr>
          <p:spPr bwMode="gray">
            <a:xfrm>
              <a:off x="8731043"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2" name="Ellipse 41">
              <a:extLst>
                <a:ext uri="{FF2B5EF4-FFF2-40B4-BE49-F238E27FC236}">
                  <a16:creationId xmlns:a16="http://schemas.microsoft.com/office/drawing/2014/main" id="{1782ACDD-63F3-DEC8-CCA2-199C27A7D177}"/>
                </a:ext>
              </a:extLst>
            </p:cNvPr>
            <p:cNvSpPr>
              <a:spLocks/>
            </p:cNvSpPr>
            <p:nvPr/>
          </p:nvSpPr>
          <p:spPr bwMode="gray">
            <a:xfrm>
              <a:off x="8731043"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3" name="Ellipse 42">
              <a:extLst>
                <a:ext uri="{FF2B5EF4-FFF2-40B4-BE49-F238E27FC236}">
                  <a16:creationId xmlns:a16="http://schemas.microsoft.com/office/drawing/2014/main" id="{5E391B47-550A-5491-077A-7F198EC0B493}"/>
                </a:ext>
              </a:extLst>
            </p:cNvPr>
            <p:cNvSpPr>
              <a:spLocks/>
            </p:cNvSpPr>
            <p:nvPr/>
          </p:nvSpPr>
          <p:spPr bwMode="gray">
            <a:xfrm>
              <a:off x="8731043"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Ellipse 43">
              <a:extLst>
                <a:ext uri="{FF2B5EF4-FFF2-40B4-BE49-F238E27FC236}">
                  <a16:creationId xmlns:a16="http://schemas.microsoft.com/office/drawing/2014/main" id="{3775A3F7-39BE-9EE9-9D38-308C7A541AD3}"/>
                </a:ext>
              </a:extLst>
            </p:cNvPr>
            <p:cNvSpPr>
              <a:spLocks/>
            </p:cNvSpPr>
            <p:nvPr/>
          </p:nvSpPr>
          <p:spPr bwMode="gray">
            <a:xfrm>
              <a:off x="8731043"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Ellipse 44">
              <a:extLst>
                <a:ext uri="{FF2B5EF4-FFF2-40B4-BE49-F238E27FC236}">
                  <a16:creationId xmlns:a16="http://schemas.microsoft.com/office/drawing/2014/main" id="{15EB06C7-1185-474F-1328-0B6793EFFE85}"/>
                </a:ext>
              </a:extLst>
            </p:cNvPr>
            <p:cNvSpPr/>
            <p:nvPr/>
          </p:nvSpPr>
          <p:spPr bwMode="gray">
            <a:xfrm>
              <a:off x="8731043"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6" name="Ellipse 45">
              <a:extLst>
                <a:ext uri="{FF2B5EF4-FFF2-40B4-BE49-F238E27FC236}">
                  <a16:creationId xmlns:a16="http://schemas.microsoft.com/office/drawing/2014/main" id="{D2C70C3F-9989-4B81-0B50-84AE8F59C995}"/>
                </a:ext>
              </a:extLst>
            </p:cNvPr>
            <p:cNvSpPr>
              <a:spLocks/>
            </p:cNvSpPr>
            <p:nvPr/>
          </p:nvSpPr>
          <p:spPr bwMode="gray">
            <a:xfrm>
              <a:off x="9127660"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7" name="Ellipse 46">
              <a:extLst>
                <a:ext uri="{FF2B5EF4-FFF2-40B4-BE49-F238E27FC236}">
                  <a16:creationId xmlns:a16="http://schemas.microsoft.com/office/drawing/2014/main" id="{6B3E9D50-CF0F-6F27-C639-07DF552BF41A}"/>
                </a:ext>
              </a:extLst>
            </p:cNvPr>
            <p:cNvSpPr>
              <a:spLocks/>
            </p:cNvSpPr>
            <p:nvPr/>
          </p:nvSpPr>
          <p:spPr bwMode="gray">
            <a:xfrm>
              <a:off x="9127660"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8" name="Ellipse 47">
              <a:extLst>
                <a:ext uri="{FF2B5EF4-FFF2-40B4-BE49-F238E27FC236}">
                  <a16:creationId xmlns:a16="http://schemas.microsoft.com/office/drawing/2014/main" id="{015546AF-ED66-FB14-75D4-503CE54DC7A5}"/>
                </a:ext>
              </a:extLst>
            </p:cNvPr>
            <p:cNvSpPr>
              <a:spLocks/>
            </p:cNvSpPr>
            <p:nvPr/>
          </p:nvSpPr>
          <p:spPr bwMode="gray">
            <a:xfrm>
              <a:off x="9127660"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9" name="Ellipse 48">
              <a:extLst>
                <a:ext uri="{FF2B5EF4-FFF2-40B4-BE49-F238E27FC236}">
                  <a16:creationId xmlns:a16="http://schemas.microsoft.com/office/drawing/2014/main" id="{2B1CE7A1-CD79-48D0-1DD4-A4E38E3BA918}"/>
                </a:ext>
              </a:extLst>
            </p:cNvPr>
            <p:cNvSpPr>
              <a:spLocks/>
            </p:cNvSpPr>
            <p:nvPr/>
          </p:nvSpPr>
          <p:spPr bwMode="gray">
            <a:xfrm>
              <a:off x="9127660"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0" name="Ellipse 49">
              <a:extLst>
                <a:ext uri="{FF2B5EF4-FFF2-40B4-BE49-F238E27FC236}">
                  <a16:creationId xmlns:a16="http://schemas.microsoft.com/office/drawing/2014/main" id="{ABAA5BE5-F64F-B291-AB09-EA507584C1BD}"/>
                </a:ext>
              </a:extLst>
            </p:cNvPr>
            <p:cNvSpPr/>
            <p:nvPr/>
          </p:nvSpPr>
          <p:spPr bwMode="gray">
            <a:xfrm>
              <a:off x="9127660"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1" name="Ellipse 50">
              <a:extLst>
                <a:ext uri="{FF2B5EF4-FFF2-40B4-BE49-F238E27FC236}">
                  <a16:creationId xmlns:a16="http://schemas.microsoft.com/office/drawing/2014/main" id="{94ACDCEB-6A4F-22B3-EA3F-CDCE60C64A2A}"/>
                </a:ext>
              </a:extLst>
            </p:cNvPr>
            <p:cNvSpPr>
              <a:spLocks/>
            </p:cNvSpPr>
            <p:nvPr/>
          </p:nvSpPr>
          <p:spPr bwMode="gray">
            <a:xfrm>
              <a:off x="8995979" y="3921919"/>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2" name="Ellipse 51">
              <a:extLst>
                <a:ext uri="{FF2B5EF4-FFF2-40B4-BE49-F238E27FC236}">
                  <a16:creationId xmlns:a16="http://schemas.microsoft.com/office/drawing/2014/main" id="{F682124E-8B80-C278-5CB6-389974214B00}"/>
                </a:ext>
              </a:extLst>
            </p:cNvPr>
            <p:cNvSpPr>
              <a:spLocks/>
            </p:cNvSpPr>
            <p:nvPr/>
          </p:nvSpPr>
          <p:spPr bwMode="gray">
            <a:xfrm>
              <a:off x="8995979" y="4068337"/>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3" name="Ellipse 52">
              <a:extLst>
                <a:ext uri="{FF2B5EF4-FFF2-40B4-BE49-F238E27FC236}">
                  <a16:creationId xmlns:a16="http://schemas.microsoft.com/office/drawing/2014/main" id="{91FA693B-888A-6D55-AE77-D31B92BAA440}"/>
                </a:ext>
              </a:extLst>
            </p:cNvPr>
            <p:cNvSpPr>
              <a:spLocks/>
            </p:cNvSpPr>
            <p:nvPr/>
          </p:nvSpPr>
          <p:spPr bwMode="gray">
            <a:xfrm>
              <a:off x="8995979" y="4214756"/>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4" name="Ellipse 53">
              <a:extLst>
                <a:ext uri="{FF2B5EF4-FFF2-40B4-BE49-F238E27FC236}">
                  <a16:creationId xmlns:a16="http://schemas.microsoft.com/office/drawing/2014/main" id="{A5A8D01C-35E2-B6E8-A9B3-55CEB790943E}"/>
                </a:ext>
              </a:extLst>
            </p:cNvPr>
            <p:cNvSpPr>
              <a:spLocks/>
            </p:cNvSpPr>
            <p:nvPr/>
          </p:nvSpPr>
          <p:spPr bwMode="gray">
            <a:xfrm>
              <a:off x="8995979" y="4361175"/>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5" name="Ellipse 54">
              <a:extLst>
                <a:ext uri="{FF2B5EF4-FFF2-40B4-BE49-F238E27FC236}">
                  <a16:creationId xmlns:a16="http://schemas.microsoft.com/office/drawing/2014/main" id="{22C96319-8142-5A3E-A829-9EF3F394008C}"/>
                </a:ext>
              </a:extLst>
            </p:cNvPr>
            <p:cNvSpPr/>
            <p:nvPr/>
          </p:nvSpPr>
          <p:spPr bwMode="gray">
            <a:xfrm>
              <a:off x="8995979" y="4507593"/>
              <a:ext cx="62418" cy="624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sp>
        <p:nvSpPr>
          <p:cNvPr id="3" name="Fußzeilenplatzhalter 2">
            <a:extLst>
              <a:ext uri="{FF2B5EF4-FFF2-40B4-BE49-F238E27FC236}">
                <a16:creationId xmlns:a16="http://schemas.microsoft.com/office/drawing/2014/main" id="{708C4168-8E43-532B-F833-088C07BBF572}"/>
              </a:ext>
            </a:extLst>
          </p:cNvPr>
          <p:cNvSpPr>
            <a:spLocks noGrp="1"/>
          </p:cNvSpPr>
          <p:nvPr>
            <p:ph type="ftr" sz="quarter" idx="10"/>
          </p:nvPr>
        </p:nvSpPr>
        <p:spPr/>
        <p:txBody>
          <a:bodyPr/>
          <a:lstStyle/>
          <a:p>
            <a:pPr>
              <a:lnSpc>
                <a:spcPct val="100000"/>
              </a:lnSpc>
            </a:pPr>
            <a:r>
              <a:rPr lang="en-US"/>
              <a:t>Unrestricted | © Siemens 2025 | Raghav Tripathi</a:t>
            </a:r>
          </a:p>
        </p:txBody>
      </p:sp>
      <p:grpSp>
        <p:nvGrpSpPr>
          <p:cNvPr id="8" name="Gruppieren 7">
            <a:extLst>
              <a:ext uri="{FF2B5EF4-FFF2-40B4-BE49-F238E27FC236}">
                <a16:creationId xmlns:a16="http://schemas.microsoft.com/office/drawing/2014/main" id="{E613DDD8-564E-5A19-51E7-52D55729FA13}"/>
              </a:ext>
            </a:extLst>
          </p:cNvPr>
          <p:cNvGrpSpPr/>
          <p:nvPr/>
        </p:nvGrpSpPr>
        <p:grpSpPr>
          <a:xfrm flipH="1" flipV="1">
            <a:off x="5881688" y="1190626"/>
            <a:ext cx="2839044" cy="2839038"/>
            <a:chOff x="3301525" y="2955980"/>
            <a:chExt cx="2078987" cy="2078983"/>
          </a:xfrm>
        </p:grpSpPr>
        <p:sp>
          <p:nvSpPr>
            <p:cNvPr id="9" name="Bogen 8">
              <a:extLst>
                <a:ext uri="{FF2B5EF4-FFF2-40B4-BE49-F238E27FC236}">
                  <a16:creationId xmlns:a16="http://schemas.microsoft.com/office/drawing/2014/main" id="{B2B925B2-578C-D256-D87E-BE9C51544C2F}"/>
                </a:ext>
              </a:extLst>
            </p:cNvPr>
            <p:cNvSpPr>
              <a:spLocks/>
            </p:cNvSpPr>
            <p:nvPr/>
          </p:nvSpPr>
          <p:spPr>
            <a:xfrm>
              <a:off x="3301525" y="2955980"/>
              <a:ext cx="2078987" cy="2078983"/>
            </a:xfrm>
            <a:prstGeom prst="arc">
              <a:avLst>
                <a:gd name="adj1" fmla="val 2924959"/>
                <a:gd name="adj2" fmla="val 9275850"/>
              </a:avLst>
            </a:prstGeom>
            <a:ln w="12700" cap="rnd">
              <a:solidFill>
                <a:srgbClr val="333353"/>
              </a:solidFill>
              <a:prstDash val="solid"/>
              <a:headEnd type="oval" w="med" len="med"/>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 name="Bogen 9">
              <a:extLst>
                <a:ext uri="{FF2B5EF4-FFF2-40B4-BE49-F238E27FC236}">
                  <a16:creationId xmlns:a16="http://schemas.microsoft.com/office/drawing/2014/main" id="{BFF8A5C1-1E09-28DA-EA9C-5B6AC9A035B3}"/>
                </a:ext>
              </a:extLst>
            </p:cNvPr>
            <p:cNvSpPr>
              <a:spLocks/>
            </p:cNvSpPr>
            <p:nvPr/>
          </p:nvSpPr>
          <p:spPr>
            <a:xfrm>
              <a:off x="3664745" y="3319199"/>
              <a:ext cx="1352548" cy="1352546"/>
            </a:xfrm>
            <a:prstGeom prst="arc">
              <a:avLst>
                <a:gd name="adj1" fmla="val 4943358"/>
                <a:gd name="adj2" fmla="val 12119060"/>
              </a:avLst>
            </a:prstGeom>
            <a:ln w="19050" cap="rnd">
              <a:solidFill>
                <a:schemeClr val="accent1"/>
              </a:solidFill>
              <a:prstDash val="sysDot"/>
              <a:headEnd type="oval" w="med" len="med"/>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sp>
        <p:nvSpPr>
          <p:cNvPr id="11" name="Freihandform: Form 10">
            <a:extLst>
              <a:ext uri="{FF2B5EF4-FFF2-40B4-BE49-F238E27FC236}">
                <a16:creationId xmlns:a16="http://schemas.microsoft.com/office/drawing/2014/main" id="{D8651E28-8DE9-F42E-0ED2-6EDE755CCDD0}"/>
              </a:ext>
            </a:extLst>
          </p:cNvPr>
          <p:cNvSpPr/>
          <p:nvPr/>
        </p:nvSpPr>
        <p:spPr bwMode="gray">
          <a:xfrm>
            <a:off x="5480321" y="3052051"/>
            <a:ext cx="2309086" cy="1924236"/>
          </a:xfrm>
          <a:custGeom>
            <a:avLst/>
            <a:gdLst>
              <a:gd name="connsiteX0" fmla="*/ 68563 w 534788"/>
              <a:gd name="connsiteY0" fmla="*/ 335957 h 445657"/>
              <a:gd name="connsiteX1" fmla="*/ 233113 w 534788"/>
              <a:gd name="connsiteY1" fmla="*/ 335957 h 445657"/>
              <a:gd name="connsiteX2" fmla="*/ 233113 w 534788"/>
              <a:gd name="connsiteY2" fmla="*/ 390807 h 445657"/>
              <a:gd name="connsiteX3" fmla="*/ 95988 w 534788"/>
              <a:gd name="connsiteY3" fmla="*/ 390807 h 445657"/>
              <a:gd name="connsiteX4" fmla="*/ 41138 w 534788"/>
              <a:gd name="connsiteY4" fmla="*/ 445657 h 445657"/>
              <a:gd name="connsiteX5" fmla="*/ 41138 w 534788"/>
              <a:gd name="connsiteY5" fmla="*/ 390807 h 445657"/>
              <a:gd name="connsiteX6" fmla="*/ 0 w 534788"/>
              <a:gd name="connsiteY6" fmla="*/ 390807 h 445657"/>
              <a:gd name="connsiteX7" fmla="*/ 0 w 534788"/>
              <a:gd name="connsiteY7" fmla="*/ 226257 h 445657"/>
              <a:gd name="connsiteX8" fmla="*/ 68563 w 534788"/>
              <a:gd name="connsiteY8" fmla="*/ 226257 h 445657"/>
              <a:gd name="connsiteX9" fmla="*/ 68563 w 534788"/>
              <a:gd name="connsiteY9" fmla="*/ 335957 h 445657"/>
              <a:gd name="connsiteX10" fmla="*/ 534789 w 534788"/>
              <a:gd name="connsiteY10" fmla="*/ 0 h 445657"/>
              <a:gd name="connsiteX11" fmla="*/ 507364 w 534788"/>
              <a:gd name="connsiteY11" fmla="*/ 0 h 445657"/>
              <a:gd name="connsiteX12" fmla="*/ 507364 w 534788"/>
              <a:gd name="connsiteY12" fmla="*/ 27425 h 445657"/>
              <a:gd name="connsiteX13" fmla="*/ 534789 w 534788"/>
              <a:gd name="connsiteY13" fmla="*/ 27425 h 445657"/>
              <a:gd name="connsiteX14" fmla="*/ 534789 w 534788"/>
              <a:gd name="connsiteY14" fmla="*/ 0 h 445657"/>
              <a:gd name="connsiteX15" fmla="*/ 534789 w 534788"/>
              <a:gd name="connsiteY15" fmla="*/ 252928 h 445657"/>
              <a:gd name="connsiteX16" fmla="*/ 507364 w 534788"/>
              <a:gd name="connsiteY16" fmla="*/ 252928 h 445657"/>
              <a:gd name="connsiteX17" fmla="*/ 507364 w 534788"/>
              <a:gd name="connsiteY17" fmla="*/ 224748 h 445657"/>
              <a:gd name="connsiteX18" fmla="*/ 534789 w 534788"/>
              <a:gd name="connsiteY18" fmla="*/ 224748 h 445657"/>
              <a:gd name="connsiteX19" fmla="*/ 534789 w 534788"/>
              <a:gd name="connsiteY19" fmla="*/ 252928 h 445657"/>
              <a:gd name="connsiteX20" fmla="*/ 534789 w 534788"/>
              <a:gd name="connsiteY20" fmla="*/ 196569 h 445657"/>
              <a:gd name="connsiteX21" fmla="*/ 507364 w 534788"/>
              <a:gd name="connsiteY21" fmla="*/ 196569 h 445657"/>
              <a:gd name="connsiteX22" fmla="*/ 507364 w 534788"/>
              <a:gd name="connsiteY22" fmla="*/ 168390 h 445657"/>
              <a:gd name="connsiteX23" fmla="*/ 534789 w 534788"/>
              <a:gd name="connsiteY23" fmla="*/ 168390 h 445657"/>
              <a:gd name="connsiteX24" fmla="*/ 534789 w 534788"/>
              <a:gd name="connsiteY24" fmla="*/ 196569 h 445657"/>
              <a:gd name="connsiteX25" fmla="*/ 534789 w 534788"/>
              <a:gd name="connsiteY25" fmla="*/ 140211 h 445657"/>
              <a:gd name="connsiteX26" fmla="*/ 507364 w 534788"/>
              <a:gd name="connsiteY26" fmla="*/ 140211 h 445657"/>
              <a:gd name="connsiteX27" fmla="*/ 507364 w 534788"/>
              <a:gd name="connsiteY27" fmla="*/ 112031 h 445657"/>
              <a:gd name="connsiteX28" fmla="*/ 534789 w 534788"/>
              <a:gd name="connsiteY28" fmla="*/ 112031 h 445657"/>
              <a:gd name="connsiteX29" fmla="*/ 534789 w 534788"/>
              <a:gd name="connsiteY29" fmla="*/ 140211 h 445657"/>
              <a:gd name="connsiteX30" fmla="*/ 534789 w 534788"/>
              <a:gd name="connsiteY30" fmla="*/ 83852 h 445657"/>
              <a:gd name="connsiteX31" fmla="*/ 507364 w 534788"/>
              <a:gd name="connsiteY31" fmla="*/ 83852 h 445657"/>
              <a:gd name="connsiteX32" fmla="*/ 507364 w 534788"/>
              <a:gd name="connsiteY32" fmla="*/ 55673 h 445657"/>
              <a:gd name="connsiteX33" fmla="*/ 534789 w 534788"/>
              <a:gd name="connsiteY33" fmla="*/ 55673 h 445657"/>
              <a:gd name="connsiteX34" fmla="*/ 534789 w 534788"/>
              <a:gd name="connsiteY34" fmla="*/ 83852 h 445657"/>
              <a:gd name="connsiteX35" fmla="*/ 534789 w 534788"/>
              <a:gd name="connsiteY35" fmla="*/ 281176 h 445657"/>
              <a:gd name="connsiteX36" fmla="*/ 507364 w 534788"/>
              <a:gd name="connsiteY36" fmla="*/ 281176 h 445657"/>
              <a:gd name="connsiteX37" fmla="*/ 507364 w 534788"/>
              <a:gd name="connsiteY37" fmla="*/ 308601 h 445657"/>
              <a:gd name="connsiteX38" fmla="*/ 534789 w 534788"/>
              <a:gd name="connsiteY38" fmla="*/ 308601 h 445657"/>
              <a:gd name="connsiteX39" fmla="*/ 534789 w 534788"/>
              <a:gd name="connsiteY39" fmla="*/ 281176 h 445657"/>
              <a:gd name="connsiteX40" fmla="*/ 481790 w 534788"/>
              <a:gd name="connsiteY40" fmla="*/ 308601 h 445657"/>
              <a:gd name="connsiteX41" fmla="*/ 456216 w 534788"/>
              <a:gd name="connsiteY41" fmla="*/ 308601 h 445657"/>
              <a:gd name="connsiteX42" fmla="*/ 456216 w 534788"/>
              <a:gd name="connsiteY42" fmla="*/ 281176 h 445657"/>
              <a:gd name="connsiteX43" fmla="*/ 481790 w 534788"/>
              <a:gd name="connsiteY43" fmla="*/ 281176 h 445657"/>
              <a:gd name="connsiteX44" fmla="*/ 481790 w 534788"/>
              <a:gd name="connsiteY44" fmla="*/ 308601 h 445657"/>
              <a:gd name="connsiteX45" fmla="*/ 430574 w 534788"/>
              <a:gd name="connsiteY45" fmla="*/ 308601 h 445657"/>
              <a:gd name="connsiteX46" fmla="*/ 405000 w 534788"/>
              <a:gd name="connsiteY46" fmla="*/ 308601 h 445657"/>
              <a:gd name="connsiteX47" fmla="*/ 405000 w 534788"/>
              <a:gd name="connsiteY47" fmla="*/ 281176 h 445657"/>
              <a:gd name="connsiteX48" fmla="*/ 430574 w 534788"/>
              <a:gd name="connsiteY48" fmla="*/ 281176 h 445657"/>
              <a:gd name="connsiteX49" fmla="*/ 430574 w 534788"/>
              <a:gd name="connsiteY49" fmla="*/ 308601 h 445657"/>
              <a:gd name="connsiteX50" fmla="*/ 379357 w 534788"/>
              <a:gd name="connsiteY50" fmla="*/ 308601 h 445657"/>
              <a:gd name="connsiteX51" fmla="*/ 353783 w 534788"/>
              <a:gd name="connsiteY51" fmla="*/ 308601 h 445657"/>
              <a:gd name="connsiteX52" fmla="*/ 353783 w 534788"/>
              <a:gd name="connsiteY52" fmla="*/ 281176 h 445657"/>
              <a:gd name="connsiteX53" fmla="*/ 379357 w 534788"/>
              <a:gd name="connsiteY53" fmla="*/ 281176 h 445657"/>
              <a:gd name="connsiteX54" fmla="*/ 379357 w 534788"/>
              <a:gd name="connsiteY54" fmla="*/ 308601 h 445657"/>
              <a:gd name="connsiteX55" fmla="*/ 328141 w 534788"/>
              <a:gd name="connsiteY55" fmla="*/ 308601 h 445657"/>
              <a:gd name="connsiteX56" fmla="*/ 302567 w 534788"/>
              <a:gd name="connsiteY56" fmla="*/ 308601 h 445657"/>
              <a:gd name="connsiteX57" fmla="*/ 302567 w 534788"/>
              <a:gd name="connsiteY57" fmla="*/ 281176 h 445657"/>
              <a:gd name="connsiteX58" fmla="*/ 328141 w 534788"/>
              <a:gd name="connsiteY58" fmla="*/ 281176 h 445657"/>
              <a:gd name="connsiteX59" fmla="*/ 328141 w 534788"/>
              <a:gd name="connsiteY59" fmla="*/ 308601 h 445657"/>
              <a:gd name="connsiteX60" fmla="*/ 276925 w 534788"/>
              <a:gd name="connsiteY60" fmla="*/ 308601 h 445657"/>
              <a:gd name="connsiteX61" fmla="*/ 251351 w 534788"/>
              <a:gd name="connsiteY61" fmla="*/ 308601 h 445657"/>
              <a:gd name="connsiteX62" fmla="*/ 251351 w 534788"/>
              <a:gd name="connsiteY62" fmla="*/ 281176 h 445657"/>
              <a:gd name="connsiteX63" fmla="*/ 276925 w 534788"/>
              <a:gd name="connsiteY63" fmla="*/ 281176 h 445657"/>
              <a:gd name="connsiteX64" fmla="*/ 276925 w 534788"/>
              <a:gd name="connsiteY64" fmla="*/ 308601 h 445657"/>
              <a:gd name="connsiteX65" fmla="*/ 225708 w 534788"/>
              <a:gd name="connsiteY65" fmla="*/ 308601 h 445657"/>
              <a:gd name="connsiteX66" fmla="*/ 200134 w 534788"/>
              <a:gd name="connsiteY66" fmla="*/ 308601 h 445657"/>
              <a:gd name="connsiteX67" fmla="*/ 200134 w 534788"/>
              <a:gd name="connsiteY67" fmla="*/ 281176 h 445657"/>
              <a:gd name="connsiteX68" fmla="*/ 225708 w 534788"/>
              <a:gd name="connsiteY68" fmla="*/ 281176 h 445657"/>
              <a:gd name="connsiteX69" fmla="*/ 225708 w 534788"/>
              <a:gd name="connsiteY69" fmla="*/ 308601 h 445657"/>
              <a:gd name="connsiteX70" fmla="*/ 174492 w 534788"/>
              <a:gd name="connsiteY70" fmla="*/ 308601 h 445657"/>
              <a:gd name="connsiteX71" fmla="*/ 148918 w 534788"/>
              <a:gd name="connsiteY71" fmla="*/ 308601 h 445657"/>
              <a:gd name="connsiteX72" fmla="*/ 148918 w 534788"/>
              <a:gd name="connsiteY72" fmla="*/ 281176 h 445657"/>
              <a:gd name="connsiteX73" fmla="*/ 174492 w 534788"/>
              <a:gd name="connsiteY73" fmla="*/ 281176 h 445657"/>
              <a:gd name="connsiteX74" fmla="*/ 174492 w 534788"/>
              <a:gd name="connsiteY74" fmla="*/ 308601 h 445657"/>
              <a:gd name="connsiteX75" fmla="*/ 123276 w 534788"/>
              <a:gd name="connsiteY75" fmla="*/ 281176 h 445657"/>
              <a:gd name="connsiteX76" fmla="*/ 95851 w 534788"/>
              <a:gd name="connsiteY76" fmla="*/ 281176 h 445657"/>
              <a:gd name="connsiteX77" fmla="*/ 95851 w 534788"/>
              <a:gd name="connsiteY77" fmla="*/ 308601 h 445657"/>
              <a:gd name="connsiteX78" fmla="*/ 123276 w 534788"/>
              <a:gd name="connsiteY78" fmla="*/ 308601 h 445657"/>
              <a:gd name="connsiteX79" fmla="*/ 123276 w 534788"/>
              <a:gd name="connsiteY79" fmla="*/ 281176 h 445657"/>
              <a:gd name="connsiteX80" fmla="*/ 123276 w 534788"/>
              <a:gd name="connsiteY80" fmla="*/ 252996 h 445657"/>
              <a:gd name="connsiteX81" fmla="*/ 95851 w 534788"/>
              <a:gd name="connsiteY81" fmla="*/ 252996 h 445657"/>
              <a:gd name="connsiteX82" fmla="*/ 95851 w 534788"/>
              <a:gd name="connsiteY82" fmla="*/ 224817 h 445657"/>
              <a:gd name="connsiteX83" fmla="*/ 123276 w 534788"/>
              <a:gd name="connsiteY83" fmla="*/ 224817 h 445657"/>
              <a:gd name="connsiteX84" fmla="*/ 123276 w 534788"/>
              <a:gd name="connsiteY84" fmla="*/ 252996 h 445657"/>
              <a:gd name="connsiteX85" fmla="*/ 123276 w 534788"/>
              <a:gd name="connsiteY85" fmla="*/ 196638 h 445657"/>
              <a:gd name="connsiteX86" fmla="*/ 95851 w 534788"/>
              <a:gd name="connsiteY86" fmla="*/ 196638 h 445657"/>
              <a:gd name="connsiteX87" fmla="*/ 95851 w 534788"/>
              <a:gd name="connsiteY87" fmla="*/ 168458 h 445657"/>
              <a:gd name="connsiteX88" fmla="*/ 123276 w 534788"/>
              <a:gd name="connsiteY88" fmla="*/ 168458 h 445657"/>
              <a:gd name="connsiteX89" fmla="*/ 123276 w 534788"/>
              <a:gd name="connsiteY89" fmla="*/ 196638 h 445657"/>
              <a:gd name="connsiteX90" fmla="*/ 123276 w 534788"/>
              <a:gd name="connsiteY90" fmla="*/ 140279 h 445657"/>
              <a:gd name="connsiteX91" fmla="*/ 95851 w 534788"/>
              <a:gd name="connsiteY91" fmla="*/ 140279 h 445657"/>
              <a:gd name="connsiteX92" fmla="*/ 95851 w 534788"/>
              <a:gd name="connsiteY92" fmla="*/ 112100 h 445657"/>
              <a:gd name="connsiteX93" fmla="*/ 123276 w 534788"/>
              <a:gd name="connsiteY93" fmla="*/ 112100 h 445657"/>
              <a:gd name="connsiteX94" fmla="*/ 123276 w 534788"/>
              <a:gd name="connsiteY94" fmla="*/ 140279 h 445657"/>
              <a:gd name="connsiteX95" fmla="*/ 123276 w 534788"/>
              <a:gd name="connsiteY95" fmla="*/ 83921 h 445657"/>
              <a:gd name="connsiteX96" fmla="*/ 95851 w 534788"/>
              <a:gd name="connsiteY96" fmla="*/ 83921 h 445657"/>
              <a:gd name="connsiteX97" fmla="*/ 95851 w 534788"/>
              <a:gd name="connsiteY97" fmla="*/ 55741 h 445657"/>
              <a:gd name="connsiteX98" fmla="*/ 123276 w 534788"/>
              <a:gd name="connsiteY98" fmla="*/ 55741 h 445657"/>
              <a:gd name="connsiteX99" fmla="*/ 123276 w 534788"/>
              <a:gd name="connsiteY99" fmla="*/ 83921 h 445657"/>
              <a:gd name="connsiteX100" fmla="*/ 123276 w 534788"/>
              <a:gd name="connsiteY100" fmla="*/ 137 h 445657"/>
              <a:gd name="connsiteX101" fmla="*/ 95851 w 534788"/>
              <a:gd name="connsiteY101" fmla="*/ 137 h 445657"/>
              <a:gd name="connsiteX102" fmla="*/ 95851 w 534788"/>
              <a:gd name="connsiteY102" fmla="*/ 27562 h 445657"/>
              <a:gd name="connsiteX103" fmla="*/ 123276 w 534788"/>
              <a:gd name="connsiteY103" fmla="*/ 27562 h 445657"/>
              <a:gd name="connsiteX104" fmla="*/ 123276 w 534788"/>
              <a:gd name="connsiteY104" fmla="*/ 137 h 445657"/>
              <a:gd name="connsiteX105" fmla="*/ 481653 w 534788"/>
              <a:gd name="connsiteY105" fmla="*/ 27562 h 445657"/>
              <a:gd name="connsiteX106" fmla="*/ 456079 w 534788"/>
              <a:gd name="connsiteY106" fmla="*/ 27562 h 445657"/>
              <a:gd name="connsiteX107" fmla="*/ 456079 w 534788"/>
              <a:gd name="connsiteY107" fmla="*/ 137 h 445657"/>
              <a:gd name="connsiteX108" fmla="*/ 481653 w 534788"/>
              <a:gd name="connsiteY108" fmla="*/ 137 h 445657"/>
              <a:gd name="connsiteX109" fmla="*/ 481653 w 534788"/>
              <a:gd name="connsiteY109" fmla="*/ 27562 h 445657"/>
              <a:gd name="connsiteX110" fmla="*/ 430436 w 534788"/>
              <a:gd name="connsiteY110" fmla="*/ 27562 h 445657"/>
              <a:gd name="connsiteX111" fmla="*/ 404863 w 534788"/>
              <a:gd name="connsiteY111" fmla="*/ 27562 h 445657"/>
              <a:gd name="connsiteX112" fmla="*/ 404863 w 534788"/>
              <a:gd name="connsiteY112" fmla="*/ 137 h 445657"/>
              <a:gd name="connsiteX113" fmla="*/ 430436 w 534788"/>
              <a:gd name="connsiteY113" fmla="*/ 137 h 445657"/>
              <a:gd name="connsiteX114" fmla="*/ 430436 w 534788"/>
              <a:gd name="connsiteY114" fmla="*/ 27562 h 445657"/>
              <a:gd name="connsiteX115" fmla="*/ 379220 w 534788"/>
              <a:gd name="connsiteY115" fmla="*/ 27562 h 445657"/>
              <a:gd name="connsiteX116" fmla="*/ 353646 w 534788"/>
              <a:gd name="connsiteY116" fmla="*/ 27562 h 445657"/>
              <a:gd name="connsiteX117" fmla="*/ 353646 w 534788"/>
              <a:gd name="connsiteY117" fmla="*/ 137 h 445657"/>
              <a:gd name="connsiteX118" fmla="*/ 379220 w 534788"/>
              <a:gd name="connsiteY118" fmla="*/ 137 h 445657"/>
              <a:gd name="connsiteX119" fmla="*/ 379220 w 534788"/>
              <a:gd name="connsiteY119" fmla="*/ 27562 h 445657"/>
              <a:gd name="connsiteX120" fmla="*/ 328004 w 534788"/>
              <a:gd name="connsiteY120" fmla="*/ 27562 h 445657"/>
              <a:gd name="connsiteX121" fmla="*/ 302430 w 534788"/>
              <a:gd name="connsiteY121" fmla="*/ 27562 h 445657"/>
              <a:gd name="connsiteX122" fmla="*/ 302430 w 534788"/>
              <a:gd name="connsiteY122" fmla="*/ 137 h 445657"/>
              <a:gd name="connsiteX123" fmla="*/ 328004 w 534788"/>
              <a:gd name="connsiteY123" fmla="*/ 137 h 445657"/>
              <a:gd name="connsiteX124" fmla="*/ 328004 w 534788"/>
              <a:gd name="connsiteY124" fmla="*/ 27562 h 445657"/>
              <a:gd name="connsiteX125" fmla="*/ 276788 w 534788"/>
              <a:gd name="connsiteY125" fmla="*/ 27562 h 445657"/>
              <a:gd name="connsiteX126" fmla="*/ 251214 w 534788"/>
              <a:gd name="connsiteY126" fmla="*/ 27562 h 445657"/>
              <a:gd name="connsiteX127" fmla="*/ 251214 w 534788"/>
              <a:gd name="connsiteY127" fmla="*/ 137 h 445657"/>
              <a:gd name="connsiteX128" fmla="*/ 276788 w 534788"/>
              <a:gd name="connsiteY128" fmla="*/ 137 h 445657"/>
              <a:gd name="connsiteX129" fmla="*/ 276788 w 534788"/>
              <a:gd name="connsiteY129" fmla="*/ 27562 h 445657"/>
              <a:gd name="connsiteX130" fmla="*/ 225571 w 534788"/>
              <a:gd name="connsiteY130" fmla="*/ 27562 h 445657"/>
              <a:gd name="connsiteX131" fmla="*/ 199997 w 534788"/>
              <a:gd name="connsiteY131" fmla="*/ 27562 h 445657"/>
              <a:gd name="connsiteX132" fmla="*/ 199997 w 534788"/>
              <a:gd name="connsiteY132" fmla="*/ 137 h 445657"/>
              <a:gd name="connsiteX133" fmla="*/ 225571 w 534788"/>
              <a:gd name="connsiteY133" fmla="*/ 137 h 445657"/>
              <a:gd name="connsiteX134" fmla="*/ 225571 w 534788"/>
              <a:gd name="connsiteY134" fmla="*/ 27562 h 445657"/>
              <a:gd name="connsiteX135" fmla="*/ 174355 w 534788"/>
              <a:gd name="connsiteY135" fmla="*/ 27562 h 445657"/>
              <a:gd name="connsiteX136" fmla="*/ 148781 w 534788"/>
              <a:gd name="connsiteY136" fmla="*/ 27562 h 445657"/>
              <a:gd name="connsiteX137" fmla="*/ 148781 w 534788"/>
              <a:gd name="connsiteY137" fmla="*/ 137 h 445657"/>
              <a:gd name="connsiteX138" fmla="*/ 174355 w 534788"/>
              <a:gd name="connsiteY138" fmla="*/ 137 h 445657"/>
              <a:gd name="connsiteX139" fmla="*/ 174355 w 534788"/>
              <a:gd name="connsiteY139" fmla="*/ 27562 h 44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534788" h="445657">
                <a:moveTo>
                  <a:pt x="68563" y="335957"/>
                </a:moveTo>
                <a:lnTo>
                  <a:pt x="233113" y="335957"/>
                </a:lnTo>
                <a:lnTo>
                  <a:pt x="233113" y="390807"/>
                </a:lnTo>
                <a:lnTo>
                  <a:pt x="95988" y="390807"/>
                </a:lnTo>
                <a:lnTo>
                  <a:pt x="41138" y="445657"/>
                </a:lnTo>
                <a:lnTo>
                  <a:pt x="41138" y="390807"/>
                </a:lnTo>
                <a:lnTo>
                  <a:pt x="0" y="390807"/>
                </a:lnTo>
                <a:lnTo>
                  <a:pt x="0" y="226257"/>
                </a:lnTo>
                <a:lnTo>
                  <a:pt x="68563" y="226257"/>
                </a:lnTo>
                <a:lnTo>
                  <a:pt x="68563" y="335957"/>
                </a:lnTo>
                <a:close/>
                <a:moveTo>
                  <a:pt x="534789" y="0"/>
                </a:moveTo>
                <a:lnTo>
                  <a:pt x="507364" y="0"/>
                </a:lnTo>
                <a:lnTo>
                  <a:pt x="507364" y="27425"/>
                </a:lnTo>
                <a:lnTo>
                  <a:pt x="534789" y="27425"/>
                </a:lnTo>
                <a:lnTo>
                  <a:pt x="534789" y="0"/>
                </a:lnTo>
                <a:close/>
                <a:moveTo>
                  <a:pt x="534789" y="252928"/>
                </a:moveTo>
                <a:lnTo>
                  <a:pt x="507364" y="252928"/>
                </a:lnTo>
                <a:lnTo>
                  <a:pt x="507364" y="224748"/>
                </a:lnTo>
                <a:lnTo>
                  <a:pt x="534789" y="224748"/>
                </a:lnTo>
                <a:lnTo>
                  <a:pt x="534789" y="252928"/>
                </a:lnTo>
                <a:close/>
                <a:moveTo>
                  <a:pt x="534789" y="196569"/>
                </a:moveTo>
                <a:lnTo>
                  <a:pt x="507364" y="196569"/>
                </a:lnTo>
                <a:lnTo>
                  <a:pt x="507364" y="168390"/>
                </a:lnTo>
                <a:lnTo>
                  <a:pt x="534789" y="168390"/>
                </a:lnTo>
                <a:lnTo>
                  <a:pt x="534789" y="196569"/>
                </a:lnTo>
                <a:close/>
                <a:moveTo>
                  <a:pt x="534789" y="140211"/>
                </a:moveTo>
                <a:lnTo>
                  <a:pt x="507364" y="140211"/>
                </a:lnTo>
                <a:lnTo>
                  <a:pt x="507364" y="112031"/>
                </a:lnTo>
                <a:lnTo>
                  <a:pt x="534789" y="112031"/>
                </a:lnTo>
                <a:lnTo>
                  <a:pt x="534789" y="140211"/>
                </a:lnTo>
                <a:close/>
                <a:moveTo>
                  <a:pt x="534789" y="83852"/>
                </a:moveTo>
                <a:lnTo>
                  <a:pt x="507364" y="83852"/>
                </a:lnTo>
                <a:lnTo>
                  <a:pt x="507364" y="55673"/>
                </a:lnTo>
                <a:lnTo>
                  <a:pt x="534789" y="55673"/>
                </a:lnTo>
                <a:lnTo>
                  <a:pt x="534789" y="83852"/>
                </a:lnTo>
                <a:close/>
                <a:moveTo>
                  <a:pt x="534789" y="281176"/>
                </a:moveTo>
                <a:lnTo>
                  <a:pt x="507364" y="281176"/>
                </a:lnTo>
                <a:lnTo>
                  <a:pt x="507364" y="308601"/>
                </a:lnTo>
                <a:lnTo>
                  <a:pt x="534789" y="308601"/>
                </a:lnTo>
                <a:lnTo>
                  <a:pt x="534789" y="281176"/>
                </a:lnTo>
                <a:close/>
                <a:moveTo>
                  <a:pt x="481790" y="308601"/>
                </a:moveTo>
                <a:lnTo>
                  <a:pt x="456216" y="308601"/>
                </a:lnTo>
                <a:lnTo>
                  <a:pt x="456216" y="281176"/>
                </a:lnTo>
                <a:lnTo>
                  <a:pt x="481790" y="281176"/>
                </a:lnTo>
                <a:lnTo>
                  <a:pt x="481790" y="308601"/>
                </a:lnTo>
                <a:close/>
                <a:moveTo>
                  <a:pt x="430574" y="308601"/>
                </a:moveTo>
                <a:lnTo>
                  <a:pt x="405000" y="308601"/>
                </a:lnTo>
                <a:lnTo>
                  <a:pt x="405000" y="281176"/>
                </a:lnTo>
                <a:lnTo>
                  <a:pt x="430574" y="281176"/>
                </a:lnTo>
                <a:lnTo>
                  <a:pt x="430574" y="308601"/>
                </a:lnTo>
                <a:close/>
                <a:moveTo>
                  <a:pt x="379357" y="308601"/>
                </a:moveTo>
                <a:lnTo>
                  <a:pt x="353783" y="308601"/>
                </a:lnTo>
                <a:lnTo>
                  <a:pt x="353783" y="281176"/>
                </a:lnTo>
                <a:lnTo>
                  <a:pt x="379357" y="281176"/>
                </a:lnTo>
                <a:lnTo>
                  <a:pt x="379357" y="308601"/>
                </a:lnTo>
                <a:close/>
                <a:moveTo>
                  <a:pt x="328141" y="308601"/>
                </a:moveTo>
                <a:lnTo>
                  <a:pt x="302567" y="308601"/>
                </a:lnTo>
                <a:lnTo>
                  <a:pt x="302567" y="281176"/>
                </a:lnTo>
                <a:lnTo>
                  <a:pt x="328141" y="281176"/>
                </a:lnTo>
                <a:lnTo>
                  <a:pt x="328141" y="308601"/>
                </a:lnTo>
                <a:close/>
                <a:moveTo>
                  <a:pt x="276925" y="308601"/>
                </a:moveTo>
                <a:lnTo>
                  <a:pt x="251351" y="308601"/>
                </a:lnTo>
                <a:lnTo>
                  <a:pt x="251351" y="281176"/>
                </a:lnTo>
                <a:lnTo>
                  <a:pt x="276925" y="281176"/>
                </a:lnTo>
                <a:lnTo>
                  <a:pt x="276925" y="308601"/>
                </a:lnTo>
                <a:close/>
                <a:moveTo>
                  <a:pt x="225708" y="308601"/>
                </a:moveTo>
                <a:lnTo>
                  <a:pt x="200134" y="308601"/>
                </a:lnTo>
                <a:lnTo>
                  <a:pt x="200134" y="281176"/>
                </a:lnTo>
                <a:lnTo>
                  <a:pt x="225708" y="281176"/>
                </a:lnTo>
                <a:lnTo>
                  <a:pt x="225708" y="308601"/>
                </a:lnTo>
                <a:close/>
                <a:moveTo>
                  <a:pt x="174492" y="308601"/>
                </a:moveTo>
                <a:lnTo>
                  <a:pt x="148918" y="308601"/>
                </a:lnTo>
                <a:lnTo>
                  <a:pt x="148918" y="281176"/>
                </a:lnTo>
                <a:lnTo>
                  <a:pt x="174492" y="281176"/>
                </a:lnTo>
                <a:lnTo>
                  <a:pt x="174492" y="308601"/>
                </a:lnTo>
                <a:close/>
                <a:moveTo>
                  <a:pt x="123276" y="281176"/>
                </a:moveTo>
                <a:lnTo>
                  <a:pt x="95851" y="281176"/>
                </a:lnTo>
                <a:lnTo>
                  <a:pt x="95851" y="308601"/>
                </a:lnTo>
                <a:lnTo>
                  <a:pt x="123276" y="308601"/>
                </a:lnTo>
                <a:lnTo>
                  <a:pt x="123276" y="281176"/>
                </a:lnTo>
                <a:close/>
                <a:moveTo>
                  <a:pt x="123276" y="252996"/>
                </a:moveTo>
                <a:lnTo>
                  <a:pt x="95851" y="252996"/>
                </a:lnTo>
                <a:lnTo>
                  <a:pt x="95851" y="224817"/>
                </a:lnTo>
                <a:lnTo>
                  <a:pt x="123276" y="224817"/>
                </a:lnTo>
                <a:lnTo>
                  <a:pt x="123276" y="252996"/>
                </a:lnTo>
                <a:close/>
                <a:moveTo>
                  <a:pt x="123276" y="196638"/>
                </a:moveTo>
                <a:lnTo>
                  <a:pt x="95851" y="196638"/>
                </a:lnTo>
                <a:lnTo>
                  <a:pt x="95851" y="168458"/>
                </a:lnTo>
                <a:lnTo>
                  <a:pt x="123276" y="168458"/>
                </a:lnTo>
                <a:lnTo>
                  <a:pt x="123276" y="196638"/>
                </a:lnTo>
                <a:close/>
                <a:moveTo>
                  <a:pt x="123276" y="140279"/>
                </a:moveTo>
                <a:lnTo>
                  <a:pt x="95851" y="140279"/>
                </a:lnTo>
                <a:lnTo>
                  <a:pt x="95851" y="112100"/>
                </a:lnTo>
                <a:lnTo>
                  <a:pt x="123276" y="112100"/>
                </a:lnTo>
                <a:lnTo>
                  <a:pt x="123276" y="140279"/>
                </a:lnTo>
                <a:close/>
                <a:moveTo>
                  <a:pt x="123276" y="83921"/>
                </a:moveTo>
                <a:lnTo>
                  <a:pt x="95851" y="83921"/>
                </a:lnTo>
                <a:lnTo>
                  <a:pt x="95851" y="55741"/>
                </a:lnTo>
                <a:lnTo>
                  <a:pt x="123276" y="55741"/>
                </a:lnTo>
                <a:lnTo>
                  <a:pt x="123276" y="83921"/>
                </a:lnTo>
                <a:close/>
                <a:moveTo>
                  <a:pt x="123276" y="137"/>
                </a:moveTo>
                <a:lnTo>
                  <a:pt x="95851" y="137"/>
                </a:lnTo>
                <a:lnTo>
                  <a:pt x="95851" y="27562"/>
                </a:lnTo>
                <a:lnTo>
                  <a:pt x="123276" y="27562"/>
                </a:lnTo>
                <a:lnTo>
                  <a:pt x="123276" y="137"/>
                </a:lnTo>
                <a:close/>
                <a:moveTo>
                  <a:pt x="481653" y="27562"/>
                </a:moveTo>
                <a:lnTo>
                  <a:pt x="456079" y="27562"/>
                </a:lnTo>
                <a:lnTo>
                  <a:pt x="456079" y="137"/>
                </a:lnTo>
                <a:lnTo>
                  <a:pt x="481653" y="137"/>
                </a:lnTo>
                <a:lnTo>
                  <a:pt x="481653" y="27562"/>
                </a:lnTo>
                <a:close/>
                <a:moveTo>
                  <a:pt x="430436" y="27562"/>
                </a:moveTo>
                <a:lnTo>
                  <a:pt x="404863" y="27562"/>
                </a:lnTo>
                <a:lnTo>
                  <a:pt x="404863" y="137"/>
                </a:lnTo>
                <a:lnTo>
                  <a:pt x="430436" y="137"/>
                </a:lnTo>
                <a:lnTo>
                  <a:pt x="430436" y="27562"/>
                </a:lnTo>
                <a:close/>
                <a:moveTo>
                  <a:pt x="379220" y="27562"/>
                </a:moveTo>
                <a:lnTo>
                  <a:pt x="353646" y="27562"/>
                </a:lnTo>
                <a:lnTo>
                  <a:pt x="353646" y="137"/>
                </a:lnTo>
                <a:lnTo>
                  <a:pt x="379220" y="137"/>
                </a:lnTo>
                <a:lnTo>
                  <a:pt x="379220" y="27562"/>
                </a:lnTo>
                <a:close/>
                <a:moveTo>
                  <a:pt x="328004" y="27562"/>
                </a:moveTo>
                <a:lnTo>
                  <a:pt x="302430" y="27562"/>
                </a:lnTo>
                <a:lnTo>
                  <a:pt x="302430" y="137"/>
                </a:lnTo>
                <a:lnTo>
                  <a:pt x="328004" y="137"/>
                </a:lnTo>
                <a:lnTo>
                  <a:pt x="328004" y="27562"/>
                </a:lnTo>
                <a:close/>
                <a:moveTo>
                  <a:pt x="276788" y="27562"/>
                </a:moveTo>
                <a:lnTo>
                  <a:pt x="251214" y="27562"/>
                </a:lnTo>
                <a:lnTo>
                  <a:pt x="251214" y="137"/>
                </a:lnTo>
                <a:lnTo>
                  <a:pt x="276788" y="137"/>
                </a:lnTo>
                <a:lnTo>
                  <a:pt x="276788" y="27562"/>
                </a:lnTo>
                <a:close/>
                <a:moveTo>
                  <a:pt x="225571" y="27562"/>
                </a:moveTo>
                <a:lnTo>
                  <a:pt x="199997" y="27562"/>
                </a:lnTo>
                <a:lnTo>
                  <a:pt x="199997" y="137"/>
                </a:lnTo>
                <a:lnTo>
                  <a:pt x="225571" y="137"/>
                </a:lnTo>
                <a:lnTo>
                  <a:pt x="225571" y="27562"/>
                </a:lnTo>
                <a:close/>
                <a:moveTo>
                  <a:pt x="174355" y="27562"/>
                </a:moveTo>
                <a:lnTo>
                  <a:pt x="148781" y="27562"/>
                </a:lnTo>
                <a:lnTo>
                  <a:pt x="148781" y="137"/>
                </a:lnTo>
                <a:lnTo>
                  <a:pt x="174355" y="137"/>
                </a:lnTo>
                <a:lnTo>
                  <a:pt x="174355" y="27562"/>
                </a:lnTo>
                <a:close/>
              </a:path>
            </a:pathLst>
          </a:custGeom>
          <a:solidFill>
            <a:srgbClr val="00C1B6"/>
          </a:solidFill>
          <a:ln w="679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ihandform: Form 11">
            <a:extLst>
              <a:ext uri="{FF2B5EF4-FFF2-40B4-BE49-F238E27FC236}">
                <a16:creationId xmlns:a16="http://schemas.microsoft.com/office/drawing/2014/main" id="{3A2D6F50-1397-DEDB-1E5A-6AFF6605F190}"/>
              </a:ext>
            </a:extLst>
          </p:cNvPr>
          <p:cNvSpPr/>
          <p:nvPr/>
        </p:nvSpPr>
        <p:spPr bwMode="gray">
          <a:xfrm>
            <a:off x="6614356" y="2108743"/>
            <a:ext cx="1166899" cy="1907536"/>
          </a:xfrm>
          <a:custGeom>
            <a:avLst/>
            <a:gdLst>
              <a:gd name="connsiteX0" fmla="*/ 57935 w 233113"/>
              <a:gd name="connsiteY0" fmla="*/ 252311 h 381071"/>
              <a:gd name="connsiteX1" fmla="*/ 57935 w 233113"/>
              <a:gd name="connsiteY1" fmla="*/ 229411 h 381071"/>
              <a:gd name="connsiteX2" fmla="*/ 101610 w 233113"/>
              <a:gd name="connsiteY2" fmla="*/ 150084 h 381071"/>
              <a:gd name="connsiteX3" fmla="*/ 147410 w 233113"/>
              <a:gd name="connsiteY3" fmla="*/ 97428 h 381071"/>
              <a:gd name="connsiteX4" fmla="*/ 103255 w 233113"/>
              <a:gd name="connsiteY4" fmla="*/ 61226 h 381071"/>
              <a:gd name="connsiteX5" fmla="*/ 22900 w 233113"/>
              <a:gd name="connsiteY5" fmla="*/ 87829 h 381071"/>
              <a:gd name="connsiteX6" fmla="*/ 0 w 233113"/>
              <a:gd name="connsiteY6" fmla="*/ 29825 h 381071"/>
              <a:gd name="connsiteX7" fmla="*/ 115460 w 233113"/>
              <a:gd name="connsiteY7" fmla="*/ 0 h 381071"/>
              <a:gd name="connsiteX8" fmla="*/ 233113 w 233113"/>
              <a:gd name="connsiteY8" fmla="*/ 93657 h 381071"/>
              <a:gd name="connsiteX9" fmla="*/ 172435 w 233113"/>
              <a:gd name="connsiteY9" fmla="*/ 182034 h 381071"/>
              <a:gd name="connsiteX10" fmla="*/ 134657 w 233113"/>
              <a:gd name="connsiteY10" fmla="*/ 241615 h 381071"/>
              <a:gd name="connsiteX11" fmla="*/ 134657 w 233113"/>
              <a:gd name="connsiteY11" fmla="*/ 252242 h 381071"/>
              <a:gd name="connsiteX12" fmla="*/ 58004 w 233113"/>
              <a:gd name="connsiteY12" fmla="*/ 252242 h 381071"/>
              <a:gd name="connsiteX13" fmla="*/ 145764 w 233113"/>
              <a:gd name="connsiteY13" fmla="*/ 332118 h 381071"/>
              <a:gd name="connsiteX14" fmla="*/ 96810 w 233113"/>
              <a:gd name="connsiteY14" fmla="*/ 381071 h 381071"/>
              <a:gd name="connsiteX15" fmla="*/ 47308 w 233113"/>
              <a:gd name="connsiteY15" fmla="*/ 331021 h 381071"/>
              <a:gd name="connsiteX16" fmla="*/ 96810 w 233113"/>
              <a:gd name="connsiteY16" fmla="*/ 282615 h 381071"/>
              <a:gd name="connsiteX17" fmla="*/ 145764 w 233113"/>
              <a:gd name="connsiteY17" fmla="*/ 332118 h 38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113" h="381071">
                <a:moveTo>
                  <a:pt x="57935" y="252311"/>
                </a:moveTo>
                <a:lnTo>
                  <a:pt x="57935" y="229411"/>
                </a:lnTo>
                <a:cubicBezTo>
                  <a:pt x="57935" y="183611"/>
                  <a:pt x="60609" y="178880"/>
                  <a:pt x="101610" y="150084"/>
                </a:cubicBezTo>
                <a:cubicBezTo>
                  <a:pt x="139936" y="123481"/>
                  <a:pt x="147410" y="114980"/>
                  <a:pt x="147410" y="97428"/>
                </a:cubicBezTo>
                <a:cubicBezTo>
                  <a:pt x="147410" y="75076"/>
                  <a:pt x="130406" y="61226"/>
                  <a:pt x="103255" y="61226"/>
                </a:cubicBezTo>
                <a:cubicBezTo>
                  <a:pt x="81452" y="61226"/>
                  <a:pt x="54850" y="70277"/>
                  <a:pt x="22900" y="87829"/>
                </a:cubicBezTo>
                <a:lnTo>
                  <a:pt x="0" y="29825"/>
                </a:lnTo>
                <a:cubicBezTo>
                  <a:pt x="41000" y="9050"/>
                  <a:pt x="75076" y="0"/>
                  <a:pt x="115460" y="0"/>
                </a:cubicBezTo>
                <a:cubicBezTo>
                  <a:pt x="189439" y="0"/>
                  <a:pt x="233113" y="35104"/>
                  <a:pt x="233113" y="93657"/>
                </a:cubicBezTo>
                <a:cubicBezTo>
                  <a:pt x="233113" y="129858"/>
                  <a:pt x="217687" y="152209"/>
                  <a:pt x="172435" y="182034"/>
                </a:cubicBezTo>
                <a:cubicBezTo>
                  <a:pt x="137811" y="204934"/>
                  <a:pt x="134657" y="210213"/>
                  <a:pt x="134657" y="241615"/>
                </a:cubicBezTo>
                <a:lnTo>
                  <a:pt x="134657" y="252242"/>
                </a:lnTo>
                <a:lnTo>
                  <a:pt x="58004" y="252242"/>
                </a:lnTo>
                <a:close/>
                <a:moveTo>
                  <a:pt x="145764" y="332118"/>
                </a:moveTo>
                <a:cubicBezTo>
                  <a:pt x="145764" y="360297"/>
                  <a:pt x="124990" y="381071"/>
                  <a:pt x="96810" y="381071"/>
                </a:cubicBezTo>
                <a:cubicBezTo>
                  <a:pt x="68631" y="381071"/>
                  <a:pt x="47308" y="360297"/>
                  <a:pt x="47308" y="331021"/>
                </a:cubicBezTo>
                <a:cubicBezTo>
                  <a:pt x="47308" y="303321"/>
                  <a:pt x="68631" y="282615"/>
                  <a:pt x="96810" y="282615"/>
                </a:cubicBezTo>
                <a:cubicBezTo>
                  <a:pt x="124990" y="282615"/>
                  <a:pt x="145764" y="303390"/>
                  <a:pt x="145764" y="332118"/>
                </a:cubicBezTo>
                <a:close/>
              </a:path>
            </a:pathLst>
          </a:custGeom>
          <a:solidFill>
            <a:srgbClr val="00FFB9"/>
          </a:solidFill>
          <a:ln w="679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ihandform: Form 12">
            <a:extLst>
              <a:ext uri="{FF2B5EF4-FFF2-40B4-BE49-F238E27FC236}">
                <a16:creationId xmlns:a16="http://schemas.microsoft.com/office/drawing/2014/main" id="{A75BE0C6-4502-A77B-9030-C251A188BA72}"/>
              </a:ext>
            </a:extLst>
          </p:cNvPr>
          <p:cNvSpPr/>
          <p:nvPr/>
        </p:nvSpPr>
        <p:spPr bwMode="gray">
          <a:xfrm>
            <a:off x="5004629" y="2869481"/>
            <a:ext cx="481101" cy="786459"/>
          </a:xfrm>
          <a:custGeom>
            <a:avLst/>
            <a:gdLst>
              <a:gd name="connsiteX0" fmla="*/ 57935 w 233113"/>
              <a:gd name="connsiteY0" fmla="*/ 252311 h 381071"/>
              <a:gd name="connsiteX1" fmla="*/ 57935 w 233113"/>
              <a:gd name="connsiteY1" fmla="*/ 229411 h 381071"/>
              <a:gd name="connsiteX2" fmla="*/ 101610 w 233113"/>
              <a:gd name="connsiteY2" fmla="*/ 150084 h 381071"/>
              <a:gd name="connsiteX3" fmla="*/ 147410 w 233113"/>
              <a:gd name="connsiteY3" fmla="*/ 97428 h 381071"/>
              <a:gd name="connsiteX4" fmla="*/ 103255 w 233113"/>
              <a:gd name="connsiteY4" fmla="*/ 61226 h 381071"/>
              <a:gd name="connsiteX5" fmla="*/ 22900 w 233113"/>
              <a:gd name="connsiteY5" fmla="*/ 87829 h 381071"/>
              <a:gd name="connsiteX6" fmla="*/ 0 w 233113"/>
              <a:gd name="connsiteY6" fmla="*/ 29825 h 381071"/>
              <a:gd name="connsiteX7" fmla="*/ 115460 w 233113"/>
              <a:gd name="connsiteY7" fmla="*/ 0 h 381071"/>
              <a:gd name="connsiteX8" fmla="*/ 233113 w 233113"/>
              <a:gd name="connsiteY8" fmla="*/ 93657 h 381071"/>
              <a:gd name="connsiteX9" fmla="*/ 172435 w 233113"/>
              <a:gd name="connsiteY9" fmla="*/ 182034 h 381071"/>
              <a:gd name="connsiteX10" fmla="*/ 134657 w 233113"/>
              <a:gd name="connsiteY10" fmla="*/ 241615 h 381071"/>
              <a:gd name="connsiteX11" fmla="*/ 134657 w 233113"/>
              <a:gd name="connsiteY11" fmla="*/ 252242 h 381071"/>
              <a:gd name="connsiteX12" fmla="*/ 58004 w 233113"/>
              <a:gd name="connsiteY12" fmla="*/ 252242 h 381071"/>
              <a:gd name="connsiteX13" fmla="*/ 145764 w 233113"/>
              <a:gd name="connsiteY13" fmla="*/ 332118 h 381071"/>
              <a:gd name="connsiteX14" fmla="*/ 96810 w 233113"/>
              <a:gd name="connsiteY14" fmla="*/ 381071 h 381071"/>
              <a:gd name="connsiteX15" fmla="*/ 47308 w 233113"/>
              <a:gd name="connsiteY15" fmla="*/ 331021 h 381071"/>
              <a:gd name="connsiteX16" fmla="*/ 96810 w 233113"/>
              <a:gd name="connsiteY16" fmla="*/ 282615 h 381071"/>
              <a:gd name="connsiteX17" fmla="*/ 145764 w 233113"/>
              <a:gd name="connsiteY17" fmla="*/ 332118 h 38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113" h="381071">
                <a:moveTo>
                  <a:pt x="57935" y="252311"/>
                </a:moveTo>
                <a:lnTo>
                  <a:pt x="57935" y="229411"/>
                </a:lnTo>
                <a:cubicBezTo>
                  <a:pt x="57935" y="183611"/>
                  <a:pt x="60609" y="178880"/>
                  <a:pt x="101610" y="150084"/>
                </a:cubicBezTo>
                <a:cubicBezTo>
                  <a:pt x="139936" y="123481"/>
                  <a:pt x="147410" y="114980"/>
                  <a:pt x="147410" y="97428"/>
                </a:cubicBezTo>
                <a:cubicBezTo>
                  <a:pt x="147410" y="75076"/>
                  <a:pt x="130406" y="61226"/>
                  <a:pt x="103255" y="61226"/>
                </a:cubicBezTo>
                <a:cubicBezTo>
                  <a:pt x="81452" y="61226"/>
                  <a:pt x="54850" y="70277"/>
                  <a:pt x="22900" y="87829"/>
                </a:cubicBezTo>
                <a:lnTo>
                  <a:pt x="0" y="29825"/>
                </a:lnTo>
                <a:cubicBezTo>
                  <a:pt x="41000" y="9050"/>
                  <a:pt x="75076" y="0"/>
                  <a:pt x="115460" y="0"/>
                </a:cubicBezTo>
                <a:cubicBezTo>
                  <a:pt x="189439" y="0"/>
                  <a:pt x="233113" y="35104"/>
                  <a:pt x="233113" y="93657"/>
                </a:cubicBezTo>
                <a:cubicBezTo>
                  <a:pt x="233113" y="129858"/>
                  <a:pt x="217687" y="152209"/>
                  <a:pt x="172435" y="182034"/>
                </a:cubicBezTo>
                <a:cubicBezTo>
                  <a:pt x="137811" y="204934"/>
                  <a:pt x="134657" y="210213"/>
                  <a:pt x="134657" y="241615"/>
                </a:cubicBezTo>
                <a:lnTo>
                  <a:pt x="134657" y="252242"/>
                </a:lnTo>
                <a:lnTo>
                  <a:pt x="58004" y="252242"/>
                </a:lnTo>
                <a:close/>
                <a:moveTo>
                  <a:pt x="145764" y="332118"/>
                </a:moveTo>
                <a:cubicBezTo>
                  <a:pt x="145764" y="360297"/>
                  <a:pt x="124990" y="381071"/>
                  <a:pt x="96810" y="381071"/>
                </a:cubicBezTo>
                <a:cubicBezTo>
                  <a:pt x="68631" y="381071"/>
                  <a:pt x="47308" y="360297"/>
                  <a:pt x="47308" y="331021"/>
                </a:cubicBezTo>
                <a:cubicBezTo>
                  <a:pt x="47308" y="303321"/>
                  <a:pt x="68631" y="282615"/>
                  <a:pt x="96810" y="282615"/>
                </a:cubicBezTo>
                <a:cubicBezTo>
                  <a:pt x="124990" y="282615"/>
                  <a:pt x="145764" y="303390"/>
                  <a:pt x="145764" y="332118"/>
                </a:cubicBezTo>
                <a:close/>
              </a:path>
            </a:pathLst>
          </a:custGeom>
          <a:solidFill>
            <a:srgbClr val="00C1B6"/>
          </a:solidFill>
          <a:ln w="679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ihandform: Form 13">
            <a:extLst>
              <a:ext uri="{FF2B5EF4-FFF2-40B4-BE49-F238E27FC236}">
                <a16:creationId xmlns:a16="http://schemas.microsoft.com/office/drawing/2014/main" id="{57279368-3E9D-BD12-8820-665EBE8892BC}"/>
              </a:ext>
            </a:extLst>
          </p:cNvPr>
          <p:cNvSpPr/>
          <p:nvPr/>
        </p:nvSpPr>
        <p:spPr bwMode="gray">
          <a:xfrm>
            <a:off x="8157405" y="4381499"/>
            <a:ext cx="284494" cy="465065"/>
          </a:xfrm>
          <a:custGeom>
            <a:avLst/>
            <a:gdLst>
              <a:gd name="connsiteX0" fmla="*/ 57935 w 233113"/>
              <a:gd name="connsiteY0" fmla="*/ 252311 h 381071"/>
              <a:gd name="connsiteX1" fmla="*/ 57935 w 233113"/>
              <a:gd name="connsiteY1" fmla="*/ 229411 h 381071"/>
              <a:gd name="connsiteX2" fmla="*/ 101610 w 233113"/>
              <a:gd name="connsiteY2" fmla="*/ 150084 h 381071"/>
              <a:gd name="connsiteX3" fmla="*/ 147410 w 233113"/>
              <a:gd name="connsiteY3" fmla="*/ 97428 h 381071"/>
              <a:gd name="connsiteX4" fmla="*/ 103255 w 233113"/>
              <a:gd name="connsiteY4" fmla="*/ 61226 h 381071"/>
              <a:gd name="connsiteX5" fmla="*/ 22900 w 233113"/>
              <a:gd name="connsiteY5" fmla="*/ 87829 h 381071"/>
              <a:gd name="connsiteX6" fmla="*/ 0 w 233113"/>
              <a:gd name="connsiteY6" fmla="*/ 29825 h 381071"/>
              <a:gd name="connsiteX7" fmla="*/ 115460 w 233113"/>
              <a:gd name="connsiteY7" fmla="*/ 0 h 381071"/>
              <a:gd name="connsiteX8" fmla="*/ 233113 w 233113"/>
              <a:gd name="connsiteY8" fmla="*/ 93657 h 381071"/>
              <a:gd name="connsiteX9" fmla="*/ 172435 w 233113"/>
              <a:gd name="connsiteY9" fmla="*/ 182034 h 381071"/>
              <a:gd name="connsiteX10" fmla="*/ 134657 w 233113"/>
              <a:gd name="connsiteY10" fmla="*/ 241615 h 381071"/>
              <a:gd name="connsiteX11" fmla="*/ 134657 w 233113"/>
              <a:gd name="connsiteY11" fmla="*/ 252242 h 381071"/>
              <a:gd name="connsiteX12" fmla="*/ 58004 w 233113"/>
              <a:gd name="connsiteY12" fmla="*/ 252242 h 381071"/>
              <a:gd name="connsiteX13" fmla="*/ 145764 w 233113"/>
              <a:gd name="connsiteY13" fmla="*/ 332118 h 381071"/>
              <a:gd name="connsiteX14" fmla="*/ 96810 w 233113"/>
              <a:gd name="connsiteY14" fmla="*/ 381071 h 381071"/>
              <a:gd name="connsiteX15" fmla="*/ 47308 w 233113"/>
              <a:gd name="connsiteY15" fmla="*/ 331021 h 381071"/>
              <a:gd name="connsiteX16" fmla="*/ 96810 w 233113"/>
              <a:gd name="connsiteY16" fmla="*/ 282615 h 381071"/>
              <a:gd name="connsiteX17" fmla="*/ 145764 w 233113"/>
              <a:gd name="connsiteY17" fmla="*/ 332118 h 38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113" h="381071">
                <a:moveTo>
                  <a:pt x="57935" y="252311"/>
                </a:moveTo>
                <a:lnTo>
                  <a:pt x="57935" y="229411"/>
                </a:lnTo>
                <a:cubicBezTo>
                  <a:pt x="57935" y="183611"/>
                  <a:pt x="60609" y="178880"/>
                  <a:pt x="101610" y="150084"/>
                </a:cubicBezTo>
                <a:cubicBezTo>
                  <a:pt x="139936" y="123481"/>
                  <a:pt x="147410" y="114980"/>
                  <a:pt x="147410" y="97428"/>
                </a:cubicBezTo>
                <a:cubicBezTo>
                  <a:pt x="147410" y="75076"/>
                  <a:pt x="130406" y="61226"/>
                  <a:pt x="103255" y="61226"/>
                </a:cubicBezTo>
                <a:cubicBezTo>
                  <a:pt x="81452" y="61226"/>
                  <a:pt x="54850" y="70277"/>
                  <a:pt x="22900" y="87829"/>
                </a:cubicBezTo>
                <a:lnTo>
                  <a:pt x="0" y="29825"/>
                </a:lnTo>
                <a:cubicBezTo>
                  <a:pt x="41000" y="9050"/>
                  <a:pt x="75076" y="0"/>
                  <a:pt x="115460" y="0"/>
                </a:cubicBezTo>
                <a:cubicBezTo>
                  <a:pt x="189439" y="0"/>
                  <a:pt x="233113" y="35104"/>
                  <a:pt x="233113" y="93657"/>
                </a:cubicBezTo>
                <a:cubicBezTo>
                  <a:pt x="233113" y="129858"/>
                  <a:pt x="217687" y="152209"/>
                  <a:pt x="172435" y="182034"/>
                </a:cubicBezTo>
                <a:cubicBezTo>
                  <a:pt x="137811" y="204934"/>
                  <a:pt x="134657" y="210213"/>
                  <a:pt x="134657" y="241615"/>
                </a:cubicBezTo>
                <a:lnTo>
                  <a:pt x="134657" y="252242"/>
                </a:lnTo>
                <a:lnTo>
                  <a:pt x="58004" y="252242"/>
                </a:lnTo>
                <a:close/>
                <a:moveTo>
                  <a:pt x="145764" y="332118"/>
                </a:moveTo>
                <a:cubicBezTo>
                  <a:pt x="145764" y="360297"/>
                  <a:pt x="124990" y="381071"/>
                  <a:pt x="96810" y="381071"/>
                </a:cubicBezTo>
                <a:cubicBezTo>
                  <a:pt x="68631" y="381071"/>
                  <a:pt x="47308" y="360297"/>
                  <a:pt x="47308" y="331021"/>
                </a:cubicBezTo>
                <a:cubicBezTo>
                  <a:pt x="47308" y="303321"/>
                  <a:pt x="68631" y="282615"/>
                  <a:pt x="96810" y="282615"/>
                </a:cubicBezTo>
                <a:cubicBezTo>
                  <a:pt x="124990" y="282615"/>
                  <a:pt x="145764" y="303390"/>
                  <a:pt x="145764" y="332118"/>
                </a:cubicBezTo>
                <a:close/>
              </a:path>
            </a:pathLst>
          </a:custGeom>
          <a:solidFill>
            <a:srgbClr val="00C1B6"/>
          </a:solidFill>
          <a:ln w="679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56" name="Grafik 55">
            <a:extLst>
              <a:ext uri="{FF2B5EF4-FFF2-40B4-BE49-F238E27FC236}">
                <a16:creationId xmlns:a16="http://schemas.microsoft.com/office/drawing/2014/main" id="{9B99D171-DEFE-3F2C-4BB6-DDD8721007B1}"/>
              </a:ext>
            </a:extLst>
          </p:cNvPr>
          <p:cNvPicPr>
            <a:picLocks noChangeAspect="1"/>
          </p:cNvPicPr>
          <p:nvPr/>
        </p:nvPicPr>
        <p:blipFill rotWithShape="1">
          <a:blip r:embed="rId5"/>
          <a:srcRect r="13509" b="49879"/>
          <a:stretch/>
        </p:blipFill>
        <p:spPr>
          <a:xfrm>
            <a:off x="8980776" y="4581525"/>
            <a:ext cx="3211224" cy="2276475"/>
          </a:xfrm>
          <a:prstGeom prst="rect">
            <a:avLst/>
          </a:prstGeom>
        </p:spPr>
      </p:pic>
      <p:sp>
        <p:nvSpPr>
          <p:cNvPr id="57" name="Textfeld 56">
            <a:extLst>
              <a:ext uri="{FF2B5EF4-FFF2-40B4-BE49-F238E27FC236}">
                <a16:creationId xmlns:a16="http://schemas.microsoft.com/office/drawing/2014/main" id="{0D7632B0-8245-277E-6F05-C7CE9FF91482}"/>
              </a:ext>
            </a:extLst>
          </p:cNvPr>
          <p:cNvSpPr txBox="1"/>
          <p:nvPr/>
        </p:nvSpPr>
        <p:spPr>
          <a:xfrm>
            <a:off x="411163" y="944244"/>
            <a:ext cx="3900487" cy="1846659"/>
          </a:xfrm>
          <a:prstGeom prst="rect">
            <a:avLst/>
          </a:prstGeom>
          <a:noFill/>
        </p:spPr>
        <p:txBody>
          <a:bodyPr wrap="square" lIns="0" tIns="0" rIns="0" bIns="0" rtlCol="0">
            <a:spAutoFit/>
          </a:bodyPr>
          <a:lstStyle/>
          <a:p>
            <a:pPr algn="r"/>
            <a:r>
              <a:rPr lang="en-GB" sz="4000" b="1">
                <a:solidFill>
                  <a:schemeClr val="tx1"/>
                </a:solidFill>
              </a:rPr>
              <a:t>Thank you </a:t>
            </a:r>
            <a:r>
              <a:rPr lang="en-GB" sz="4000">
                <a:solidFill>
                  <a:schemeClr val="tx1"/>
                </a:solidFill>
              </a:rPr>
              <a:t>very much for your attention!</a:t>
            </a:r>
            <a:endParaRPr lang="en-US" sz="4000">
              <a:solidFill>
                <a:schemeClr val="tx1"/>
              </a:solidFill>
            </a:endParaRPr>
          </a:p>
        </p:txBody>
      </p:sp>
    </p:spTree>
    <p:extLst>
      <p:ext uri="{BB962C8B-B14F-4D97-AF65-F5344CB8AC3E}">
        <p14:creationId xmlns:p14="http://schemas.microsoft.com/office/powerpoint/2010/main" val="18967309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26EE99F-1456-C6D3-00C4-DA1C093BAD9B}"/>
              </a:ext>
            </a:extLst>
          </p:cNvPr>
          <p:cNvGraphicFramePr>
            <a:graphicFrameLocks noChangeAspect="1"/>
          </p:cNvGraphicFramePr>
          <p:nvPr>
            <p:custDataLst>
              <p:tags r:id="rId1"/>
            </p:custDataLst>
            <p:extLst>
              <p:ext uri="{D42A27DB-BD31-4B8C-83A1-F6EECF244321}">
                <p14:modId xmlns:p14="http://schemas.microsoft.com/office/powerpoint/2010/main" val="2558425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D26EE99F-1456-C6D3-00C4-DA1C093BAD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82F2BA8-5F9F-170D-308D-F8AB27A4479F}"/>
              </a:ext>
            </a:extLst>
          </p:cNvPr>
          <p:cNvSpPr>
            <a:spLocks noGrp="1"/>
          </p:cNvSpPr>
          <p:nvPr>
            <p:ph type="title"/>
          </p:nvPr>
        </p:nvSpPr>
        <p:spPr>
          <a:xfrm>
            <a:off x="411163" y="479425"/>
            <a:ext cx="11376025" cy="574675"/>
          </a:xfrm>
        </p:spPr>
        <p:txBody>
          <a:bodyPr vert="horz"/>
          <a:lstStyle/>
          <a:p>
            <a:r>
              <a:rPr lang="en-US"/>
              <a:t>SIMATIC PCS </a:t>
            </a:r>
            <a:r>
              <a:rPr lang="en-US" err="1"/>
              <a:t>myExpert</a:t>
            </a:r>
            <a:r>
              <a:rPr lang="en-US"/>
              <a:t> – web based digital assistant</a:t>
            </a:r>
            <a:br>
              <a:rPr lang="en-US"/>
            </a:br>
            <a:r>
              <a:rPr lang="en-US" b="0"/>
              <a:t>Offering a health &amp; lifecycle dashboard for SIMATIC PCS 7 &amp; SIMATIC PCS neo plants </a:t>
            </a:r>
          </a:p>
        </p:txBody>
      </p:sp>
      <p:sp>
        <p:nvSpPr>
          <p:cNvPr id="3" name="Fußzeilenplatzhalter 2">
            <a:extLst>
              <a:ext uri="{FF2B5EF4-FFF2-40B4-BE49-F238E27FC236}">
                <a16:creationId xmlns:a16="http://schemas.microsoft.com/office/drawing/2014/main" id="{DE5F6E7F-071A-9054-D70A-FF3CF624A8B1}"/>
              </a:ext>
            </a:extLst>
          </p:cNvPr>
          <p:cNvSpPr>
            <a:spLocks noGrp="1"/>
          </p:cNvSpPr>
          <p:nvPr>
            <p:ph type="ftr" sz="quarter" idx="10"/>
          </p:nvPr>
        </p:nvSpPr>
        <p:spPr>
          <a:xfrm>
            <a:off x="1059160" y="6310800"/>
            <a:ext cx="9216000" cy="547200"/>
          </a:xfrm>
        </p:spPr>
        <p:txBody>
          <a:bodyPr/>
          <a:lstStyle/>
          <a:p>
            <a:r>
              <a:rPr lang="en-US"/>
              <a:t>Unrestricted | © Siemens 2025 | Raghav Tripathi</a:t>
            </a:r>
          </a:p>
        </p:txBody>
      </p:sp>
      <p:pic>
        <p:nvPicPr>
          <p:cNvPr id="42" name="Grafik 41">
            <a:extLst>
              <a:ext uri="{FF2B5EF4-FFF2-40B4-BE49-F238E27FC236}">
                <a16:creationId xmlns:a16="http://schemas.microsoft.com/office/drawing/2014/main" id="{D6BF2F65-9151-6845-33FA-852208B1E1BB}"/>
              </a:ext>
            </a:extLst>
          </p:cNvPr>
          <p:cNvPicPr>
            <a:picLocks noChangeAspect="1"/>
          </p:cNvPicPr>
          <p:nvPr/>
        </p:nvPicPr>
        <p:blipFill>
          <a:blip r:embed="rId5"/>
          <a:stretch>
            <a:fillRect/>
          </a:stretch>
        </p:blipFill>
        <p:spPr>
          <a:xfrm>
            <a:off x="2686705" y="1437241"/>
            <a:ext cx="5747133" cy="4642088"/>
          </a:xfrm>
          <a:prstGeom prst="rect">
            <a:avLst/>
          </a:prstGeom>
        </p:spPr>
      </p:pic>
      <p:sp>
        <p:nvSpPr>
          <p:cNvPr id="43" name="Textfeld 42">
            <a:extLst>
              <a:ext uri="{FF2B5EF4-FFF2-40B4-BE49-F238E27FC236}">
                <a16:creationId xmlns:a16="http://schemas.microsoft.com/office/drawing/2014/main" id="{B69AA2A6-7479-A646-4096-E150065B7B32}"/>
              </a:ext>
            </a:extLst>
          </p:cNvPr>
          <p:cNvSpPr txBox="1">
            <a:spLocks/>
          </p:cNvSpPr>
          <p:nvPr/>
        </p:nvSpPr>
        <p:spPr>
          <a:xfrm>
            <a:off x="414849" y="4305206"/>
            <a:ext cx="4543712" cy="1508105"/>
          </a:xfrm>
          <a:prstGeom prst="rect">
            <a:avLst/>
          </a:prstGeom>
          <a:noFill/>
        </p:spPr>
        <p:txBody>
          <a:bodyPr wrap="square" lIns="0" tIns="0" rIns="0" bIns="0" rtlCol="0" anchor="t">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C1B6"/>
                </a:solidFill>
                <a:effectLst/>
                <a:uLnTx/>
                <a:uFillTx/>
                <a:latin typeface="Arial"/>
                <a:ea typeface="ＭＳ Ｐゴシック"/>
              </a:rPr>
              <a:t>Display</a:t>
            </a:r>
            <a:endParaRPr kumimoji="0" lang="en-US" sz="1400" b="0" i="0" u="none" strike="noStrike" kern="1200" cap="none" spc="0" normalizeH="0" baseline="0" noProof="0">
              <a:ln>
                <a:noFill/>
              </a:ln>
              <a:solidFill>
                <a:srgbClr val="00C1B6"/>
              </a:solidFill>
              <a:effectLst/>
              <a:uLnTx/>
              <a:uFillTx/>
              <a:latin typeface="Arial"/>
              <a:ea typeface="ＭＳ Ｐゴシック" charset="-128"/>
            </a:endParaRPr>
          </a:p>
          <a:p>
            <a:pPr marL="180000" marR="0" lvl="0" indent="-180000" defTabSz="913943"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0" i="0" u="none" strike="noStrike" kern="0" cap="none" spc="0" normalizeH="0" baseline="0" noProof="0">
                <a:ln>
                  <a:noFill/>
                </a:ln>
                <a:solidFill>
                  <a:prstClr val="white"/>
                </a:solidFill>
                <a:effectLst/>
                <a:uLnTx/>
                <a:uFillTx/>
                <a:ea typeface="+mn-lt"/>
                <a:cs typeface="Arial"/>
              </a:rPr>
              <a:t>Obsolete hardware</a:t>
            </a:r>
            <a:endParaRPr kumimoji="0" lang="en-US" sz="1400" b="0" i="0" u="none" strike="noStrike" kern="1200" cap="none" spc="0" normalizeH="0" baseline="0" noProof="0">
              <a:ln>
                <a:noFill/>
              </a:ln>
              <a:solidFill>
                <a:prstClr val="white"/>
              </a:solidFill>
              <a:effectLst/>
              <a:uLnTx/>
              <a:uFillTx/>
              <a:latin typeface="Arial"/>
              <a:cs typeface="Arial"/>
            </a:endParaRPr>
          </a:p>
          <a:p>
            <a:pPr marL="180000" marR="0" lvl="0" indent="-180000" defTabSz="913943"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0" i="0" u="none" strike="noStrike" kern="0" cap="none" spc="0" normalizeH="0" baseline="0" noProof="0">
                <a:ln>
                  <a:noFill/>
                </a:ln>
                <a:solidFill>
                  <a:prstClr val="white"/>
                </a:solidFill>
                <a:effectLst/>
                <a:uLnTx/>
                <a:uFillTx/>
                <a:ea typeface="+mn-lt"/>
                <a:cs typeface="Arial"/>
              </a:rPr>
              <a:t>Firmware and software updates</a:t>
            </a:r>
            <a:endParaRPr kumimoji="0" lang="en-US" sz="1400" b="0" i="0" u="none" strike="noStrike" kern="0" cap="none" spc="0" normalizeH="0" baseline="0" noProof="0">
              <a:ln>
                <a:noFill/>
              </a:ln>
              <a:solidFill>
                <a:prstClr val="white"/>
              </a:solidFill>
              <a:effectLst/>
              <a:uLnTx/>
              <a:uFillTx/>
            </a:endParaRPr>
          </a:p>
          <a:p>
            <a:pPr marL="180000" marR="0" lvl="0" indent="-180000" defTabSz="91440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0" i="0" u="none" strike="noStrike" kern="0" cap="none" spc="0" normalizeH="0" baseline="0" noProof="0">
                <a:ln>
                  <a:noFill/>
                </a:ln>
                <a:solidFill>
                  <a:prstClr val="white"/>
                </a:solidFill>
                <a:effectLst/>
                <a:uLnTx/>
                <a:uFillTx/>
                <a:ea typeface="+mn-lt"/>
                <a:cs typeface="Arial"/>
              </a:rPr>
              <a:t>Security warnings</a:t>
            </a:r>
            <a:r>
              <a:rPr kumimoji="0" lang="en-US" sz="1400" b="0" i="0" u="none" strike="noStrike" kern="1200" cap="none" spc="0" normalizeH="0" baseline="0" noProof="0">
                <a:ln>
                  <a:noFill/>
                </a:ln>
                <a:solidFill>
                  <a:prstClr val="white"/>
                </a:solidFill>
                <a:effectLst/>
                <a:uLnTx/>
                <a:uFillTx/>
                <a:ea typeface="+mn-lt"/>
                <a:cs typeface="Arial"/>
              </a:rPr>
              <a:t>/vulnerabilities</a:t>
            </a:r>
          </a:p>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400" b="0" i="0" u="none" strike="noStrike" kern="0" cap="none" spc="0" normalizeH="0" baseline="0" noProof="0">
              <a:ln>
                <a:noFill/>
              </a:ln>
              <a:solidFill>
                <a:prstClr val="white"/>
              </a:solidFill>
              <a:effectLst/>
              <a:uLnTx/>
              <a:uFillTx/>
              <a:ea typeface="+mn-lt"/>
              <a:cs typeface="Arial"/>
            </a:endParaRPr>
          </a:p>
          <a:p>
            <a:pPr marL="0" marR="0" lvl="0" indent="0" defTabSz="913943" eaLnBrk="1" fontAlgn="auto" latinLnBrk="0" hangingPunct="1">
              <a:lnSpc>
                <a:spcPct val="100000"/>
              </a:lnSpc>
              <a:spcBef>
                <a:spcPts val="0"/>
              </a:spcBef>
              <a:spcAft>
                <a:spcPts val="0"/>
              </a:spcAft>
              <a:buClr>
                <a:srgbClr val="009999"/>
              </a:buClr>
              <a:buSzTx/>
              <a:buFontTx/>
              <a:buNone/>
              <a:tabLst/>
              <a:defRPr/>
            </a:pPr>
            <a:r>
              <a:rPr kumimoji="0" lang="en-US" sz="1400" b="0" i="0" u="none" strike="noStrike" kern="0" cap="none" spc="0" normalizeH="0" baseline="0" noProof="0">
                <a:ln>
                  <a:noFill/>
                </a:ln>
                <a:solidFill>
                  <a:srgbClr val="00C1B6"/>
                </a:solidFill>
                <a:effectLst/>
                <a:uLnTx/>
                <a:uFillTx/>
                <a:ea typeface="+mn-lt"/>
                <a:cs typeface="Arial"/>
              </a:rPr>
              <a:t>Systematic evaluation </a:t>
            </a:r>
            <a:r>
              <a:rPr kumimoji="0" lang="en-US" sz="1400" b="0" i="0" u="none" strike="noStrike" kern="1200" cap="none" spc="0" normalizeH="0" baseline="0" noProof="0">
                <a:ln>
                  <a:noFill/>
                </a:ln>
                <a:solidFill>
                  <a:srgbClr val="00C1B6"/>
                </a:solidFill>
                <a:effectLst/>
                <a:uLnTx/>
                <a:uFillTx/>
                <a:ea typeface="+mn-lt"/>
                <a:cs typeface="Arial"/>
              </a:rPr>
              <a:t>&amp; </a:t>
            </a:r>
            <a:r>
              <a:rPr kumimoji="0" lang="en-US" sz="1400" b="0" i="0" u="none" strike="noStrike" kern="0" cap="none" spc="0" normalizeH="0" baseline="0" noProof="0">
                <a:ln>
                  <a:noFill/>
                </a:ln>
                <a:solidFill>
                  <a:srgbClr val="00C1B6"/>
                </a:solidFill>
                <a:effectLst/>
                <a:uLnTx/>
                <a:uFillTx/>
                <a:ea typeface="+mn-lt"/>
                <a:cs typeface="Arial"/>
              </a:rPr>
              <a:t>planning</a:t>
            </a:r>
            <a:r>
              <a:rPr kumimoji="0" lang="en-US" sz="1400" b="0" i="0" u="none" strike="noStrike" kern="0" cap="none" spc="0" normalizeH="0" baseline="0" noProof="0">
                <a:ln>
                  <a:noFill/>
                </a:ln>
                <a:solidFill>
                  <a:srgbClr val="00C1B6"/>
                </a:solidFill>
                <a:effectLst/>
                <a:uLnTx/>
                <a:uFillTx/>
                <a:latin typeface="Arial"/>
              </a:rPr>
              <a:t> </a:t>
            </a:r>
            <a:br>
              <a:rPr kumimoji="0" lang="en-US" sz="1400" b="0" i="0" u="none" strike="noStrike" kern="1200" cap="none" spc="0" normalizeH="0" baseline="0" noProof="0">
                <a:ln>
                  <a:noFill/>
                </a:ln>
                <a:solidFill>
                  <a:srgbClr val="00C1B6"/>
                </a:solidFill>
                <a:effectLst/>
                <a:uLnTx/>
                <a:uFillTx/>
                <a:latin typeface="Arial"/>
              </a:rPr>
            </a:br>
            <a:r>
              <a:rPr kumimoji="0" lang="en-US" sz="1400" b="0" i="0" u="none" strike="noStrike" kern="0" cap="none" spc="0" normalizeH="0" baseline="0" noProof="0">
                <a:ln>
                  <a:noFill/>
                </a:ln>
                <a:solidFill>
                  <a:prstClr val="white"/>
                </a:solidFill>
                <a:effectLst/>
                <a:uLnTx/>
                <a:uFillTx/>
                <a:latin typeface="Arial"/>
              </a:rPr>
              <a:t>Necessary measures</a:t>
            </a:r>
            <a:r>
              <a:rPr kumimoji="0" lang="en-US" sz="1400" b="0" i="0" u="none" strike="noStrike" kern="1200" cap="none" spc="0" normalizeH="0" baseline="0" noProof="0">
                <a:ln>
                  <a:noFill/>
                </a:ln>
                <a:solidFill>
                  <a:prstClr val="white"/>
                </a:solidFill>
                <a:effectLst/>
                <a:uLnTx/>
                <a:uFillTx/>
                <a:latin typeface="Arial"/>
              </a:rPr>
              <a:t> in PCS </a:t>
            </a:r>
            <a:r>
              <a:rPr kumimoji="0" lang="en-US" sz="1400" b="0" i="0" u="none" strike="noStrike" kern="1200" cap="none" spc="0" normalizeH="0" baseline="0" noProof="0" err="1">
                <a:ln>
                  <a:noFill/>
                </a:ln>
                <a:solidFill>
                  <a:prstClr val="white"/>
                </a:solidFill>
                <a:effectLst/>
                <a:uLnTx/>
                <a:uFillTx/>
                <a:latin typeface="Arial"/>
              </a:rPr>
              <a:t>myExpert</a:t>
            </a:r>
            <a:endParaRPr kumimoji="0" lang="en-US" sz="1400" b="0" i="0" u="none" strike="noStrike" kern="0" cap="none" spc="0" normalizeH="0" baseline="0" noProof="0">
              <a:ln>
                <a:noFill/>
              </a:ln>
              <a:solidFill>
                <a:prstClr val="white"/>
              </a:solidFill>
              <a:effectLst/>
              <a:uLnTx/>
              <a:uFillTx/>
            </a:endParaRPr>
          </a:p>
        </p:txBody>
      </p:sp>
      <p:sp>
        <p:nvSpPr>
          <p:cNvPr id="44" name="Textfeld 43">
            <a:extLst>
              <a:ext uri="{FF2B5EF4-FFF2-40B4-BE49-F238E27FC236}">
                <a16:creationId xmlns:a16="http://schemas.microsoft.com/office/drawing/2014/main" id="{327A36B9-3902-33CA-F7C2-3F823F147BD6}"/>
              </a:ext>
            </a:extLst>
          </p:cNvPr>
          <p:cNvSpPr txBox="1"/>
          <p:nvPr/>
        </p:nvSpPr>
        <p:spPr>
          <a:xfrm>
            <a:off x="5862191" y="3120193"/>
            <a:ext cx="3147557" cy="184666"/>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9999"/>
              </a:buClr>
              <a:buSzTx/>
              <a:buFontTx/>
              <a:buNone/>
              <a:tabLst/>
              <a:defRPr/>
            </a:pPr>
            <a:r>
              <a:rPr kumimoji="0" lang="en-US" sz="1200" b="0" i="0" u="none" strike="noStrike" kern="0" cap="none" spc="0" normalizeH="0" baseline="0" noProof="0">
                <a:ln>
                  <a:noFill/>
                </a:ln>
                <a:solidFill>
                  <a:srgbClr val="00C1B6"/>
                </a:solidFill>
                <a:effectLst/>
                <a:uLnTx/>
                <a:uFillTx/>
                <a:ea typeface="+mn-lt"/>
                <a:cs typeface="Arial"/>
              </a:rPr>
              <a:t>Relevant life cycle</a:t>
            </a:r>
            <a:r>
              <a:rPr kumimoji="0" lang="en-US" sz="1200" b="0" i="0" u="none" strike="noStrike" kern="0" cap="none" spc="0" normalizeH="0" baseline="0" noProof="0">
                <a:ln>
                  <a:noFill/>
                </a:ln>
                <a:solidFill>
                  <a:srgbClr val="00C1B6"/>
                </a:solidFill>
                <a:effectLst/>
                <a:uLnTx/>
                <a:uFillTx/>
                <a:ea typeface="ＭＳ Ｐゴシック"/>
                <a:cs typeface="Arial"/>
              </a:rPr>
              <a:t> product information</a:t>
            </a:r>
            <a:endParaRPr kumimoji="0" lang="en-US" sz="1600" b="0" i="0" u="none" strike="noStrike" kern="0" cap="none" spc="0" normalizeH="0" baseline="0" noProof="0">
              <a:ln>
                <a:noFill/>
              </a:ln>
              <a:solidFill>
                <a:srgbClr val="00C1B6"/>
              </a:solidFill>
              <a:effectLst/>
              <a:uLnTx/>
              <a:uFillTx/>
            </a:endParaRPr>
          </a:p>
        </p:txBody>
      </p:sp>
      <p:sp>
        <p:nvSpPr>
          <p:cNvPr id="45" name="Textfeld 44">
            <a:extLst>
              <a:ext uri="{FF2B5EF4-FFF2-40B4-BE49-F238E27FC236}">
                <a16:creationId xmlns:a16="http://schemas.microsoft.com/office/drawing/2014/main" id="{C3C725E8-B6FD-D9D3-1484-4C7D50087993}"/>
              </a:ext>
            </a:extLst>
          </p:cNvPr>
          <p:cNvSpPr txBox="1"/>
          <p:nvPr/>
        </p:nvSpPr>
        <p:spPr>
          <a:xfrm>
            <a:off x="5264510" y="4921396"/>
            <a:ext cx="1942095" cy="184666"/>
          </a:xfrm>
          <a:prstGeom prst="rect">
            <a:avLst/>
          </a:prstGeom>
          <a:noFill/>
        </p:spPr>
        <p:txBody>
          <a:bodyPr wrap="square" lIns="0" tIns="0" rIns="0" bIns="0" rtlCol="0" anchor="t">
            <a:noAutofit/>
          </a:bodyPr>
          <a:lstStyle>
            <a:defPPr>
              <a:defRPr lang="de-DE"/>
            </a:defPPr>
            <a:lvl1pPr marL="0" marR="0" lvl="0" indent="0" defTabSz="914400" eaLnBrk="1" fontAlgn="auto" latinLnBrk="0" hangingPunct="1">
              <a:lnSpc>
                <a:spcPct val="100000"/>
              </a:lnSpc>
              <a:spcBef>
                <a:spcPts val="0"/>
              </a:spcBef>
              <a:spcAft>
                <a:spcPts val="0"/>
              </a:spcAft>
              <a:buClrTx/>
              <a:buSzTx/>
              <a:buFontTx/>
              <a:buNone/>
              <a:tabLst/>
              <a:defRPr kumimoji="0" sz="1400" b="0" i="0" u="none" strike="noStrike" cap="none" spc="0" normalizeH="0" baseline="0">
                <a:ln>
                  <a:noFill/>
                </a:ln>
                <a:solidFill>
                  <a:srgbClr val="00F0CE"/>
                </a:solidFill>
                <a:effectLst/>
                <a:uLnTx/>
                <a:uFillTx/>
                <a:latin typeface="Aria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C1B6"/>
                </a:solidFill>
                <a:effectLst/>
                <a:uLnTx/>
                <a:uFillTx/>
                <a:latin typeface="Arial"/>
              </a:rPr>
              <a:t>The latest security alerts</a:t>
            </a:r>
          </a:p>
        </p:txBody>
      </p:sp>
      <p:sp>
        <p:nvSpPr>
          <p:cNvPr id="46" name="Textfeld 45">
            <a:extLst>
              <a:ext uri="{FF2B5EF4-FFF2-40B4-BE49-F238E27FC236}">
                <a16:creationId xmlns:a16="http://schemas.microsoft.com/office/drawing/2014/main" id="{B420C8D9-739D-012E-6F58-CD0BAFD056FF}"/>
              </a:ext>
            </a:extLst>
          </p:cNvPr>
          <p:cNvSpPr txBox="1"/>
          <p:nvPr/>
        </p:nvSpPr>
        <p:spPr>
          <a:xfrm>
            <a:off x="4232219" y="4184873"/>
            <a:ext cx="1942095" cy="369332"/>
          </a:xfrm>
          <a:prstGeom prst="rect">
            <a:avLst/>
          </a:prstGeom>
          <a:noFill/>
        </p:spPr>
        <p:txBody>
          <a:bodyPr wrap="square" lIns="0" tIns="0" rIns="0" bIns="0" rtlCol="0" anchor="t">
            <a:noAutofit/>
          </a:bodyPr>
          <a:lstStyle>
            <a:defPPr>
              <a:defRPr lang="de-DE"/>
            </a:defPPr>
            <a:lvl1pPr marL="0" marR="0" lvl="0" indent="0" defTabSz="914400" eaLnBrk="1" fontAlgn="auto" latinLnBrk="0" hangingPunct="1">
              <a:lnSpc>
                <a:spcPct val="100000"/>
              </a:lnSpc>
              <a:spcBef>
                <a:spcPts val="0"/>
              </a:spcBef>
              <a:spcAft>
                <a:spcPts val="0"/>
              </a:spcAft>
              <a:buClrTx/>
              <a:buSzTx/>
              <a:buFontTx/>
              <a:buNone/>
              <a:tabLst/>
              <a:defRPr kumimoji="0" sz="1400" b="0" i="0" u="none" strike="noStrike" cap="none" spc="0" normalizeH="0" baseline="0">
                <a:ln>
                  <a:noFill/>
                </a:ln>
                <a:solidFill>
                  <a:srgbClr val="00F0CE"/>
                </a:solidFill>
                <a:effectLst/>
                <a:uLnTx/>
                <a:uFillTx/>
                <a:latin typeface="Aria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C1B6"/>
                </a:solidFill>
                <a:effectLst/>
                <a:uLnTx/>
                <a:uFillTx/>
                <a:latin typeface="Arial"/>
              </a:rPr>
              <a:t>Latest firmwar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C1B6"/>
                </a:solidFill>
                <a:effectLst/>
                <a:uLnTx/>
                <a:uFillTx/>
                <a:latin typeface="Arial"/>
              </a:rPr>
              <a:t>and software updates</a:t>
            </a:r>
          </a:p>
        </p:txBody>
      </p:sp>
      <p:sp>
        <p:nvSpPr>
          <p:cNvPr id="47" name="Textfeld 46">
            <a:extLst>
              <a:ext uri="{FF2B5EF4-FFF2-40B4-BE49-F238E27FC236}">
                <a16:creationId xmlns:a16="http://schemas.microsoft.com/office/drawing/2014/main" id="{1B1323D0-D7CA-E9EE-9D0D-A947FC57BE99}"/>
              </a:ext>
            </a:extLst>
          </p:cNvPr>
          <p:cNvSpPr txBox="1">
            <a:spLocks/>
          </p:cNvSpPr>
          <p:nvPr/>
        </p:nvSpPr>
        <p:spPr>
          <a:xfrm>
            <a:off x="414849" y="1417101"/>
            <a:ext cx="3131239" cy="738664"/>
          </a:xfrm>
          <a:prstGeom prst="rect">
            <a:avLst/>
          </a:prstGeom>
          <a:noFill/>
        </p:spPr>
        <p:txBody>
          <a:bodyPr wrap="square" lIns="0" tIns="0" rIns="0" bIns="0" anchor="t">
            <a:noAutofit/>
          </a:bodyPr>
          <a:lstStyle/>
          <a:p>
            <a:pPr marL="0" marR="0" lvl="0" indent="0" defTabSz="913943"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ea typeface="+mn-lt"/>
                <a:cs typeface="Arial"/>
              </a:rPr>
              <a:t>With </a:t>
            </a:r>
            <a:r>
              <a:rPr kumimoji="0" lang="en-US" sz="1600" b="1" i="0" u="none" strike="noStrike" kern="1200" cap="none" spc="0" normalizeH="0" baseline="0" noProof="0">
                <a:ln>
                  <a:noFill/>
                </a:ln>
                <a:solidFill>
                  <a:prstClr val="white"/>
                </a:solidFill>
                <a:effectLst/>
                <a:uLnTx/>
                <a:uFillTx/>
                <a:ea typeface="+mn-lt"/>
                <a:cs typeface="Arial"/>
              </a:rPr>
              <a:t>SIMATIC PCS </a:t>
            </a:r>
            <a:r>
              <a:rPr kumimoji="0" lang="en-US" sz="1600" b="1" i="0" u="none" strike="noStrike" kern="1200" cap="none" spc="0" normalizeH="0" baseline="0" noProof="0" err="1">
                <a:ln>
                  <a:noFill/>
                </a:ln>
                <a:solidFill>
                  <a:prstClr val="white"/>
                </a:solidFill>
                <a:effectLst/>
                <a:uLnTx/>
                <a:uFillTx/>
                <a:ea typeface="+mn-lt"/>
                <a:cs typeface="Arial"/>
              </a:rPr>
              <a:t>myExpert</a:t>
            </a:r>
            <a:r>
              <a:rPr kumimoji="0" lang="en-US" sz="1600" b="1" i="0" u="none" strike="noStrike" kern="0" cap="none" spc="0" normalizeH="0" baseline="0" noProof="0">
                <a:ln>
                  <a:noFill/>
                </a:ln>
                <a:solidFill>
                  <a:prstClr val="white"/>
                </a:solidFill>
                <a:effectLst/>
                <a:uLnTx/>
                <a:uFillTx/>
                <a:ea typeface="+mn-lt"/>
                <a:cs typeface="Arial"/>
              </a:rPr>
              <a:t>, </a:t>
            </a:r>
            <a:br>
              <a:rPr kumimoji="0" lang="en-US" sz="1600" b="1" i="0" u="none" strike="noStrike" kern="0" cap="none" spc="0" normalizeH="0" baseline="0" noProof="0">
                <a:ln>
                  <a:noFill/>
                </a:ln>
                <a:solidFill>
                  <a:prstClr val="white"/>
                </a:solidFill>
                <a:effectLst/>
                <a:uLnTx/>
                <a:uFillTx/>
                <a:ea typeface="+mn-lt"/>
                <a:cs typeface="Arial"/>
              </a:rPr>
            </a:br>
            <a:r>
              <a:rPr kumimoji="0" lang="en-US" sz="1600" b="1" i="0" u="none" strike="noStrike" kern="0" cap="none" spc="0" normalizeH="0" baseline="0" noProof="0">
                <a:ln>
                  <a:noFill/>
                </a:ln>
                <a:solidFill>
                  <a:prstClr val="white"/>
                </a:solidFill>
                <a:effectLst/>
                <a:uLnTx/>
                <a:uFillTx/>
                <a:ea typeface="+mn-lt"/>
                <a:cs typeface="Arial"/>
              </a:rPr>
              <a:t>you maintain an overview of your process control system.</a:t>
            </a:r>
            <a:endParaRPr kumimoji="0" lang="en-US" sz="1600" b="1" i="0" u="none" strike="noStrike" kern="0" cap="none" spc="0" normalizeH="0" baseline="0" noProof="0">
              <a:ln>
                <a:noFill/>
              </a:ln>
              <a:solidFill>
                <a:prstClr val="white"/>
              </a:solidFill>
              <a:effectLst/>
              <a:uLnTx/>
              <a:uFillTx/>
              <a:cs typeface="+mn-cs"/>
            </a:endParaRPr>
          </a:p>
        </p:txBody>
      </p:sp>
      <p:grpSp>
        <p:nvGrpSpPr>
          <p:cNvPr id="48" name="Gruppieren 47">
            <a:extLst>
              <a:ext uri="{FF2B5EF4-FFF2-40B4-BE49-F238E27FC236}">
                <a16:creationId xmlns:a16="http://schemas.microsoft.com/office/drawing/2014/main" id="{6725E2D6-B58B-FE62-229B-61B8FA3DE11A}"/>
              </a:ext>
            </a:extLst>
          </p:cNvPr>
          <p:cNvGrpSpPr/>
          <p:nvPr/>
        </p:nvGrpSpPr>
        <p:grpSpPr>
          <a:xfrm>
            <a:off x="5736605" y="1417101"/>
            <a:ext cx="1402305" cy="1405833"/>
            <a:chOff x="6098901" y="928726"/>
            <a:chExt cx="1695327" cy="1699592"/>
          </a:xfrm>
        </p:grpSpPr>
        <p:sp>
          <p:nvSpPr>
            <p:cNvPr id="49" name="Sechseck 48">
              <a:extLst>
                <a:ext uri="{FF2B5EF4-FFF2-40B4-BE49-F238E27FC236}">
                  <a16:creationId xmlns:a16="http://schemas.microsoft.com/office/drawing/2014/main" id="{54488EAB-90B8-D75A-EA18-721FBBC7B42C}"/>
                </a:ext>
              </a:extLst>
            </p:cNvPr>
            <p:cNvSpPr>
              <a:spLocks noChangeAspect="1"/>
            </p:cNvSpPr>
            <p:nvPr/>
          </p:nvSpPr>
          <p:spPr bwMode="auto">
            <a:xfrm>
              <a:off x="6628072" y="1504096"/>
              <a:ext cx="637152" cy="548851"/>
            </a:xfrm>
            <a:prstGeom prst="hexagon">
              <a:avLst/>
            </a:prstGeom>
            <a:solidFill>
              <a:srgbClr val="00E9D8"/>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1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0" name="Freeform 7">
              <a:extLst>
                <a:ext uri="{FF2B5EF4-FFF2-40B4-BE49-F238E27FC236}">
                  <a16:creationId xmlns:a16="http://schemas.microsoft.com/office/drawing/2014/main" id="{CA753CE1-D7C8-1B90-1F52-6ED9890A7006}"/>
                </a:ext>
              </a:extLst>
            </p:cNvPr>
            <p:cNvSpPr>
              <a:spLocks noEditPoints="1"/>
            </p:cNvSpPr>
            <p:nvPr/>
          </p:nvSpPr>
          <p:spPr bwMode="auto">
            <a:xfrm>
              <a:off x="6780248" y="1652463"/>
              <a:ext cx="295692" cy="220150"/>
            </a:xfrm>
            <a:custGeom>
              <a:avLst/>
              <a:gdLst>
                <a:gd name="T0" fmla="*/ 612 w 975"/>
                <a:gd name="T1" fmla="*/ 0 h 726"/>
                <a:gd name="T2" fmla="*/ 430 w 975"/>
                <a:gd name="T3" fmla="*/ 0 h 726"/>
                <a:gd name="T4" fmla="*/ 430 w 975"/>
                <a:gd name="T5" fmla="*/ 114 h 726"/>
                <a:gd name="T6" fmla="*/ 136 w 975"/>
                <a:gd name="T7" fmla="*/ 114 h 726"/>
                <a:gd name="T8" fmla="*/ 136 w 975"/>
                <a:gd name="T9" fmla="*/ 295 h 726"/>
                <a:gd name="T10" fmla="*/ 0 w 975"/>
                <a:gd name="T11" fmla="*/ 295 h 726"/>
                <a:gd name="T12" fmla="*/ 0 w 975"/>
                <a:gd name="T13" fmla="*/ 431 h 726"/>
                <a:gd name="T14" fmla="*/ 136 w 975"/>
                <a:gd name="T15" fmla="*/ 431 h 726"/>
                <a:gd name="T16" fmla="*/ 136 w 975"/>
                <a:gd name="T17" fmla="*/ 613 h 726"/>
                <a:gd name="T18" fmla="*/ 385 w 975"/>
                <a:gd name="T19" fmla="*/ 613 h 726"/>
                <a:gd name="T20" fmla="*/ 385 w 975"/>
                <a:gd name="T21" fmla="*/ 658 h 726"/>
                <a:gd name="T22" fmla="*/ 294 w 975"/>
                <a:gd name="T23" fmla="*/ 658 h 726"/>
                <a:gd name="T24" fmla="*/ 294 w 975"/>
                <a:gd name="T25" fmla="*/ 726 h 726"/>
                <a:gd name="T26" fmla="*/ 748 w 975"/>
                <a:gd name="T27" fmla="*/ 726 h 726"/>
                <a:gd name="T28" fmla="*/ 748 w 975"/>
                <a:gd name="T29" fmla="*/ 658 h 726"/>
                <a:gd name="T30" fmla="*/ 657 w 975"/>
                <a:gd name="T31" fmla="*/ 658 h 726"/>
                <a:gd name="T32" fmla="*/ 657 w 975"/>
                <a:gd name="T33" fmla="*/ 613 h 726"/>
                <a:gd name="T34" fmla="*/ 771 w 975"/>
                <a:gd name="T35" fmla="*/ 613 h 726"/>
                <a:gd name="T36" fmla="*/ 771 w 975"/>
                <a:gd name="T37" fmla="*/ 114 h 726"/>
                <a:gd name="T38" fmla="*/ 612 w 975"/>
                <a:gd name="T39" fmla="*/ 114 h 726"/>
                <a:gd name="T40" fmla="*/ 612 w 975"/>
                <a:gd name="T41" fmla="*/ 0 h 726"/>
                <a:gd name="T42" fmla="*/ 658 w 975"/>
                <a:gd name="T43" fmla="*/ 499 h 726"/>
                <a:gd name="T44" fmla="*/ 204 w 975"/>
                <a:gd name="T45" fmla="*/ 499 h 726"/>
                <a:gd name="T46" fmla="*/ 204 w 975"/>
                <a:gd name="T47" fmla="*/ 431 h 726"/>
                <a:gd name="T48" fmla="*/ 658 w 975"/>
                <a:gd name="T49" fmla="*/ 431 h 726"/>
                <a:gd name="T50" fmla="*/ 658 w 975"/>
                <a:gd name="T51" fmla="*/ 499 h 726"/>
                <a:gd name="T52" fmla="*/ 658 w 975"/>
                <a:gd name="T53" fmla="*/ 386 h 726"/>
                <a:gd name="T54" fmla="*/ 204 w 975"/>
                <a:gd name="T55" fmla="*/ 386 h 726"/>
                <a:gd name="T56" fmla="*/ 204 w 975"/>
                <a:gd name="T57" fmla="*/ 318 h 726"/>
                <a:gd name="T58" fmla="*/ 658 w 975"/>
                <a:gd name="T59" fmla="*/ 318 h 726"/>
                <a:gd name="T60" fmla="*/ 658 w 975"/>
                <a:gd name="T61" fmla="*/ 386 h 726"/>
                <a:gd name="T62" fmla="*/ 658 w 975"/>
                <a:gd name="T63" fmla="*/ 204 h 726"/>
                <a:gd name="T64" fmla="*/ 658 w 975"/>
                <a:gd name="T65" fmla="*/ 272 h 726"/>
                <a:gd name="T66" fmla="*/ 204 w 975"/>
                <a:gd name="T67" fmla="*/ 272 h 726"/>
                <a:gd name="T68" fmla="*/ 204 w 975"/>
                <a:gd name="T69" fmla="*/ 204 h 726"/>
                <a:gd name="T70" fmla="*/ 658 w 975"/>
                <a:gd name="T71" fmla="*/ 204 h 726"/>
                <a:gd name="T72" fmla="*/ 975 w 975"/>
                <a:gd name="T73" fmla="*/ 204 h 726"/>
                <a:gd name="T74" fmla="*/ 975 w 975"/>
                <a:gd name="T75" fmla="*/ 522 h 726"/>
                <a:gd name="T76" fmla="*/ 884 w 975"/>
                <a:gd name="T77" fmla="*/ 613 h 726"/>
                <a:gd name="T78" fmla="*/ 816 w 975"/>
                <a:gd name="T79" fmla="*/ 613 h 726"/>
                <a:gd name="T80" fmla="*/ 816 w 975"/>
                <a:gd name="T81" fmla="*/ 114 h 726"/>
                <a:gd name="T82" fmla="*/ 884 w 975"/>
                <a:gd name="T83" fmla="*/ 114 h 726"/>
                <a:gd name="T84" fmla="*/ 975 w 975"/>
                <a:gd name="T85" fmla="*/ 20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5" h="726">
                  <a:moveTo>
                    <a:pt x="612" y="0"/>
                  </a:moveTo>
                  <a:cubicBezTo>
                    <a:pt x="430" y="0"/>
                    <a:pt x="430" y="0"/>
                    <a:pt x="430" y="0"/>
                  </a:cubicBezTo>
                  <a:cubicBezTo>
                    <a:pt x="430" y="114"/>
                    <a:pt x="430" y="114"/>
                    <a:pt x="430" y="114"/>
                  </a:cubicBezTo>
                  <a:cubicBezTo>
                    <a:pt x="136" y="114"/>
                    <a:pt x="136" y="114"/>
                    <a:pt x="136" y="114"/>
                  </a:cubicBezTo>
                  <a:cubicBezTo>
                    <a:pt x="136" y="295"/>
                    <a:pt x="136" y="295"/>
                    <a:pt x="136" y="295"/>
                  </a:cubicBezTo>
                  <a:cubicBezTo>
                    <a:pt x="0" y="295"/>
                    <a:pt x="0" y="295"/>
                    <a:pt x="0" y="295"/>
                  </a:cubicBezTo>
                  <a:cubicBezTo>
                    <a:pt x="0" y="431"/>
                    <a:pt x="0" y="431"/>
                    <a:pt x="0" y="431"/>
                  </a:cubicBezTo>
                  <a:cubicBezTo>
                    <a:pt x="136" y="431"/>
                    <a:pt x="136" y="431"/>
                    <a:pt x="136" y="431"/>
                  </a:cubicBezTo>
                  <a:cubicBezTo>
                    <a:pt x="136" y="613"/>
                    <a:pt x="136" y="613"/>
                    <a:pt x="136" y="613"/>
                  </a:cubicBezTo>
                  <a:cubicBezTo>
                    <a:pt x="385" y="613"/>
                    <a:pt x="385" y="613"/>
                    <a:pt x="385" y="613"/>
                  </a:cubicBezTo>
                  <a:cubicBezTo>
                    <a:pt x="385" y="658"/>
                    <a:pt x="385" y="658"/>
                    <a:pt x="385" y="658"/>
                  </a:cubicBezTo>
                  <a:cubicBezTo>
                    <a:pt x="294" y="658"/>
                    <a:pt x="294" y="658"/>
                    <a:pt x="294" y="658"/>
                  </a:cubicBezTo>
                  <a:cubicBezTo>
                    <a:pt x="294" y="726"/>
                    <a:pt x="294" y="726"/>
                    <a:pt x="294" y="726"/>
                  </a:cubicBezTo>
                  <a:cubicBezTo>
                    <a:pt x="748" y="726"/>
                    <a:pt x="748" y="726"/>
                    <a:pt x="748" y="726"/>
                  </a:cubicBezTo>
                  <a:cubicBezTo>
                    <a:pt x="748" y="658"/>
                    <a:pt x="748" y="658"/>
                    <a:pt x="748" y="658"/>
                  </a:cubicBezTo>
                  <a:cubicBezTo>
                    <a:pt x="657" y="658"/>
                    <a:pt x="657" y="658"/>
                    <a:pt x="657" y="658"/>
                  </a:cubicBezTo>
                  <a:cubicBezTo>
                    <a:pt x="657" y="613"/>
                    <a:pt x="657" y="613"/>
                    <a:pt x="657" y="613"/>
                  </a:cubicBezTo>
                  <a:cubicBezTo>
                    <a:pt x="771" y="613"/>
                    <a:pt x="771" y="613"/>
                    <a:pt x="771" y="613"/>
                  </a:cubicBezTo>
                  <a:cubicBezTo>
                    <a:pt x="771" y="114"/>
                    <a:pt x="771" y="114"/>
                    <a:pt x="771" y="114"/>
                  </a:cubicBezTo>
                  <a:cubicBezTo>
                    <a:pt x="612" y="114"/>
                    <a:pt x="612" y="114"/>
                    <a:pt x="612" y="114"/>
                  </a:cubicBezTo>
                  <a:lnTo>
                    <a:pt x="612" y="0"/>
                  </a:lnTo>
                  <a:close/>
                  <a:moveTo>
                    <a:pt x="658" y="499"/>
                  </a:moveTo>
                  <a:cubicBezTo>
                    <a:pt x="204" y="499"/>
                    <a:pt x="204" y="499"/>
                    <a:pt x="204" y="499"/>
                  </a:cubicBezTo>
                  <a:cubicBezTo>
                    <a:pt x="204" y="431"/>
                    <a:pt x="204" y="431"/>
                    <a:pt x="204" y="431"/>
                  </a:cubicBezTo>
                  <a:cubicBezTo>
                    <a:pt x="658" y="431"/>
                    <a:pt x="658" y="431"/>
                    <a:pt x="658" y="431"/>
                  </a:cubicBezTo>
                  <a:lnTo>
                    <a:pt x="658" y="499"/>
                  </a:lnTo>
                  <a:close/>
                  <a:moveTo>
                    <a:pt x="658" y="386"/>
                  </a:moveTo>
                  <a:cubicBezTo>
                    <a:pt x="204" y="386"/>
                    <a:pt x="204" y="386"/>
                    <a:pt x="204" y="386"/>
                  </a:cubicBezTo>
                  <a:cubicBezTo>
                    <a:pt x="204" y="318"/>
                    <a:pt x="204" y="318"/>
                    <a:pt x="204" y="318"/>
                  </a:cubicBezTo>
                  <a:cubicBezTo>
                    <a:pt x="658" y="318"/>
                    <a:pt x="658" y="318"/>
                    <a:pt x="658" y="318"/>
                  </a:cubicBezTo>
                  <a:lnTo>
                    <a:pt x="658" y="386"/>
                  </a:lnTo>
                  <a:close/>
                  <a:moveTo>
                    <a:pt x="658" y="204"/>
                  </a:moveTo>
                  <a:cubicBezTo>
                    <a:pt x="658" y="272"/>
                    <a:pt x="658" y="272"/>
                    <a:pt x="658" y="272"/>
                  </a:cubicBezTo>
                  <a:cubicBezTo>
                    <a:pt x="204" y="272"/>
                    <a:pt x="204" y="272"/>
                    <a:pt x="204" y="272"/>
                  </a:cubicBezTo>
                  <a:cubicBezTo>
                    <a:pt x="204" y="204"/>
                    <a:pt x="204" y="204"/>
                    <a:pt x="204" y="204"/>
                  </a:cubicBezTo>
                  <a:lnTo>
                    <a:pt x="658" y="204"/>
                  </a:lnTo>
                  <a:close/>
                  <a:moveTo>
                    <a:pt x="975" y="204"/>
                  </a:moveTo>
                  <a:cubicBezTo>
                    <a:pt x="975" y="522"/>
                    <a:pt x="975" y="522"/>
                    <a:pt x="975" y="522"/>
                  </a:cubicBezTo>
                  <a:cubicBezTo>
                    <a:pt x="975" y="572"/>
                    <a:pt x="934" y="613"/>
                    <a:pt x="884" y="613"/>
                  </a:cubicBezTo>
                  <a:cubicBezTo>
                    <a:pt x="816" y="613"/>
                    <a:pt x="816" y="613"/>
                    <a:pt x="816" y="613"/>
                  </a:cubicBezTo>
                  <a:cubicBezTo>
                    <a:pt x="816" y="114"/>
                    <a:pt x="816" y="114"/>
                    <a:pt x="816" y="114"/>
                  </a:cubicBezTo>
                  <a:cubicBezTo>
                    <a:pt x="884" y="114"/>
                    <a:pt x="884" y="114"/>
                    <a:pt x="884" y="114"/>
                  </a:cubicBezTo>
                  <a:cubicBezTo>
                    <a:pt x="934" y="114"/>
                    <a:pt x="975" y="154"/>
                    <a:pt x="975" y="204"/>
                  </a:cubicBez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1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1" name="Sechseck 50">
              <a:extLst>
                <a:ext uri="{FF2B5EF4-FFF2-40B4-BE49-F238E27FC236}">
                  <a16:creationId xmlns:a16="http://schemas.microsoft.com/office/drawing/2014/main" id="{B8438235-9148-357C-697E-8983F45EC8AE}"/>
                </a:ext>
              </a:extLst>
            </p:cNvPr>
            <p:cNvSpPr>
              <a:spLocks noChangeAspect="1"/>
            </p:cNvSpPr>
            <p:nvPr/>
          </p:nvSpPr>
          <p:spPr bwMode="auto">
            <a:xfrm>
              <a:off x="6628072" y="928726"/>
              <a:ext cx="637152" cy="548851"/>
            </a:xfrm>
            <a:prstGeom prst="hexagon">
              <a:avLst/>
            </a:prstGeom>
            <a:solidFill>
              <a:srgbClr val="00C1B6"/>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ts val="0"/>
                </a:spcBef>
                <a:spcAft>
                  <a:spcPct val="0"/>
                </a:spcAft>
                <a:buClrTx/>
                <a:buSzTx/>
                <a:buFontTx/>
                <a:buNone/>
                <a:tabLst/>
                <a:defRPr/>
              </a:pPr>
              <a:endParaRPr kumimoji="0" lang="en-US" sz="15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2" name="Sechseck 51">
              <a:extLst>
                <a:ext uri="{FF2B5EF4-FFF2-40B4-BE49-F238E27FC236}">
                  <a16:creationId xmlns:a16="http://schemas.microsoft.com/office/drawing/2014/main" id="{AEF9D9B7-14C7-801D-A5CC-2FB55C9A33F0}"/>
                </a:ext>
              </a:extLst>
            </p:cNvPr>
            <p:cNvSpPr>
              <a:spLocks noChangeAspect="1"/>
            </p:cNvSpPr>
            <p:nvPr/>
          </p:nvSpPr>
          <p:spPr bwMode="auto">
            <a:xfrm>
              <a:off x="6628072" y="2079467"/>
              <a:ext cx="637152" cy="548851"/>
            </a:xfrm>
            <a:prstGeom prst="hexagon">
              <a:avLst/>
            </a:prstGeom>
            <a:solidFill>
              <a:srgbClr val="00C1B6"/>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ts val="0"/>
                </a:spcBef>
                <a:spcAft>
                  <a:spcPct val="0"/>
                </a:spcAft>
                <a:buClrTx/>
                <a:buSzTx/>
                <a:buFontTx/>
                <a:buNone/>
                <a:tabLst/>
                <a:defRPr/>
              </a:pPr>
              <a:endParaRPr kumimoji="0" lang="en-US" sz="15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3" name="Sechseck 52">
              <a:extLst>
                <a:ext uri="{FF2B5EF4-FFF2-40B4-BE49-F238E27FC236}">
                  <a16:creationId xmlns:a16="http://schemas.microsoft.com/office/drawing/2014/main" id="{2645DE8A-06E6-D353-EB11-56ADAEAEA176}"/>
                </a:ext>
              </a:extLst>
            </p:cNvPr>
            <p:cNvSpPr>
              <a:spLocks noChangeAspect="1"/>
            </p:cNvSpPr>
            <p:nvPr/>
          </p:nvSpPr>
          <p:spPr bwMode="auto">
            <a:xfrm>
              <a:off x="7157076" y="1217049"/>
              <a:ext cx="637152" cy="548851"/>
            </a:xfrm>
            <a:prstGeom prst="hexagon">
              <a:avLst/>
            </a:prstGeom>
            <a:solidFill>
              <a:srgbClr val="00C1B6"/>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ts val="0"/>
                </a:spcBef>
                <a:spcAft>
                  <a:spcPct val="0"/>
                </a:spcAft>
                <a:buClrTx/>
                <a:buSzTx/>
                <a:buFontTx/>
                <a:buNone/>
                <a:tabLst/>
                <a:defRPr/>
              </a:pPr>
              <a:endParaRPr kumimoji="0" lang="en-US" sz="15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4" name="Sechseck 53">
              <a:extLst>
                <a:ext uri="{FF2B5EF4-FFF2-40B4-BE49-F238E27FC236}">
                  <a16:creationId xmlns:a16="http://schemas.microsoft.com/office/drawing/2014/main" id="{23E652C5-5F71-A158-DD5A-609F38DCF5D9}"/>
                </a:ext>
              </a:extLst>
            </p:cNvPr>
            <p:cNvSpPr>
              <a:spLocks noChangeAspect="1"/>
            </p:cNvSpPr>
            <p:nvPr/>
          </p:nvSpPr>
          <p:spPr bwMode="auto">
            <a:xfrm>
              <a:off x="7155508" y="1795345"/>
              <a:ext cx="637152" cy="548851"/>
            </a:xfrm>
            <a:prstGeom prst="hexagon">
              <a:avLst/>
            </a:prstGeom>
            <a:solidFill>
              <a:srgbClr val="00C1B6"/>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ts val="0"/>
                </a:spcBef>
                <a:spcAft>
                  <a:spcPct val="0"/>
                </a:spcAft>
                <a:buClrTx/>
                <a:buSzTx/>
                <a:buFontTx/>
                <a:buNone/>
                <a:tabLst/>
                <a:defRPr/>
              </a:pPr>
              <a:endParaRPr kumimoji="0" lang="en-US" sz="15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5" name="Sechseck 54">
              <a:extLst>
                <a:ext uri="{FF2B5EF4-FFF2-40B4-BE49-F238E27FC236}">
                  <a16:creationId xmlns:a16="http://schemas.microsoft.com/office/drawing/2014/main" id="{976F0F12-C4D3-2966-0E4A-F7FC5C691378}"/>
                </a:ext>
              </a:extLst>
            </p:cNvPr>
            <p:cNvSpPr>
              <a:spLocks noChangeAspect="1"/>
            </p:cNvSpPr>
            <p:nvPr/>
          </p:nvSpPr>
          <p:spPr bwMode="auto">
            <a:xfrm>
              <a:off x="6098901" y="1217049"/>
              <a:ext cx="637152" cy="548851"/>
            </a:xfrm>
            <a:prstGeom prst="hexagon">
              <a:avLst/>
            </a:prstGeom>
            <a:solidFill>
              <a:srgbClr val="00C1B6"/>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ts val="0"/>
                </a:spcBef>
                <a:spcAft>
                  <a:spcPct val="0"/>
                </a:spcAft>
                <a:buClrTx/>
                <a:buSzTx/>
                <a:buFontTx/>
                <a:buNone/>
                <a:tabLst/>
                <a:defRPr/>
              </a:pPr>
              <a:endParaRPr kumimoji="0" lang="en-US" sz="15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6" name="Sechseck 55">
              <a:extLst>
                <a:ext uri="{FF2B5EF4-FFF2-40B4-BE49-F238E27FC236}">
                  <a16:creationId xmlns:a16="http://schemas.microsoft.com/office/drawing/2014/main" id="{52EA30C8-E5FC-BB20-F2B9-F3343D987875}"/>
                </a:ext>
              </a:extLst>
            </p:cNvPr>
            <p:cNvSpPr>
              <a:spLocks noChangeAspect="1"/>
            </p:cNvSpPr>
            <p:nvPr/>
          </p:nvSpPr>
          <p:spPr bwMode="auto">
            <a:xfrm>
              <a:off x="6098901" y="1795345"/>
              <a:ext cx="637152" cy="548851"/>
            </a:xfrm>
            <a:prstGeom prst="hexagon">
              <a:avLst/>
            </a:prstGeom>
            <a:solidFill>
              <a:srgbClr val="00C1B6"/>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ts val="0"/>
                </a:spcBef>
                <a:spcAft>
                  <a:spcPct val="0"/>
                </a:spcAft>
                <a:buClrTx/>
                <a:buSzTx/>
                <a:buFontTx/>
                <a:buNone/>
                <a:tabLst/>
                <a:defRPr/>
              </a:pPr>
              <a:endParaRPr kumimoji="0" lang="en-US" sz="15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grpSp>
          <p:nvGrpSpPr>
            <p:cNvPr id="57" name="Gruppieren 56">
              <a:extLst>
                <a:ext uri="{FF2B5EF4-FFF2-40B4-BE49-F238E27FC236}">
                  <a16:creationId xmlns:a16="http://schemas.microsoft.com/office/drawing/2014/main" id="{37F11263-26C0-CC2B-5CE3-F7563CF54174}"/>
                </a:ext>
              </a:extLst>
            </p:cNvPr>
            <p:cNvGrpSpPr/>
            <p:nvPr/>
          </p:nvGrpSpPr>
          <p:grpSpPr>
            <a:xfrm>
              <a:off x="6787578" y="1075482"/>
              <a:ext cx="318141" cy="255337"/>
              <a:chOff x="1096691" y="1409565"/>
              <a:chExt cx="236810" cy="190062"/>
            </a:xfrm>
          </p:grpSpPr>
          <p:sp>
            <p:nvSpPr>
              <p:cNvPr id="65" name="Freeform 28">
                <a:extLst>
                  <a:ext uri="{FF2B5EF4-FFF2-40B4-BE49-F238E27FC236}">
                    <a16:creationId xmlns:a16="http://schemas.microsoft.com/office/drawing/2014/main" id="{D909018C-283D-E2E2-7C6E-DFE528B4A307}"/>
                  </a:ext>
                </a:extLst>
              </p:cNvPr>
              <p:cNvSpPr>
                <a:spLocks/>
              </p:cNvSpPr>
              <p:nvPr/>
            </p:nvSpPr>
            <p:spPr bwMode="auto">
              <a:xfrm>
                <a:off x="1145318" y="1442095"/>
                <a:ext cx="139557" cy="91347"/>
              </a:xfrm>
              <a:custGeom>
                <a:avLst/>
                <a:gdLst>
                  <a:gd name="T0" fmla="*/ 496 w 545"/>
                  <a:gd name="T1" fmla="*/ 166 h 357"/>
                  <a:gd name="T2" fmla="*/ 278 w 545"/>
                  <a:gd name="T3" fmla="*/ 166 h 357"/>
                  <a:gd name="T4" fmla="*/ 278 w 545"/>
                  <a:gd name="T5" fmla="*/ 128 h 357"/>
                  <a:gd name="T6" fmla="*/ 330 w 545"/>
                  <a:gd name="T7" fmla="*/ 128 h 357"/>
                  <a:gd name="T8" fmla="*/ 330 w 545"/>
                  <a:gd name="T9" fmla="*/ 0 h 357"/>
                  <a:gd name="T10" fmla="*/ 203 w 545"/>
                  <a:gd name="T11" fmla="*/ 0 h 357"/>
                  <a:gd name="T12" fmla="*/ 203 w 545"/>
                  <a:gd name="T13" fmla="*/ 128 h 357"/>
                  <a:gd name="T14" fmla="*/ 252 w 545"/>
                  <a:gd name="T15" fmla="*/ 128 h 357"/>
                  <a:gd name="T16" fmla="*/ 252 w 545"/>
                  <a:gd name="T17" fmla="*/ 166 h 357"/>
                  <a:gd name="T18" fmla="*/ 49 w 545"/>
                  <a:gd name="T19" fmla="*/ 166 h 357"/>
                  <a:gd name="T20" fmla="*/ 49 w 545"/>
                  <a:gd name="T21" fmla="*/ 230 h 357"/>
                  <a:gd name="T22" fmla="*/ 0 w 545"/>
                  <a:gd name="T23" fmla="*/ 230 h 357"/>
                  <a:gd name="T24" fmla="*/ 0 w 545"/>
                  <a:gd name="T25" fmla="*/ 357 h 357"/>
                  <a:gd name="T26" fmla="*/ 127 w 545"/>
                  <a:gd name="T27" fmla="*/ 357 h 357"/>
                  <a:gd name="T28" fmla="*/ 127 w 545"/>
                  <a:gd name="T29" fmla="*/ 230 h 357"/>
                  <a:gd name="T30" fmla="*/ 75 w 545"/>
                  <a:gd name="T31" fmla="*/ 230 h 357"/>
                  <a:gd name="T32" fmla="*/ 75 w 545"/>
                  <a:gd name="T33" fmla="*/ 192 h 357"/>
                  <a:gd name="T34" fmla="*/ 252 w 545"/>
                  <a:gd name="T35" fmla="*/ 192 h 357"/>
                  <a:gd name="T36" fmla="*/ 252 w 545"/>
                  <a:gd name="T37" fmla="*/ 230 h 357"/>
                  <a:gd name="T38" fmla="*/ 203 w 545"/>
                  <a:gd name="T39" fmla="*/ 230 h 357"/>
                  <a:gd name="T40" fmla="*/ 203 w 545"/>
                  <a:gd name="T41" fmla="*/ 357 h 357"/>
                  <a:gd name="T42" fmla="*/ 330 w 545"/>
                  <a:gd name="T43" fmla="*/ 357 h 357"/>
                  <a:gd name="T44" fmla="*/ 330 w 545"/>
                  <a:gd name="T45" fmla="*/ 230 h 357"/>
                  <a:gd name="T46" fmla="*/ 278 w 545"/>
                  <a:gd name="T47" fmla="*/ 230 h 357"/>
                  <a:gd name="T48" fmla="*/ 278 w 545"/>
                  <a:gd name="T49" fmla="*/ 192 h 357"/>
                  <a:gd name="T50" fmla="*/ 470 w 545"/>
                  <a:gd name="T51" fmla="*/ 192 h 357"/>
                  <a:gd name="T52" fmla="*/ 470 w 545"/>
                  <a:gd name="T53" fmla="*/ 230 h 357"/>
                  <a:gd name="T54" fmla="*/ 418 w 545"/>
                  <a:gd name="T55" fmla="*/ 230 h 357"/>
                  <a:gd name="T56" fmla="*/ 418 w 545"/>
                  <a:gd name="T57" fmla="*/ 357 h 357"/>
                  <a:gd name="T58" fmla="*/ 545 w 545"/>
                  <a:gd name="T59" fmla="*/ 357 h 357"/>
                  <a:gd name="T60" fmla="*/ 545 w 545"/>
                  <a:gd name="T61" fmla="*/ 230 h 357"/>
                  <a:gd name="T62" fmla="*/ 496 w 545"/>
                  <a:gd name="T63" fmla="*/ 230 h 357"/>
                  <a:gd name="T64" fmla="*/ 496 w 545"/>
                  <a:gd name="T65" fmla="*/ 16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5" h="357">
                    <a:moveTo>
                      <a:pt x="496" y="166"/>
                    </a:moveTo>
                    <a:lnTo>
                      <a:pt x="278" y="166"/>
                    </a:lnTo>
                    <a:lnTo>
                      <a:pt x="278" y="128"/>
                    </a:lnTo>
                    <a:lnTo>
                      <a:pt x="330" y="128"/>
                    </a:lnTo>
                    <a:lnTo>
                      <a:pt x="330" y="0"/>
                    </a:lnTo>
                    <a:lnTo>
                      <a:pt x="203" y="0"/>
                    </a:lnTo>
                    <a:lnTo>
                      <a:pt x="203" y="128"/>
                    </a:lnTo>
                    <a:lnTo>
                      <a:pt x="252" y="128"/>
                    </a:lnTo>
                    <a:lnTo>
                      <a:pt x="252" y="166"/>
                    </a:lnTo>
                    <a:lnTo>
                      <a:pt x="49" y="166"/>
                    </a:lnTo>
                    <a:lnTo>
                      <a:pt x="49" y="230"/>
                    </a:lnTo>
                    <a:lnTo>
                      <a:pt x="0" y="230"/>
                    </a:lnTo>
                    <a:lnTo>
                      <a:pt x="0" y="357"/>
                    </a:lnTo>
                    <a:lnTo>
                      <a:pt x="127" y="357"/>
                    </a:lnTo>
                    <a:lnTo>
                      <a:pt x="127" y="230"/>
                    </a:lnTo>
                    <a:lnTo>
                      <a:pt x="75" y="230"/>
                    </a:lnTo>
                    <a:lnTo>
                      <a:pt x="75" y="192"/>
                    </a:lnTo>
                    <a:lnTo>
                      <a:pt x="252" y="192"/>
                    </a:lnTo>
                    <a:lnTo>
                      <a:pt x="252" y="230"/>
                    </a:lnTo>
                    <a:lnTo>
                      <a:pt x="203" y="230"/>
                    </a:lnTo>
                    <a:lnTo>
                      <a:pt x="203" y="357"/>
                    </a:lnTo>
                    <a:lnTo>
                      <a:pt x="330" y="357"/>
                    </a:lnTo>
                    <a:lnTo>
                      <a:pt x="330" y="230"/>
                    </a:lnTo>
                    <a:lnTo>
                      <a:pt x="278" y="230"/>
                    </a:lnTo>
                    <a:lnTo>
                      <a:pt x="278" y="192"/>
                    </a:lnTo>
                    <a:lnTo>
                      <a:pt x="470" y="192"/>
                    </a:lnTo>
                    <a:lnTo>
                      <a:pt x="470" y="230"/>
                    </a:lnTo>
                    <a:lnTo>
                      <a:pt x="418" y="230"/>
                    </a:lnTo>
                    <a:lnTo>
                      <a:pt x="418" y="357"/>
                    </a:lnTo>
                    <a:lnTo>
                      <a:pt x="545" y="357"/>
                    </a:lnTo>
                    <a:lnTo>
                      <a:pt x="545" y="230"/>
                    </a:lnTo>
                    <a:lnTo>
                      <a:pt x="496" y="230"/>
                    </a:lnTo>
                    <a:lnTo>
                      <a:pt x="496" y="166"/>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66" name="Freeform 29">
                <a:extLst>
                  <a:ext uri="{FF2B5EF4-FFF2-40B4-BE49-F238E27FC236}">
                    <a16:creationId xmlns:a16="http://schemas.microsoft.com/office/drawing/2014/main" id="{C917A6C5-338A-3E5F-78EF-F697391DC497}"/>
                  </a:ext>
                </a:extLst>
              </p:cNvPr>
              <p:cNvSpPr>
                <a:spLocks noEditPoints="1"/>
              </p:cNvSpPr>
              <p:nvPr/>
            </p:nvSpPr>
            <p:spPr bwMode="auto">
              <a:xfrm>
                <a:off x="1096691" y="1409565"/>
                <a:ext cx="236810" cy="190062"/>
              </a:xfrm>
              <a:custGeom>
                <a:avLst/>
                <a:gdLst>
                  <a:gd name="T0" fmla="*/ 31 w 1123"/>
                  <a:gd name="T1" fmla="*/ 2 h 902"/>
                  <a:gd name="T2" fmla="*/ 22 w 1123"/>
                  <a:gd name="T3" fmla="*/ 7 h 902"/>
                  <a:gd name="T4" fmla="*/ 15 w 1123"/>
                  <a:gd name="T5" fmla="*/ 14 h 902"/>
                  <a:gd name="T6" fmla="*/ 10 w 1123"/>
                  <a:gd name="T7" fmla="*/ 24 h 902"/>
                  <a:gd name="T8" fmla="*/ 5 w 1123"/>
                  <a:gd name="T9" fmla="*/ 31 h 902"/>
                  <a:gd name="T10" fmla="*/ 0 w 1123"/>
                  <a:gd name="T11" fmla="*/ 43 h 902"/>
                  <a:gd name="T12" fmla="*/ 0 w 1123"/>
                  <a:gd name="T13" fmla="*/ 52 h 902"/>
                  <a:gd name="T14" fmla="*/ 0 w 1123"/>
                  <a:gd name="T15" fmla="*/ 685 h 902"/>
                  <a:gd name="T16" fmla="*/ 0 w 1123"/>
                  <a:gd name="T17" fmla="*/ 694 h 902"/>
                  <a:gd name="T18" fmla="*/ 5 w 1123"/>
                  <a:gd name="T19" fmla="*/ 706 h 902"/>
                  <a:gd name="T20" fmla="*/ 10 w 1123"/>
                  <a:gd name="T21" fmla="*/ 716 h 902"/>
                  <a:gd name="T22" fmla="*/ 15 w 1123"/>
                  <a:gd name="T23" fmla="*/ 725 h 902"/>
                  <a:gd name="T24" fmla="*/ 22 w 1123"/>
                  <a:gd name="T25" fmla="*/ 730 h 902"/>
                  <a:gd name="T26" fmla="*/ 31 w 1123"/>
                  <a:gd name="T27" fmla="*/ 737 h 902"/>
                  <a:gd name="T28" fmla="*/ 43 w 1123"/>
                  <a:gd name="T29" fmla="*/ 739 h 902"/>
                  <a:gd name="T30" fmla="*/ 55 w 1123"/>
                  <a:gd name="T31" fmla="*/ 739 h 902"/>
                  <a:gd name="T32" fmla="*/ 466 w 1123"/>
                  <a:gd name="T33" fmla="*/ 739 h 902"/>
                  <a:gd name="T34" fmla="*/ 466 w 1123"/>
                  <a:gd name="T35" fmla="*/ 848 h 902"/>
                  <a:gd name="T36" fmla="*/ 329 w 1123"/>
                  <a:gd name="T37" fmla="*/ 848 h 902"/>
                  <a:gd name="T38" fmla="*/ 329 w 1123"/>
                  <a:gd name="T39" fmla="*/ 902 h 902"/>
                  <a:gd name="T40" fmla="*/ 794 w 1123"/>
                  <a:gd name="T41" fmla="*/ 902 h 902"/>
                  <a:gd name="T42" fmla="*/ 794 w 1123"/>
                  <a:gd name="T43" fmla="*/ 848 h 902"/>
                  <a:gd name="T44" fmla="*/ 657 w 1123"/>
                  <a:gd name="T45" fmla="*/ 848 h 902"/>
                  <a:gd name="T46" fmla="*/ 657 w 1123"/>
                  <a:gd name="T47" fmla="*/ 739 h 902"/>
                  <a:gd name="T48" fmla="*/ 1071 w 1123"/>
                  <a:gd name="T49" fmla="*/ 739 h 902"/>
                  <a:gd name="T50" fmla="*/ 1080 w 1123"/>
                  <a:gd name="T51" fmla="*/ 739 h 902"/>
                  <a:gd name="T52" fmla="*/ 1092 w 1123"/>
                  <a:gd name="T53" fmla="*/ 737 h 902"/>
                  <a:gd name="T54" fmla="*/ 1099 w 1123"/>
                  <a:gd name="T55" fmla="*/ 730 h 902"/>
                  <a:gd name="T56" fmla="*/ 1108 w 1123"/>
                  <a:gd name="T57" fmla="*/ 725 h 902"/>
                  <a:gd name="T58" fmla="*/ 1116 w 1123"/>
                  <a:gd name="T59" fmla="*/ 716 h 902"/>
                  <a:gd name="T60" fmla="*/ 1120 w 1123"/>
                  <a:gd name="T61" fmla="*/ 706 h 902"/>
                  <a:gd name="T62" fmla="*/ 1123 w 1123"/>
                  <a:gd name="T63" fmla="*/ 694 h 902"/>
                  <a:gd name="T64" fmla="*/ 1123 w 1123"/>
                  <a:gd name="T65" fmla="*/ 685 h 902"/>
                  <a:gd name="T66" fmla="*/ 1123 w 1123"/>
                  <a:gd name="T67" fmla="*/ 52 h 902"/>
                  <a:gd name="T68" fmla="*/ 1123 w 1123"/>
                  <a:gd name="T69" fmla="*/ 43 h 902"/>
                  <a:gd name="T70" fmla="*/ 1120 w 1123"/>
                  <a:gd name="T71" fmla="*/ 31 h 902"/>
                  <a:gd name="T72" fmla="*/ 1116 w 1123"/>
                  <a:gd name="T73" fmla="*/ 24 h 902"/>
                  <a:gd name="T74" fmla="*/ 1108 w 1123"/>
                  <a:gd name="T75" fmla="*/ 14 h 902"/>
                  <a:gd name="T76" fmla="*/ 1099 w 1123"/>
                  <a:gd name="T77" fmla="*/ 7 h 902"/>
                  <a:gd name="T78" fmla="*/ 1092 w 1123"/>
                  <a:gd name="T79" fmla="*/ 2 h 902"/>
                  <a:gd name="T80" fmla="*/ 1080 w 1123"/>
                  <a:gd name="T81" fmla="*/ 0 h 902"/>
                  <a:gd name="T82" fmla="*/ 43 w 1123"/>
                  <a:gd name="T83" fmla="*/ 0 h 902"/>
                  <a:gd name="T84" fmla="*/ 31 w 1123"/>
                  <a:gd name="T85" fmla="*/ 2 h 902"/>
                  <a:gd name="T86" fmla="*/ 55 w 1123"/>
                  <a:gd name="T87" fmla="*/ 52 h 902"/>
                  <a:gd name="T88" fmla="*/ 1071 w 1123"/>
                  <a:gd name="T89" fmla="*/ 52 h 902"/>
                  <a:gd name="T90" fmla="*/ 1071 w 1123"/>
                  <a:gd name="T91" fmla="*/ 685 h 902"/>
                  <a:gd name="T92" fmla="*/ 55 w 1123"/>
                  <a:gd name="T93" fmla="*/ 685 h 902"/>
                  <a:gd name="T94" fmla="*/ 55 w 1123"/>
                  <a:gd name="T95" fmla="*/ 5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3" h="902">
                    <a:moveTo>
                      <a:pt x="31" y="2"/>
                    </a:moveTo>
                    <a:lnTo>
                      <a:pt x="22" y="7"/>
                    </a:lnTo>
                    <a:lnTo>
                      <a:pt x="15" y="14"/>
                    </a:lnTo>
                    <a:lnTo>
                      <a:pt x="10" y="24"/>
                    </a:lnTo>
                    <a:lnTo>
                      <a:pt x="5" y="31"/>
                    </a:lnTo>
                    <a:lnTo>
                      <a:pt x="0" y="43"/>
                    </a:lnTo>
                    <a:lnTo>
                      <a:pt x="0" y="52"/>
                    </a:lnTo>
                    <a:lnTo>
                      <a:pt x="0" y="685"/>
                    </a:lnTo>
                    <a:lnTo>
                      <a:pt x="0" y="694"/>
                    </a:lnTo>
                    <a:lnTo>
                      <a:pt x="5" y="706"/>
                    </a:lnTo>
                    <a:lnTo>
                      <a:pt x="10" y="716"/>
                    </a:lnTo>
                    <a:lnTo>
                      <a:pt x="15" y="725"/>
                    </a:lnTo>
                    <a:lnTo>
                      <a:pt x="22" y="730"/>
                    </a:lnTo>
                    <a:lnTo>
                      <a:pt x="31" y="737"/>
                    </a:lnTo>
                    <a:lnTo>
                      <a:pt x="43" y="739"/>
                    </a:lnTo>
                    <a:lnTo>
                      <a:pt x="55" y="739"/>
                    </a:lnTo>
                    <a:lnTo>
                      <a:pt x="466" y="739"/>
                    </a:lnTo>
                    <a:lnTo>
                      <a:pt x="466" y="848"/>
                    </a:lnTo>
                    <a:lnTo>
                      <a:pt x="329" y="848"/>
                    </a:lnTo>
                    <a:lnTo>
                      <a:pt x="329" y="902"/>
                    </a:lnTo>
                    <a:lnTo>
                      <a:pt x="794" y="902"/>
                    </a:lnTo>
                    <a:lnTo>
                      <a:pt x="794" y="848"/>
                    </a:lnTo>
                    <a:lnTo>
                      <a:pt x="657" y="848"/>
                    </a:lnTo>
                    <a:lnTo>
                      <a:pt x="657" y="739"/>
                    </a:lnTo>
                    <a:lnTo>
                      <a:pt x="1071" y="739"/>
                    </a:lnTo>
                    <a:lnTo>
                      <a:pt x="1080" y="739"/>
                    </a:lnTo>
                    <a:lnTo>
                      <a:pt x="1092" y="737"/>
                    </a:lnTo>
                    <a:lnTo>
                      <a:pt x="1099" y="730"/>
                    </a:lnTo>
                    <a:lnTo>
                      <a:pt x="1108" y="725"/>
                    </a:lnTo>
                    <a:lnTo>
                      <a:pt x="1116" y="716"/>
                    </a:lnTo>
                    <a:lnTo>
                      <a:pt x="1120" y="706"/>
                    </a:lnTo>
                    <a:lnTo>
                      <a:pt x="1123" y="694"/>
                    </a:lnTo>
                    <a:lnTo>
                      <a:pt x="1123" y="685"/>
                    </a:lnTo>
                    <a:lnTo>
                      <a:pt x="1123" y="52"/>
                    </a:lnTo>
                    <a:lnTo>
                      <a:pt x="1123" y="43"/>
                    </a:lnTo>
                    <a:lnTo>
                      <a:pt x="1120" y="31"/>
                    </a:lnTo>
                    <a:lnTo>
                      <a:pt x="1116" y="24"/>
                    </a:lnTo>
                    <a:lnTo>
                      <a:pt x="1108" y="14"/>
                    </a:lnTo>
                    <a:lnTo>
                      <a:pt x="1099" y="7"/>
                    </a:lnTo>
                    <a:lnTo>
                      <a:pt x="1092" y="2"/>
                    </a:lnTo>
                    <a:lnTo>
                      <a:pt x="1080" y="0"/>
                    </a:lnTo>
                    <a:lnTo>
                      <a:pt x="43" y="0"/>
                    </a:lnTo>
                    <a:lnTo>
                      <a:pt x="31" y="2"/>
                    </a:lnTo>
                    <a:close/>
                    <a:moveTo>
                      <a:pt x="55" y="52"/>
                    </a:moveTo>
                    <a:lnTo>
                      <a:pt x="1071" y="52"/>
                    </a:lnTo>
                    <a:lnTo>
                      <a:pt x="1071" y="685"/>
                    </a:lnTo>
                    <a:lnTo>
                      <a:pt x="55" y="685"/>
                    </a:lnTo>
                    <a:lnTo>
                      <a:pt x="55" y="5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grpSp>
        <p:sp>
          <p:nvSpPr>
            <p:cNvPr id="58" name="SAGD, Siemens, Person, Figur, figure, mensch, human, menschen, humans, character, charakter, bildung, education, buch, lesen, book, read, reading">
              <a:extLst>
                <a:ext uri="{FF2B5EF4-FFF2-40B4-BE49-F238E27FC236}">
                  <a16:creationId xmlns:a16="http://schemas.microsoft.com/office/drawing/2014/main" id="{65268BA8-B8A2-75C4-7360-EA42934099DB}"/>
                </a:ext>
              </a:extLst>
            </p:cNvPr>
            <p:cNvSpPr>
              <a:spLocks noEditPoints="1"/>
            </p:cNvSpPr>
            <p:nvPr/>
          </p:nvSpPr>
          <p:spPr bwMode="auto">
            <a:xfrm>
              <a:off x="6817190" y="2180574"/>
              <a:ext cx="254483" cy="336594"/>
            </a:xfrm>
            <a:custGeom>
              <a:avLst/>
              <a:gdLst>
                <a:gd name="T0" fmla="*/ 247 w 771"/>
                <a:gd name="T1" fmla="*/ 158 h 1019"/>
                <a:gd name="T2" fmla="*/ 386 w 771"/>
                <a:gd name="T3" fmla="*/ 0 h 1019"/>
                <a:gd name="T4" fmla="*/ 525 w 771"/>
                <a:gd name="T5" fmla="*/ 158 h 1019"/>
                <a:gd name="T6" fmla="*/ 386 w 771"/>
                <a:gd name="T7" fmla="*/ 317 h 1019"/>
                <a:gd name="T8" fmla="*/ 247 w 771"/>
                <a:gd name="T9" fmla="*/ 158 h 1019"/>
                <a:gd name="T10" fmla="*/ 385 w 771"/>
                <a:gd name="T11" fmla="*/ 526 h 1019"/>
                <a:gd name="T12" fmla="*/ 623 w 771"/>
                <a:gd name="T13" fmla="*/ 377 h 1019"/>
                <a:gd name="T14" fmla="*/ 586 w 771"/>
                <a:gd name="T15" fmla="*/ 368 h 1019"/>
                <a:gd name="T16" fmla="*/ 586 w 771"/>
                <a:gd name="T17" fmla="*/ 367 h 1019"/>
                <a:gd name="T18" fmla="*/ 485 w 771"/>
                <a:gd name="T19" fmla="*/ 360 h 1019"/>
                <a:gd name="T20" fmla="*/ 485 w 771"/>
                <a:gd name="T21" fmla="*/ 360 h 1019"/>
                <a:gd name="T22" fmla="*/ 484 w 771"/>
                <a:gd name="T23" fmla="*/ 360 h 1019"/>
                <a:gd name="T24" fmla="*/ 386 w 771"/>
                <a:gd name="T25" fmla="*/ 459 h 1019"/>
                <a:gd name="T26" fmla="*/ 386 w 771"/>
                <a:gd name="T27" fmla="*/ 459 h 1019"/>
                <a:gd name="T28" fmla="*/ 288 w 771"/>
                <a:gd name="T29" fmla="*/ 360 h 1019"/>
                <a:gd name="T30" fmla="*/ 288 w 771"/>
                <a:gd name="T31" fmla="*/ 360 h 1019"/>
                <a:gd name="T32" fmla="*/ 288 w 771"/>
                <a:gd name="T33" fmla="*/ 360 h 1019"/>
                <a:gd name="T34" fmla="*/ 186 w 771"/>
                <a:gd name="T35" fmla="*/ 367 h 1019"/>
                <a:gd name="T36" fmla="*/ 186 w 771"/>
                <a:gd name="T37" fmla="*/ 368 h 1019"/>
                <a:gd name="T38" fmla="*/ 148 w 771"/>
                <a:gd name="T39" fmla="*/ 378 h 1019"/>
                <a:gd name="T40" fmla="*/ 385 w 771"/>
                <a:gd name="T41" fmla="*/ 526 h 1019"/>
                <a:gd name="T42" fmla="*/ 771 w 771"/>
                <a:gd name="T43" fmla="*/ 622 h 1019"/>
                <a:gd name="T44" fmla="*/ 702 w 771"/>
                <a:gd name="T45" fmla="*/ 690 h 1019"/>
                <a:gd name="T46" fmla="*/ 702 w 771"/>
                <a:gd name="T47" fmla="*/ 821 h 1019"/>
                <a:gd name="T48" fmla="*/ 385 w 771"/>
                <a:gd name="T49" fmla="*/ 1019 h 1019"/>
                <a:gd name="T50" fmla="*/ 385 w 771"/>
                <a:gd name="T51" fmla="*/ 1019 h 1019"/>
                <a:gd name="T52" fmla="*/ 68 w 771"/>
                <a:gd name="T53" fmla="*/ 821 h 1019"/>
                <a:gd name="T54" fmla="*/ 68 w 771"/>
                <a:gd name="T55" fmla="*/ 690 h 1019"/>
                <a:gd name="T56" fmla="*/ 0 w 771"/>
                <a:gd name="T57" fmla="*/ 622 h 1019"/>
                <a:gd name="T58" fmla="*/ 68 w 771"/>
                <a:gd name="T59" fmla="*/ 554 h 1019"/>
                <a:gd name="T60" fmla="*/ 68 w 771"/>
                <a:gd name="T61" fmla="*/ 520 h 1019"/>
                <a:gd name="T62" fmla="*/ 68 w 771"/>
                <a:gd name="T63" fmla="*/ 413 h 1019"/>
                <a:gd name="T64" fmla="*/ 385 w 771"/>
                <a:gd name="T65" fmla="*/ 611 h 1019"/>
                <a:gd name="T66" fmla="*/ 702 w 771"/>
                <a:gd name="T67" fmla="*/ 413 h 1019"/>
                <a:gd name="T68" fmla="*/ 702 w 771"/>
                <a:gd name="T69" fmla="*/ 520 h 1019"/>
                <a:gd name="T70" fmla="*/ 702 w 771"/>
                <a:gd name="T71" fmla="*/ 554 h 1019"/>
                <a:gd name="T72" fmla="*/ 771 w 771"/>
                <a:gd name="T73" fmla="*/ 622 h 1019"/>
                <a:gd name="T74" fmla="*/ 113 w 771"/>
                <a:gd name="T75" fmla="*/ 796 h 1019"/>
                <a:gd name="T76" fmla="*/ 362 w 771"/>
                <a:gd name="T77" fmla="*/ 951 h 1019"/>
                <a:gd name="T78" fmla="*/ 362 w 771"/>
                <a:gd name="T79" fmla="*/ 649 h 1019"/>
                <a:gd name="T80" fmla="*/ 340 w 771"/>
                <a:gd name="T81" fmla="*/ 636 h 1019"/>
                <a:gd name="T82" fmla="*/ 113 w 771"/>
                <a:gd name="T83" fmla="*/ 494 h 1019"/>
                <a:gd name="T84" fmla="*/ 113 w 771"/>
                <a:gd name="T85" fmla="*/ 520 h 1019"/>
                <a:gd name="T86" fmla="*/ 113 w 771"/>
                <a:gd name="T87" fmla="*/ 796 h 1019"/>
                <a:gd name="T88" fmla="*/ 657 w 771"/>
                <a:gd name="T89" fmla="*/ 494 h 1019"/>
                <a:gd name="T90" fmla="*/ 408 w 771"/>
                <a:gd name="T91" fmla="*/ 649 h 1019"/>
                <a:gd name="T92" fmla="*/ 408 w 771"/>
                <a:gd name="T93" fmla="*/ 951 h 1019"/>
                <a:gd name="T94" fmla="*/ 657 w 771"/>
                <a:gd name="T95" fmla="*/ 796 h 1019"/>
                <a:gd name="T96" fmla="*/ 657 w 771"/>
                <a:gd name="T97" fmla="*/ 520 h 1019"/>
                <a:gd name="T98" fmla="*/ 657 w 771"/>
                <a:gd name="T99" fmla="*/ 494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1" h="1019">
                  <a:moveTo>
                    <a:pt x="247" y="158"/>
                  </a:moveTo>
                  <a:cubicBezTo>
                    <a:pt x="247" y="63"/>
                    <a:pt x="303" y="0"/>
                    <a:pt x="386" y="0"/>
                  </a:cubicBezTo>
                  <a:cubicBezTo>
                    <a:pt x="469" y="0"/>
                    <a:pt x="525" y="63"/>
                    <a:pt x="525" y="158"/>
                  </a:cubicBezTo>
                  <a:cubicBezTo>
                    <a:pt x="525" y="254"/>
                    <a:pt x="469" y="317"/>
                    <a:pt x="386" y="317"/>
                  </a:cubicBezTo>
                  <a:cubicBezTo>
                    <a:pt x="303" y="317"/>
                    <a:pt x="247" y="254"/>
                    <a:pt x="247" y="158"/>
                  </a:cubicBezTo>
                  <a:close/>
                  <a:moveTo>
                    <a:pt x="385" y="526"/>
                  </a:moveTo>
                  <a:cubicBezTo>
                    <a:pt x="623" y="377"/>
                    <a:pt x="623" y="377"/>
                    <a:pt x="623" y="377"/>
                  </a:cubicBezTo>
                  <a:cubicBezTo>
                    <a:pt x="612" y="372"/>
                    <a:pt x="599" y="369"/>
                    <a:pt x="586" y="368"/>
                  </a:cubicBezTo>
                  <a:cubicBezTo>
                    <a:pt x="586" y="367"/>
                    <a:pt x="586" y="367"/>
                    <a:pt x="586" y="367"/>
                  </a:cubicBezTo>
                  <a:cubicBezTo>
                    <a:pt x="485" y="360"/>
                    <a:pt x="485" y="360"/>
                    <a:pt x="485" y="360"/>
                  </a:cubicBezTo>
                  <a:cubicBezTo>
                    <a:pt x="485" y="360"/>
                    <a:pt x="485" y="360"/>
                    <a:pt x="485" y="360"/>
                  </a:cubicBezTo>
                  <a:cubicBezTo>
                    <a:pt x="484" y="360"/>
                    <a:pt x="484" y="360"/>
                    <a:pt x="484" y="360"/>
                  </a:cubicBezTo>
                  <a:cubicBezTo>
                    <a:pt x="386" y="459"/>
                    <a:pt x="386" y="459"/>
                    <a:pt x="386" y="459"/>
                  </a:cubicBezTo>
                  <a:cubicBezTo>
                    <a:pt x="386" y="459"/>
                    <a:pt x="386" y="459"/>
                    <a:pt x="386" y="459"/>
                  </a:cubicBezTo>
                  <a:cubicBezTo>
                    <a:pt x="288" y="360"/>
                    <a:pt x="288" y="360"/>
                    <a:pt x="288" y="360"/>
                  </a:cubicBezTo>
                  <a:cubicBezTo>
                    <a:pt x="288" y="360"/>
                    <a:pt x="288" y="360"/>
                    <a:pt x="288" y="360"/>
                  </a:cubicBezTo>
                  <a:cubicBezTo>
                    <a:pt x="288" y="360"/>
                    <a:pt x="288" y="360"/>
                    <a:pt x="288" y="360"/>
                  </a:cubicBezTo>
                  <a:cubicBezTo>
                    <a:pt x="186" y="367"/>
                    <a:pt x="186" y="367"/>
                    <a:pt x="186" y="367"/>
                  </a:cubicBezTo>
                  <a:cubicBezTo>
                    <a:pt x="186" y="368"/>
                    <a:pt x="186" y="368"/>
                    <a:pt x="186" y="368"/>
                  </a:cubicBezTo>
                  <a:cubicBezTo>
                    <a:pt x="172" y="369"/>
                    <a:pt x="160" y="372"/>
                    <a:pt x="148" y="378"/>
                  </a:cubicBezTo>
                  <a:cubicBezTo>
                    <a:pt x="385" y="526"/>
                    <a:pt x="385" y="526"/>
                    <a:pt x="385" y="526"/>
                  </a:cubicBezTo>
                  <a:close/>
                  <a:moveTo>
                    <a:pt x="771" y="622"/>
                  </a:moveTo>
                  <a:cubicBezTo>
                    <a:pt x="771" y="660"/>
                    <a:pt x="740" y="690"/>
                    <a:pt x="702" y="690"/>
                  </a:cubicBezTo>
                  <a:cubicBezTo>
                    <a:pt x="702" y="821"/>
                    <a:pt x="702" y="821"/>
                    <a:pt x="702" y="821"/>
                  </a:cubicBezTo>
                  <a:cubicBezTo>
                    <a:pt x="385" y="1019"/>
                    <a:pt x="385" y="1019"/>
                    <a:pt x="385" y="1019"/>
                  </a:cubicBezTo>
                  <a:cubicBezTo>
                    <a:pt x="385" y="1019"/>
                    <a:pt x="385" y="1019"/>
                    <a:pt x="385" y="1019"/>
                  </a:cubicBezTo>
                  <a:cubicBezTo>
                    <a:pt x="68" y="821"/>
                    <a:pt x="68" y="821"/>
                    <a:pt x="68" y="821"/>
                  </a:cubicBezTo>
                  <a:cubicBezTo>
                    <a:pt x="68" y="690"/>
                    <a:pt x="68" y="690"/>
                    <a:pt x="68" y="690"/>
                  </a:cubicBezTo>
                  <a:cubicBezTo>
                    <a:pt x="30" y="690"/>
                    <a:pt x="0" y="660"/>
                    <a:pt x="0" y="622"/>
                  </a:cubicBezTo>
                  <a:cubicBezTo>
                    <a:pt x="0" y="585"/>
                    <a:pt x="30" y="554"/>
                    <a:pt x="68" y="554"/>
                  </a:cubicBezTo>
                  <a:cubicBezTo>
                    <a:pt x="68" y="520"/>
                    <a:pt x="68" y="520"/>
                    <a:pt x="68" y="520"/>
                  </a:cubicBezTo>
                  <a:cubicBezTo>
                    <a:pt x="68" y="413"/>
                    <a:pt x="68" y="413"/>
                    <a:pt x="68" y="413"/>
                  </a:cubicBezTo>
                  <a:cubicBezTo>
                    <a:pt x="385" y="611"/>
                    <a:pt x="385" y="611"/>
                    <a:pt x="385" y="611"/>
                  </a:cubicBezTo>
                  <a:cubicBezTo>
                    <a:pt x="702" y="413"/>
                    <a:pt x="702" y="413"/>
                    <a:pt x="702" y="413"/>
                  </a:cubicBezTo>
                  <a:cubicBezTo>
                    <a:pt x="702" y="520"/>
                    <a:pt x="702" y="520"/>
                    <a:pt x="702" y="520"/>
                  </a:cubicBezTo>
                  <a:cubicBezTo>
                    <a:pt x="702" y="554"/>
                    <a:pt x="702" y="554"/>
                    <a:pt x="702" y="554"/>
                  </a:cubicBezTo>
                  <a:cubicBezTo>
                    <a:pt x="740" y="554"/>
                    <a:pt x="771" y="584"/>
                    <a:pt x="771" y="622"/>
                  </a:cubicBezTo>
                  <a:close/>
                  <a:moveTo>
                    <a:pt x="113" y="796"/>
                  </a:moveTo>
                  <a:cubicBezTo>
                    <a:pt x="362" y="951"/>
                    <a:pt x="362" y="951"/>
                    <a:pt x="362" y="951"/>
                  </a:cubicBezTo>
                  <a:cubicBezTo>
                    <a:pt x="362" y="649"/>
                    <a:pt x="362" y="649"/>
                    <a:pt x="362" y="649"/>
                  </a:cubicBezTo>
                  <a:cubicBezTo>
                    <a:pt x="340" y="636"/>
                    <a:pt x="340" y="636"/>
                    <a:pt x="340" y="636"/>
                  </a:cubicBezTo>
                  <a:cubicBezTo>
                    <a:pt x="113" y="494"/>
                    <a:pt x="113" y="494"/>
                    <a:pt x="113" y="494"/>
                  </a:cubicBezTo>
                  <a:cubicBezTo>
                    <a:pt x="113" y="520"/>
                    <a:pt x="113" y="520"/>
                    <a:pt x="113" y="520"/>
                  </a:cubicBezTo>
                  <a:lnTo>
                    <a:pt x="113" y="796"/>
                  </a:lnTo>
                  <a:close/>
                  <a:moveTo>
                    <a:pt x="657" y="494"/>
                  </a:moveTo>
                  <a:cubicBezTo>
                    <a:pt x="408" y="649"/>
                    <a:pt x="408" y="649"/>
                    <a:pt x="408" y="649"/>
                  </a:cubicBezTo>
                  <a:cubicBezTo>
                    <a:pt x="408" y="951"/>
                    <a:pt x="408" y="951"/>
                    <a:pt x="408" y="951"/>
                  </a:cubicBezTo>
                  <a:cubicBezTo>
                    <a:pt x="657" y="796"/>
                    <a:pt x="657" y="796"/>
                    <a:pt x="657" y="796"/>
                  </a:cubicBezTo>
                  <a:cubicBezTo>
                    <a:pt x="657" y="520"/>
                    <a:pt x="657" y="520"/>
                    <a:pt x="657" y="520"/>
                  </a:cubicBezTo>
                  <a:lnTo>
                    <a:pt x="657" y="494"/>
                  </a:lnTo>
                  <a:close/>
                </a:path>
              </a:pathLst>
            </a:custGeom>
            <a:solidFill>
              <a:schemeClr val="accent6"/>
            </a:solidFill>
            <a:ln>
              <a:noFill/>
            </a:ln>
          </p:spPr>
          <p:txBody>
            <a:bodyPr vert="horz" wrap="square" lIns="91392" tIns="45696" rIns="91392" bIns="45696" numCol="1" anchor="t" anchorCtr="0" compatLnSpc="1">
              <a:prstTxWarp prst="textNoShape">
                <a:avLst/>
              </a:prstTxWarp>
            </a:bodyP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59" name="Freihandform: Form 58">
              <a:extLst>
                <a:ext uri="{FF2B5EF4-FFF2-40B4-BE49-F238E27FC236}">
                  <a16:creationId xmlns:a16="http://schemas.microsoft.com/office/drawing/2014/main" id="{57E06C87-0977-5CBC-9614-9898A00C78ED}"/>
                </a:ext>
              </a:extLst>
            </p:cNvPr>
            <p:cNvSpPr/>
            <p:nvPr/>
          </p:nvSpPr>
          <p:spPr>
            <a:xfrm>
              <a:off x="7343315" y="1942739"/>
              <a:ext cx="261539" cy="254061"/>
            </a:xfrm>
            <a:custGeom>
              <a:avLst/>
              <a:gdLst>
                <a:gd name="connsiteX0" fmla="*/ 917222 w 1605118"/>
                <a:gd name="connsiteY0" fmla="*/ 1051258 h 1559253"/>
                <a:gd name="connsiteX1" fmla="*/ 1284063 w 1605118"/>
                <a:gd name="connsiteY1" fmla="*/ 791437 h 1559253"/>
                <a:gd name="connsiteX2" fmla="*/ 1284063 w 1605118"/>
                <a:gd name="connsiteY2" fmla="*/ 1559173 h 1559253"/>
                <a:gd name="connsiteX3" fmla="*/ 917222 w 1605118"/>
                <a:gd name="connsiteY3" fmla="*/ 1559173 h 1559253"/>
                <a:gd name="connsiteX4" fmla="*/ 917222 w 1605118"/>
                <a:gd name="connsiteY4" fmla="*/ 1051258 h 1559253"/>
                <a:gd name="connsiteX5" fmla="*/ 1473105 w 1605118"/>
                <a:gd name="connsiteY5" fmla="*/ 596166 h 1559253"/>
                <a:gd name="connsiteX6" fmla="*/ 1375793 w 1605118"/>
                <a:gd name="connsiteY6" fmla="*/ 703266 h 1559253"/>
                <a:gd name="connsiteX7" fmla="*/ 1375793 w 1605118"/>
                <a:gd name="connsiteY7" fmla="*/ 1559173 h 1559253"/>
                <a:gd name="connsiteX8" fmla="*/ 1605119 w 1605118"/>
                <a:gd name="connsiteY8" fmla="*/ 1559173 h 1559253"/>
                <a:gd name="connsiteX9" fmla="*/ 1605119 w 1605118"/>
                <a:gd name="connsiteY9" fmla="*/ 596166 h 1559253"/>
                <a:gd name="connsiteX10" fmla="*/ 1473105 w 1605118"/>
                <a:gd name="connsiteY10" fmla="*/ 596166 h 1559253"/>
                <a:gd name="connsiteX11" fmla="*/ 0 w 1605118"/>
                <a:gd name="connsiteY11" fmla="*/ 1559253 h 1559253"/>
                <a:gd name="connsiteX12" fmla="*/ 825492 w 1605118"/>
                <a:gd name="connsiteY12" fmla="*/ 1559253 h 1559253"/>
                <a:gd name="connsiteX13" fmla="*/ 825492 w 1605118"/>
                <a:gd name="connsiteY13" fmla="*/ 1098175 h 1559253"/>
                <a:gd name="connsiteX14" fmla="*/ 0 w 1605118"/>
                <a:gd name="connsiteY14" fmla="*/ 1284063 h 1559253"/>
                <a:gd name="connsiteX15" fmla="*/ 0 w 1605118"/>
                <a:gd name="connsiteY15" fmla="*/ 1559253 h 1559253"/>
                <a:gd name="connsiteX16" fmla="*/ 1483539 w 1605118"/>
                <a:gd name="connsiteY16" fmla="*/ 245908 h 1559253"/>
                <a:gd name="connsiteX17" fmla="*/ 1497695 w 1605118"/>
                <a:gd name="connsiteY17" fmla="*/ 448459 h 1559253"/>
                <a:gd name="connsiteX18" fmla="*/ 1605119 w 1605118"/>
                <a:gd name="connsiteY18" fmla="*/ 448459 h 1559253"/>
                <a:gd name="connsiteX19" fmla="*/ 1605119 w 1605118"/>
                <a:gd name="connsiteY19" fmla="*/ 0 h 1559253"/>
                <a:gd name="connsiteX20" fmla="*/ 1156578 w 1605118"/>
                <a:gd name="connsiteY20" fmla="*/ 0 h 1559253"/>
                <a:gd name="connsiteX21" fmla="*/ 1156578 w 1605118"/>
                <a:gd name="connsiteY21" fmla="*/ 107423 h 1559253"/>
                <a:gd name="connsiteX22" fmla="*/ 1343275 w 1605118"/>
                <a:gd name="connsiteY22" fmla="*/ 120447 h 1559253"/>
                <a:gd name="connsiteX23" fmla="*/ 0 w 1605118"/>
                <a:gd name="connsiteY23" fmla="*/ 928547 h 1559253"/>
                <a:gd name="connsiteX24" fmla="*/ 0 w 1605118"/>
                <a:gd name="connsiteY24" fmla="*/ 1112008 h 1559253"/>
                <a:gd name="connsiteX25" fmla="*/ 1483539 w 1605118"/>
                <a:gd name="connsiteY25" fmla="*/ 245908 h 15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05118" h="1559253">
                  <a:moveTo>
                    <a:pt x="917222" y="1051258"/>
                  </a:moveTo>
                  <a:cubicBezTo>
                    <a:pt x="1048023" y="979994"/>
                    <a:pt x="1171139" y="893117"/>
                    <a:pt x="1284063" y="791437"/>
                  </a:cubicBezTo>
                  <a:lnTo>
                    <a:pt x="1284063" y="1559173"/>
                  </a:lnTo>
                  <a:lnTo>
                    <a:pt x="917222" y="1559173"/>
                  </a:lnTo>
                  <a:lnTo>
                    <a:pt x="917222" y="1051258"/>
                  </a:lnTo>
                  <a:close/>
                  <a:moveTo>
                    <a:pt x="1473105" y="596166"/>
                  </a:moveTo>
                  <a:cubicBezTo>
                    <a:pt x="1442204" y="632891"/>
                    <a:pt x="1409686" y="668564"/>
                    <a:pt x="1375793" y="703266"/>
                  </a:cubicBezTo>
                  <a:lnTo>
                    <a:pt x="1375793" y="1559173"/>
                  </a:lnTo>
                  <a:lnTo>
                    <a:pt x="1605119" y="1559173"/>
                  </a:lnTo>
                  <a:lnTo>
                    <a:pt x="1605119" y="596166"/>
                  </a:lnTo>
                  <a:lnTo>
                    <a:pt x="1473105" y="596166"/>
                  </a:lnTo>
                  <a:close/>
                  <a:moveTo>
                    <a:pt x="0" y="1559253"/>
                  </a:moveTo>
                  <a:lnTo>
                    <a:pt x="825492" y="1559253"/>
                  </a:lnTo>
                  <a:lnTo>
                    <a:pt x="825492" y="1098175"/>
                  </a:lnTo>
                  <a:cubicBezTo>
                    <a:pt x="570848" y="1219512"/>
                    <a:pt x="290398" y="1283739"/>
                    <a:pt x="0" y="1284063"/>
                  </a:cubicBezTo>
                  <a:lnTo>
                    <a:pt x="0" y="1559253"/>
                  </a:lnTo>
                  <a:close/>
                  <a:moveTo>
                    <a:pt x="1483539" y="245908"/>
                  </a:moveTo>
                  <a:lnTo>
                    <a:pt x="1497695" y="448459"/>
                  </a:lnTo>
                  <a:lnTo>
                    <a:pt x="1605119" y="448459"/>
                  </a:lnTo>
                  <a:lnTo>
                    <a:pt x="1605119" y="0"/>
                  </a:lnTo>
                  <a:lnTo>
                    <a:pt x="1156578" y="0"/>
                  </a:lnTo>
                  <a:lnTo>
                    <a:pt x="1156578" y="107423"/>
                  </a:lnTo>
                  <a:lnTo>
                    <a:pt x="1343275" y="120447"/>
                  </a:lnTo>
                  <a:cubicBezTo>
                    <a:pt x="1086689" y="600292"/>
                    <a:pt x="580959" y="927738"/>
                    <a:pt x="0" y="928547"/>
                  </a:cubicBezTo>
                  <a:lnTo>
                    <a:pt x="0" y="1112008"/>
                  </a:lnTo>
                  <a:cubicBezTo>
                    <a:pt x="634994" y="1111199"/>
                    <a:pt x="1189825" y="762073"/>
                    <a:pt x="1483539" y="245908"/>
                  </a:cubicBezTo>
                  <a:close/>
                </a:path>
              </a:pathLst>
            </a:custGeom>
            <a:solidFill>
              <a:schemeClr val="accent6"/>
            </a:solidFill>
            <a:ln w="8085" cap="flat">
              <a:noFill/>
              <a:prstDash val="solid"/>
              <a:miter/>
            </a:ln>
          </p:spPr>
          <p:txBody>
            <a:bodyPr rtlCol="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60" name="Freihandform: Form 59">
              <a:extLst>
                <a:ext uri="{FF2B5EF4-FFF2-40B4-BE49-F238E27FC236}">
                  <a16:creationId xmlns:a16="http://schemas.microsoft.com/office/drawing/2014/main" id="{9B9E589F-C945-7964-A5C3-29BF8CB52AA3}"/>
                </a:ext>
              </a:extLst>
            </p:cNvPr>
            <p:cNvSpPr/>
            <p:nvPr/>
          </p:nvSpPr>
          <p:spPr>
            <a:xfrm>
              <a:off x="6250729" y="1937917"/>
              <a:ext cx="333496" cy="263704"/>
            </a:xfrm>
            <a:custGeom>
              <a:avLst/>
              <a:gdLst>
                <a:gd name="connsiteX0" fmla="*/ 1267997 w 2234351"/>
                <a:gd name="connsiteY0" fmla="*/ 803156 h 1766759"/>
                <a:gd name="connsiteX1" fmla="*/ 674798 w 2234351"/>
                <a:gd name="connsiteY1" fmla="*/ 1508210 h 1766759"/>
                <a:gd name="connsiteX2" fmla="*/ 82516 w 2234351"/>
                <a:gd name="connsiteY2" fmla="*/ 804073 h 1766759"/>
                <a:gd name="connsiteX3" fmla="*/ 82516 w 2234351"/>
                <a:gd name="connsiteY3" fmla="*/ 803156 h 1766759"/>
                <a:gd name="connsiteX4" fmla="*/ 82516 w 2234351"/>
                <a:gd name="connsiteY4" fmla="*/ 803156 h 1766759"/>
                <a:gd name="connsiteX5" fmla="*/ 82516 w 2234351"/>
                <a:gd name="connsiteY5" fmla="*/ 803156 h 1766759"/>
                <a:gd name="connsiteX6" fmla="*/ 0 w 2234351"/>
                <a:gd name="connsiteY6" fmla="*/ 572111 h 1766759"/>
                <a:gd name="connsiteX7" fmla="*/ 363988 w 2234351"/>
                <a:gd name="connsiteY7" fmla="*/ 208124 h 1766759"/>
                <a:gd name="connsiteX8" fmla="*/ 675715 w 2234351"/>
                <a:gd name="connsiteY8" fmla="*/ 384158 h 1766759"/>
                <a:gd name="connsiteX9" fmla="*/ 987442 w 2234351"/>
                <a:gd name="connsiteY9" fmla="*/ 208124 h 1766759"/>
                <a:gd name="connsiteX10" fmla="*/ 1351430 w 2234351"/>
                <a:gd name="connsiteY10" fmla="*/ 572111 h 1766759"/>
                <a:gd name="connsiteX11" fmla="*/ 1267997 w 2234351"/>
                <a:gd name="connsiteY11" fmla="*/ 803156 h 1766759"/>
                <a:gd name="connsiteX12" fmla="*/ 1267997 w 2234351"/>
                <a:gd name="connsiteY12" fmla="*/ 803156 h 1766759"/>
                <a:gd name="connsiteX13" fmla="*/ 2234352 w 2234351"/>
                <a:gd name="connsiteY13" fmla="*/ 0 h 1766759"/>
                <a:gd name="connsiteX14" fmla="*/ 2234352 w 2234351"/>
                <a:gd name="connsiteY14" fmla="*/ 467591 h 1766759"/>
                <a:gd name="connsiteX15" fmla="*/ 1948296 w 2234351"/>
                <a:gd name="connsiteY15" fmla="*/ 801322 h 1766759"/>
                <a:gd name="connsiteX16" fmla="*/ 1948296 w 2234351"/>
                <a:gd name="connsiteY16" fmla="*/ 1480704 h 1766759"/>
                <a:gd name="connsiteX17" fmla="*/ 1662240 w 2234351"/>
                <a:gd name="connsiteY17" fmla="*/ 1766760 h 1766759"/>
                <a:gd name="connsiteX18" fmla="*/ 1376185 w 2234351"/>
                <a:gd name="connsiteY18" fmla="*/ 1480704 h 1766759"/>
                <a:gd name="connsiteX19" fmla="*/ 1376185 w 2234351"/>
                <a:gd name="connsiteY19" fmla="*/ 1480704 h 1766759"/>
                <a:gd name="connsiteX20" fmla="*/ 1376185 w 2234351"/>
                <a:gd name="connsiteY20" fmla="*/ 1447698 h 1766759"/>
                <a:gd name="connsiteX21" fmla="*/ 1245993 w 2234351"/>
                <a:gd name="connsiteY21" fmla="*/ 1273498 h 1766759"/>
                <a:gd name="connsiteX22" fmla="*/ 1427528 w 2234351"/>
                <a:gd name="connsiteY22" fmla="*/ 1091962 h 1766759"/>
                <a:gd name="connsiteX23" fmla="*/ 1609063 w 2234351"/>
                <a:gd name="connsiteY23" fmla="*/ 1273498 h 1766759"/>
                <a:gd name="connsiteX24" fmla="*/ 1478871 w 2234351"/>
                <a:gd name="connsiteY24" fmla="*/ 1447698 h 1766759"/>
                <a:gd name="connsiteX25" fmla="*/ 1478871 w 2234351"/>
                <a:gd name="connsiteY25" fmla="*/ 1481622 h 1766759"/>
                <a:gd name="connsiteX26" fmla="*/ 1478871 w 2234351"/>
                <a:gd name="connsiteY26" fmla="*/ 1481622 h 1766759"/>
                <a:gd name="connsiteX27" fmla="*/ 1660407 w 2234351"/>
                <a:gd name="connsiteY27" fmla="*/ 1663157 h 1766759"/>
                <a:gd name="connsiteX28" fmla="*/ 1841942 w 2234351"/>
                <a:gd name="connsiteY28" fmla="*/ 1481622 h 1766759"/>
                <a:gd name="connsiteX29" fmla="*/ 1841942 w 2234351"/>
                <a:gd name="connsiteY29" fmla="*/ 1481622 h 1766759"/>
                <a:gd name="connsiteX30" fmla="*/ 1841942 w 2234351"/>
                <a:gd name="connsiteY30" fmla="*/ 802239 h 1766759"/>
                <a:gd name="connsiteX31" fmla="*/ 1555886 w 2234351"/>
                <a:gd name="connsiteY31" fmla="*/ 468508 h 1766759"/>
                <a:gd name="connsiteX32" fmla="*/ 1555886 w 2234351"/>
                <a:gd name="connsiteY32" fmla="*/ 917 h 1766759"/>
                <a:gd name="connsiteX33" fmla="*/ 1711750 w 2234351"/>
                <a:gd name="connsiteY33" fmla="*/ 917 h 1766759"/>
                <a:gd name="connsiteX34" fmla="*/ 1764010 w 2234351"/>
                <a:gd name="connsiteY34" fmla="*/ 53177 h 1766759"/>
                <a:gd name="connsiteX35" fmla="*/ 1711750 w 2234351"/>
                <a:gd name="connsiteY35" fmla="*/ 105437 h 1766759"/>
                <a:gd name="connsiteX36" fmla="*/ 1659489 w 2234351"/>
                <a:gd name="connsiteY36" fmla="*/ 105437 h 1766759"/>
                <a:gd name="connsiteX37" fmla="*/ 1659489 w 2234351"/>
                <a:gd name="connsiteY37" fmla="*/ 469424 h 1766759"/>
                <a:gd name="connsiteX38" fmla="*/ 1659489 w 2234351"/>
                <a:gd name="connsiteY38" fmla="*/ 469424 h 1766759"/>
                <a:gd name="connsiteX39" fmla="*/ 1893285 w 2234351"/>
                <a:gd name="connsiteY39" fmla="*/ 703220 h 1766759"/>
                <a:gd name="connsiteX40" fmla="*/ 2127080 w 2234351"/>
                <a:gd name="connsiteY40" fmla="*/ 469424 h 1766759"/>
                <a:gd name="connsiteX41" fmla="*/ 2127080 w 2234351"/>
                <a:gd name="connsiteY41" fmla="*/ 469424 h 1766759"/>
                <a:gd name="connsiteX42" fmla="*/ 2127080 w 2234351"/>
                <a:gd name="connsiteY42" fmla="*/ 105437 h 1766759"/>
                <a:gd name="connsiteX43" fmla="*/ 2074821 w 2234351"/>
                <a:gd name="connsiteY43" fmla="*/ 105437 h 1766759"/>
                <a:gd name="connsiteX44" fmla="*/ 2022560 w 2234351"/>
                <a:gd name="connsiteY44" fmla="*/ 53177 h 1766759"/>
                <a:gd name="connsiteX45" fmla="*/ 2074821 w 2234351"/>
                <a:gd name="connsiteY45" fmla="*/ 917 h 1766759"/>
                <a:gd name="connsiteX46" fmla="*/ 2234352 w 2234351"/>
                <a:gd name="connsiteY46" fmla="*/ 917 h 1766759"/>
                <a:gd name="connsiteX47" fmla="*/ 1513711 w 2234351"/>
                <a:gd name="connsiteY47" fmla="*/ 1272581 h 1766759"/>
                <a:gd name="connsiteX48" fmla="*/ 1428445 w 2234351"/>
                <a:gd name="connsiteY48" fmla="*/ 1189148 h 1766759"/>
                <a:gd name="connsiteX49" fmla="*/ 1345012 w 2234351"/>
                <a:gd name="connsiteY49" fmla="*/ 1274414 h 1766759"/>
                <a:gd name="connsiteX50" fmla="*/ 1430278 w 2234351"/>
                <a:gd name="connsiteY50" fmla="*/ 1357847 h 1766759"/>
                <a:gd name="connsiteX51" fmla="*/ 1513711 w 2234351"/>
                <a:gd name="connsiteY51" fmla="*/ 1272581 h 17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234351" h="1766759">
                  <a:moveTo>
                    <a:pt x="1267997" y="803156"/>
                  </a:moveTo>
                  <a:lnTo>
                    <a:pt x="674798" y="1508210"/>
                  </a:lnTo>
                  <a:lnTo>
                    <a:pt x="82516" y="804073"/>
                  </a:lnTo>
                  <a:cubicBezTo>
                    <a:pt x="82516" y="804073"/>
                    <a:pt x="82516" y="804073"/>
                    <a:pt x="82516" y="803156"/>
                  </a:cubicBezTo>
                  <a:lnTo>
                    <a:pt x="82516" y="803156"/>
                  </a:lnTo>
                  <a:lnTo>
                    <a:pt x="82516" y="803156"/>
                  </a:lnTo>
                  <a:cubicBezTo>
                    <a:pt x="31173" y="739894"/>
                    <a:pt x="0" y="660128"/>
                    <a:pt x="0" y="572111"/>
                  </a:cubicBezTo>
                  <a:cubicBezTo>
                    <a:pt x="0" y="371322"/>
                    <a:pt x="163199" y="208124"/>
                    <a:pt x="363988" y="208124"/>
                  </a:cubicBezTo>
                  <a:cubicBezTo>
                    <a:pt x="496013" y="208124"/>
                    <a:pt x="612453" y="278721"/>
                    <a:pt x="675715" y="384158"/>
                  </a:cubicBezTo>
                  <a:cubicBezTo>
                    <a:pt x="738977" y="278721"/>
                    <a:pt x="855417" y="208124"/>
                    <a:pt x="987442" y="208124"/>
                  </a:cubicBezTo>
                  <a:cubicBezTo>
                    <a:pt x="1188231" y="208124"/>
                    <a:pt x="1351430" y="371322"/>
                    <a:pt x="1351430" y="572111"/>
                  </a:cubicBezTo>
                  <a:cubicBezTo>
                    <a:pt x="1350513" y="660128"/>
                    <a:pt x="1320257" y="739894"/>
                    <a:pt x="1267997" y="803156"/>
                  </a:cubicBezTo>
                  <a:lnTo>
                    <a:pt x="1267997" y="803156"/>
                  </a:lnTo>
                  <a:close/>
                  <a:moveTo>
                    <a:pt x="2234352" y="0"/>
                  </a:moveTo>
                  <a:lnTo>
                    <a:pt x="2234352" y="467591"/>
                  </a:lnTo>
                  <a:cubicBezTo>
                    <a:pt x="2234352" y="636290"/>
                    <a:pt x="2110578" y="776568"/>
                    <a:pt x="1948296" y="801322"/>
                  </a:cubicBezTo>
                  <a:lnTo>
                    <a:pt x="1948296" y="1480704"/>
                  </a:lnTo>
                  <a:cubicBezTo>
                    <a:pt x="1948296" y="1638402"/>
                    <a:pt x="1819937" y="1766760"/>
                    <a:pt x="1662240" y="1766760"/>
                  </a:cubicBezTo>
                  <a:cubicBezTo>
                    <a:pt x="1504543" y="1766760"/>
                    <a:pt x="1376185" y="1638402"/>
                    <a:pt x="1376185" y="1480704"/>
                  </a:cubicBezTo>
                  <a:lnTo>
                    <a:pt x="1376185" y="1480704"/>
                  </a:lnTo>
                  <a:lnTo>
                    <a:pt x="1376185" y="1447698"/>
                  </a:lnTo>
                  <a:cubicBezTo>
                    <a:pt x="1301003" y="1425694"/>
                    <a:pt x="1245993" y="1356014"/>
                    <a:pt x="1245993" y="1273498"/>
                  </a:cubicBezTo>
                  <a:cubicBezTo>
                    <a:pt x="1245993" y="1172645"/>
                    <a:pt x="1327592" y="1091962"/>
                    <a:pt x="1427528" y="1091962"/>
                  </a:cubicBezTo>
                  <a:cubicBezTo>
                    <a:pt x="1528381" y="1091962"/>
                    <a:pt x="1609063" y="1173561"/>
                    <a:pt x="1609063" y="1273498"/>
                  </a:cubicBezTo>
                  <a:cubicBezTo>
                    <a:pt x="1609063" y="1356014"/>
                    <a:pt x="1554052" y="1425694"/>
                    <a:pt x="1478871" y="1447698"/>
                  </a:cubicBezTo>
                  <a:lnTo>
                    <a:pt x="1478871" y="1481622"/>
                  </a:lnTo>
                  <a:lnTo>
                    <a:pt x="1478871" y="1481622"/>
                  </a:lnTo>
                  <a:cubicBezTo>
                    <a:pt x="1478871" y="1581557"/>
                    <a:pt x="1560470" y="1663157"/>
                    <a:pt x="1660407" y="1663157"/>
                  </a:cubicBezTo>
                  <a:cubicBezTo>
                    <a:pt x="1760342" y="1663157"/>
                    <a:pt x="1841942" y="1581557"/>
                    <a:pt x="1841942" y="1481622"/>
                  </a:cubicBezTo>
                  <a:lnTo>
                    <a:pt x="1841942" y="1481622"/>
                  </a:lnTo>
                  <a:lnTo>
                    <a:pt x="1841942" y="802239"/>
                  </a:lnTo>
                  <a:cubicBezTo>
                    <a:pt x="1680577" y="777485"/>
                    <a:pt x="1555886" y="637207"/>
                    <a:pt x="1555886" y="468508"/>
                  </a:cubicBezTo>
                  <a:lnTo>
                    <a:pt x="1555886" y="917"/>
                  </a:lnTo>
                  <a:lnTo>
                    <a:pt x="1711750" y="917"/>
                  </a:lnTo>
                  <a:cubicBezTo>
                    <a:pt x="1740172" y="917"/>
                    <a:pt x="1764010" y="23838"/>
                    <a:pt x="1764010" y="53177"/>
                  </a:cubicBezTo>
                  <a:cubicBezTo>
                    <a:pt x="1764010" y="81599"/>
                    <a:pt x="1741089" y="105437"/>
                    <a:pt x="1711750" y="105437"/>
                  </a:cubicBezTo>
                  <a:lnTo>
                    <a:pt x="1659489" y="105437"/>
                  </a:lnTo>
                  <a:lnTo>
                    <a:pt x="1659489" y="469424"/>
                  </a:lnTo>
                  <a:lnTo>
                    <a:pt x="1659489" y="469424"/>
                  </a:lnTo>
                  <a:cubicBezTo>
                    <a:pt x="1659489" y="598700"/>
                    <a:pt x="1764010" y="703220"/>
                    <a:pt x="1893285" y="703220"/>
                  </a:cubicBezTo>
                  <a:cubicBezTo>
                    <a:pt x="2022560" y="703220"/>
                    <a:pt x="2127080" y="598700"/>
                    <a:pt x="2127080" y="469424"/>
                  </a:cubicBezTo>
                  <a:lnTo>
                    <a:pt x="2127080" y="469424"/>
                  </a:lnTo>
                  <a:lnTo>
                    <a:pt x="2127080" y="105437"/>
                  </a:lnTo>
                  <a:lnTo>
                    <a:pt x="2074821" y="105437"/>
                  </a:lnTo>
                  <a:cubicBezTo>
                    <a:pt x="2046399" y="105437"/>
                    <a:pt x="2022560" y="82516"/>
                    <a:pt x="2022560" y="53177"/>
                  </a:cubicBezTo>
                  <a:cubicBezTo>
                    <a:pt x="2022560" y="24755"/>
                    <a:pt x="2045481" y="917"/>
                    <a:pt x="2074821" y="917"/>
                  </a:cubicBezTo>
                  <a:lnTo>
                    <a:pt x="2234352" y="917"/>
                  </a:lnTo>
                  <a:close/>
                  <a:moveTo>
                    <a:pt x="1513711" y="1272581"/>
                  </a:moveTo>
                  <a:cubicBezTo>
                    <a:pt x="1512794" y="1225822"/>
                    <a:pt x="1475204" y="1188231"/>
                    <a:pt x="1428445" y="1189148"/>
                  </a:cubicBezTo>
                  <a:cubicBezTo>
                    <a:pt x="1381686" y="1190065"/>
                    <a:pt x="1344095" y="1227655"/>
                    <a:pt x="1345012" y="1274414"/>
                  </a:cubicBezTo>
                  <a:cubicBezTo>
                    <a:pt x="1345929" y="1321174"/>
                    <a:pt x="1383519" y="1358764"/>
                    <a:pt x="1430278" y="1357847"/>
                  </a:cubicBezTo>
                  <a:cubicBezTo>
                    <a:pt x="1477038" y="1357847"/>
                    <a:pt x="1513711" y="1319340"/>
                    <a:pt x="1513711" y="1272581"/>
                  </a:cubicBezTo>
                  <a:close/>
                </a:path>
              </a:pathLst>
            </a:custGeom>
            <a:solidFill>
              <a:schemeClr val="accent6"/>
            </a:solidFill>
            <a:ln w="9162" cap="flat">
              <a:noFill/>
              <a:prstDash val="solid"/>
              <a:miter/>
            </a:ln>
          </p:spPr>
          <p:txBody>
            <a:bodyPr rtlCol="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61" name="Freihandform: Form 60">
              <a:extLst>
                <a:ext uri="{FF2B5EF4-FFF2-40B4-BE49-F238E27FC236}">
                  <a16:creationId xmlns:a16="http://schemas.microsoft.com/office/drawing/2014/main" id="{31070B25-243E-0E74-DD45-9E8E752536AD}"/>
                </a:ext>
              </a:extLst>
            </p:cNvPr>
            <p:cNvSpPr/>
            <p:nvPr/>
          </p:nvSpPr>
          <p:spPr>
            <a:xfrm>
              <a:off x="6256387" y="1383686"/>
              <a:ext cx="322179" cy="215577"/>
            </a:xfrm>
            <a:custGeom>
              <a:avLst/>
              <a:gdLst>
                <a:gd name="connsiteX0" fmla="*/ 273797 w 680409"/>
                <a:gd name="connsiteY0" fmla="*/ 391169 h 455278"/>
                <a:gd name="connsiteX1" fmla="*/ 414076 w 680409"/>
                <a:gd name="connsiteY1" fmla="*/ 391169 h 455278"/>
                <a:gd name="connsiteX2" fmla="*/ 343673 w 680409"/>
                <a:gd name="connsiteY2" fmla="*/ 455278 h 455278"/>
                <a:gd name="connsiteX3" fmla="*/ 273797 w 680409"/>
                <a:gd name="connsiteY3" fmla="*/ 391169 h 455278"/>
                <a:gd name="connsiteX4" fmla="*/ 589953 w 680409"/>
                <a:gd name="connsiteY4" fmla="*/ 41846 h 455278"/>
                <a:gd name="connsiteX5" fmla="*/ 614046 w 680409"/>
                <a:gd name="connsiteY5" fmla="*/ 130018 h 455278"/>
                <a:gd name="connsiteX6" fmla="*/ 589572 w 680409"/>
                <a:gd name="connsiteY6" fmla="*/ 218893 h 455278"/>
                <a:gd name="connsiteX7" fmla="*/ 560621 w 680409"/>
                <a:gd name="connsiteY7" fmla="*/ 202705 h 455278"/>
                <a:gd name="connsiteX8" fmla="*/ 580849 w 680409"/>
                <a:gd name="connsiteY8" fmla="*/ 130018 h 455278"/>
                <a:gd name="connsiteX9" fmla="*/ 561001 w 680409"/>
                <a:gd name="connsiteY9" fmla="*/ 58034 h 455278"/>
                <a:gd name="connsiteX10" fmla="*/ 90865 w 680409"/>
                <a:gd name="connsiteY10" fmla="*/ 41846 h 455278"/>
                <a:gd name="connsiteX11" fmla="*/ 119818 w 680409"/>
                <a:gd name="connsiteY11" fmla="*/ 58034 h 455278"/>
                <a:gd name="connsiteX12" fmla="*/ 99590 w 680409"/>
                <a:gd name="connsiteY12" fmla="*/ 130721 h 455278"/>
                <a:gd name="connsiteX13" fmla="*/ 119437 w 680409"/>
                <a:gd name="connsiteY13" fmla="*/ 202705 h 455278"/>
                <a:gd name="connsiteX14" fmla="*/ 90485 w 680409"/>
                <a:gd name="connsiteY14" fmla="*/ 218893 h 455278"/>
                <a:gd name="connsiteX15" fmla="*/ 66393 w 680409"/>
                <a:gd name="connsiteY15" fmla="*/ 130721 h 455278"/>
                <a:gd name="connsiteX16" fmla="*/ 90865 w 680409"/>
                <a:gd name="connsiteY16" fmla="*/ 41846 h 455278"/>
                <a:gd name="connsiteX17" fmla="*/ 647914 w 680409"/>
                <a:gd name="connsiteY17" fmla="*/ 9440 h 455278"/>
                <a:gd name="connsiteX18" fmla="*/ 680409 w 680409"/>
                <a:gd name="connsiteY18" fmla="*/ 130018 h 455278"/>
                <a:gd name="connsiteX19" fmla="*/ 647476 w 680409"/>
                <a:gd name="connsiteY19" fmla="*/ 251329 h 455278"/>
                <a:gd name="connsiteX20" fmla="*/ 618495 w 680409"/>
                <a:gd name="connsiteY20" fmla="*/ 235111 h 455278"/>
                <a:gd name="connsiteX21" fmla="*/ 647212 w 680409"/>
                <a:gd name="connsiteY21" fmla="*/ 130018 h 455278"/>
                <a:gd name="connsiteX22" fmla="*/ 618905 w 680409"/>
                <a:gd name="connsiteY22" fmla="*/ 25658 h 455278"/>
                <a:gd name="connsiteX23" fmla="*/ 32933 w 680409"/>
                <a:gd name="connsiteY23" fmla="*/ 9440 h 455278"/>
                <a:gd name="connsiteX24" fmla="*/ 61943 w 680409"/>
                <a:gd name="connsiteY24" fmla="*/ 25658 h 455278"/>
                <a:gd name="connsiteX25" fmla="*/ 33225 w 680409"/>
                <a:gd name="connsiteY25" fmla="*/ 130750 h 455278"/>
                <a:gd name="connsiteX26" fmla="*/ 61533 w 680409"/>
                <a:gd name="connsiteY26" fmla="*/ 235111 h 455278"/>
                <a:gd name="connsiteX27" fmla="*/ 32523 w 680409"/>
                <a:gd name="connsiteY27" fmla="*/ 251329 h 455278"/>
                <a:gd name="connsiteX28" fmla="*/ 0 w 680409"/>
                <a:gd name="connsiteY28" fmla="*/ 130750 h 455278"/>
                <a:gd name="connsiteX29" fmla="*/ 32933 w 680409"/>
                <a:gd name="connsiteY29" fmla="*/ 9440 h 455278"/>
                <a:gd name="connsiteX30" fmla="*/ 339691 w 680409"/>
                <a:gd name="connsiteY30" fmla="*/ 14 h 455278"/>
                <a:gd name="connsiteX31" fmla="*/ 340219 w 680409"/>
                <a:gd name="connsiteY31" fmla="*/ 14 h 455278"/>
                <a:gd name="connsiteX32" fmla="*/ 340745 w 680409"/>
                <a:gd name="connsiteY32" fmla="*/ 14 h 455278"/>
                <a:gd name="connsiteX33" fmla="*/ 437758 w 680409"/>
                <a:gd name="connsiteY33" fmla="*/ 21588 h 455278"/>
                <a:gd name="connsiteX34" fmla="*/ 445194 w 680409"/>
                <a:gd name="connsiteY34" fmla="*/ 32127 h 455278"/>
                <a:gd name="connsiteX35" fmla="*/ 478595 w 680409"/>
                <a:gd name="connsiteY35" fmla="*/ 221616 h 455278"/>
                <a:gd name="connsiteX36" fmla="*/ 483367 w 680409"/>
                <a:gd name="connsiteY36" fmla="*/ 248987 h 455278"/>
                <a:gd name="connsiteX37" fmla="*/ 518876 w 680409"/>
                <a:gd name="connsiteY37" fmla="*/ 286369 h 455278"/>
                <a:gd name="connsiteX38" fmla="*/ 534772 w 680409"/>
                <a:gd name="connsiteY38" fmla="*/ 303201 h 455278"/>
                <a:gd name="connsiteX39" fmla="*/ 545954 w 680409"/>
                <a:gd name="connsiteY39" fmla="*/ 327411 h 455278"/>
                <a:gd name="connsiteX40" fmla="*/ 547008 w 680409"/>
                <a:gd name="connsiteY40" fmla="*/ 357943 h 455278"/>
                <a:gd name="connsiteX41" fmla="*/ 340775 w 680409"/>
                <a:gd name="connsiteY41" fmla="*/ 357943 h 455278"/>
                <a:gd name="connsiteX42" fmla="*/ 339721 w 680409"/>
                <a:gd name="connsiteY42" fmla="*/ 357943 h 455278"/>
                <a:gd name="connsiteX43" fmla="*/ 133487 w 680409"/>
                <a:gd name="connsiteY43" fmla="*/ 357943 h 455278"/>
                <a:gd name="connsiteX44" fmla="*/ 134542 w 680409"/>
                <a:gd name="connsiteY44" fmla="*/ 327411 h 455278"/>
                <a:gd name="connsiteX45" fmla="*/ 145666 w 680409"/>
                <a:gd name="connsiteY45" fmla="*/ 303201 h 455278"/>
                <a:gd name="connsiteX46" fmla="*/ 162088 w 680409"/>
                <a:gd name="connsiteY46" fmla="*/ 286369 h 455278"/>
                <a:gd name="connsiteX47" fmla="*/ 197070 w 680409"/>
                <a:gd name="connsiteY47" fmla="*/ 248987 h 455278"/>
                <a:gd name="connsiteX48" fmla="*/ 201842 w 680409"/>
                <a:gd name="connsiteY48" fmla="*/ 221616 h 455278"/>
                <a:gd name="connsiteX49" fmla="*/ 235770 w 680409"/>
                <a:gd name="connsiteY49" fmla="*/ 32127 h 455278"/>
                <a:gd name="connsiteX50" fmla="*/ 243205 w 680409"/>
                <a:gd name="connsiteY50" fmla="*/ 21588 h 455278"/>
                <a:gd name="connsiteX51" fmla="*/ 339691 w 680409"/>
                <a:gd name="connsiteY51" fmla="*/ 14 h 45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80409" h="455278">
                  <a:moveTo>
                    <a:pt x="273797" y="391169"/>
                  </a:moveTo>
                  <a:lnTo>
                    <a:pt x="414076" y="391169"/>
                  </a:lnTo>
                  <a:cubicBezTo>
                    <a:pt x="409129" y="426971"/>
                    <a:pt x="379504" y="455278"/>
                    <a:pt x="343673" y="455278"/>
                  </a:cubicBezTo>
                  <a:cubicBezTo>
                    <a:pt x="307842" y="455278"/>
                    <a:pt x="278656" y="426971"/>
                    <a:pt x="273797" y="391169"/>
                  </a:cubicBezTo>
                  <a:close/>
                  <a:moveTo>
                    <a:pt x="589953" y="41846"/>
                  </a:moveTo>
                  <a:cubicBezTo>
                    <a:pt x="605234" y="67724"/>
                    <a:pt x="614046" y="97847"/>
                    <a:pt x="614046" y="130018"/>
                  </a:cubicBezTo>
                  <a:cubicBezTo>
                    <a:pt x="614046" y="162483"/>
                    <a:pt x="605088" y="192869"/>
                    <a:pt x="589572" y="218893"/>
                  </a:cubicBezTo>
                  <a:lnTo>
                    <a:pt x="560621" y="202705"/>
                  </a:lnTo>
                  <a:cubicBezTo>
                    <a:pt x="573443" y="181452"/>
                    <a:pt x="580849" y="156599"/>
                    <a:pt x="580849" y="130018"/>
                  </a:cubicBezTo>
                  <a:cubicBezTo>
                    <a:pt x="580849" y="103731"/>
                    <a:pt x="573589" y="79111"/>
                    <a:pt x="561001" y="58034"/>
                  </a:cubicBezTo>
                  <a:close/>
                  <a:moveTo>
                    <a:pt x="90865" y="41846"/>
                  </a:moveTo>
                  <a:lnTo>
                    <a:pt x="119818" y="58034"/>
                  </a:lnTo>
                  <a:cubicBezTo>
                    <a:pt x="106995" y="79287"/>
                    <a:pt x="99590" y="104140"/>
                    <a:pt x="99590" y="130721"/>
                  </a:cubicBezTo>
                  <a:cubicBezTo>
                    <a:pt x="99590" y="157009"/>
                    <a:pt x="106849" y="181628"/>
                    <a:pt x="119437" y="202705"/>
                  </a:cubicBezTo>
                  <a:lnTo>
                    <a:pt x="90485" y="218893"/>
                  </a:lnTo>
                  <a:cubicBezTo>
                    <a:pt x="75204" y="193015"/>
                    <a:pt x="66393" y="162893"/>
                    <a:pt x="66393" y="130721"/>
                  </a:cubicBezTo>
                  <a:cubicBezTo>
                    <a:pt x="66393" y="98256"/>
                    <a:pt x="75351" y="67870"/>
                    <a:pt x="90865" y="41846"/>
                  </a:cubicBezTo>
                  <a:close/>
                  <a:moveTo>
                    <a:pt x="647914" y="9440"/>
                  </a:moveTo>
                  <a:cubicBezTo>
                    <a:pt x="668582" y="44920"/>
                    <a:pt x="680438" y="86079"/>
                    <a:pt x="680409" y="130018"/>
                  </a:cubicBezTo>
                  <a:cubicBezTo>
                    <a:pt x="680409" y="174251"/>
                    <a:pt x="668377" y="215703"/>
                    <a:pt x="647476" y="251329"/>
                  </a:cubicBezTo>
                  <a:lnTo>
                    <a:pt x="618495" y="235111"/>
                  </a:lnTo>
                  <a:cubicBezTo>
                    <a:pt x="636703" y="204256"/>
                    <a:pt x="647212" y="168367"/>
                    <a:pt x="647212" y="130018"/>
                  </a:cubicBezTo>
                  <a:cubicBezTo>
                    <a:pt x="647212" y="91963"/>
                    <a:pt x="636878" y="56337"/>
                    <a:pt x="618905" y="25658"/>
                  </a:cubicBezTo>
                  <a:close/>
                  <a:moveTo>
                    <a:pt x="32933" y="9440"/>
                  </a:moveTo>
                  <a:lnTo>
                    <a:pt x="61943" y="25658"/>
                  </a:lnTo>
                  <a:cubicBezTo>
                    <a:pt x="43735" y="56512"/>
                    <a:pt x="33225" y="92402"/>
                    <a:pt x="33225" y="130750"/>
                  </a:cubicBezTo>
                  <a:cubicBezTo>
                    <a:pt x="33225" y="168806"/>
                    <a:pt x="43559" y="204432"/>
                    <a:pt x="61533" y="235111"/>
                  </a:cubicBezTo>
                  <a:lnTo>
                    <a:pt x="32523" y="251329"/>
                  </a:lnTo>
                  <a:cubicBezTo>
                    <a:pt x="11855" y="215849"/>
                    <a:pt x="0" y="174661"/>
                    <a:pt x="0" y="130750"/>
                  </a:cubicBezTo>
                  <a:cubicBezTo>
                    <a:pt x="0" y="86518"/>
                    <a:pt x="12031" y="45066"/>
                    <a:pt x="32933" y="9440"/>
                  </a:cubicBezTo>
                  <a:close/>
                  <a:moveTo>
                    <a:pt x="339691" y="14"/>
                  </a:moveTo>
                  <a:cubicBezTo>
                    <a:pt x="340219" y="14"/>
                    <a:pt x="340219" y="14"/>
                    <a:pt x="340219" y="14"/>
                  </a:cubicBezTo>
                  <a:lnTo>
                    <a:pt x="340745" y="14"/>
                  </a:lnTo>
                  <a:cubicBezTo>
                    <a:pt x="392706" y="-513"/>
                    <a:pt x="425024" y="14212"/>
                    <a:pt x="437758" y="21588"/>
                  </a:cubicBezTo>
                  <a:cubicBezTo>
                    <a:pt x="441476" y="23696"/>
                    <a:pt x="444140" y="27385"/>
                    <a:pt x="445194" y="32127"/>
                  </a:cubicBezTo>
                  <a:cubicBezTo>
                    <a:pt x="445194" y="32127"/>
                    <a:pt x="445194" y="32127"/>
                    <a:pt x="478595" y="221616"/>
                  </a:cubicBezTo>
                  <a:cubicBezTo>
                    <a:pt x="478595" y="221616"/>
                    <a:pt x="478595" y="221616"/>
                    <a:pt x="483367" y="248987"/>
                  </a:cubicBezTo>
                  <a:cubicBezTo>
                    <a:pt x="492354" y="273723"/>
                    <a:pt x="510386" y="280573"/>
                    <a:pt x="518876" y="286369"/>
                  </a:cubicBezTo>
                  <a:cubicBezTo>
                    <a:pt x="520984" y="288477"/>
                    <a:pt x="528419" y="293717"/>
                    <a:pt x="534772" y="303201"/>
                  </a:cubicBezTo>
                  <a:cubicBezTo>
                    <a:pt x="542207" y="313213"/>
                    <a:pt x="544842" y="322669"/>
                    <a:pt x="545954" y="327411"/>
                  </a:cubicBezTo>
                  <a:cubicBezTo>
                    <a:pt x="549115" y="338476"/>
                    <a:pt x="547008" y="357943"/>
                    <a:pt x="547008" y="357943"/>
                  </a:cubicBezTo>
                  <a:cubicBezTo>
                    <a:pt x="547008" y="357943"/>
                    <a:pt x="547008" y="357943"/>
                    <a:pt x="340775" y="357943"/>
                  </a:cubicBezTo>
                  <a:cubicBezTo>
                    <a:pt x="340775" y="357943"/>
                    <a:pt x="340775" y="357943"/>
                    <a:pt x="339721" y="357943"/>
                  </a:cubicBezTo>
                  <a:cubicBezTo>
                    <a:pt x="339721" y="357943"/>
                    <a:pt x="339721" y="357943"/>
                    <a:pt x="133487" y="357943"/>
                  </a:cubicBezTo>
                  <a:cubicBezTo>
                    <a:pt x="133487" y="357943"/>
                    <a:pt x="131351" y="338476"/>
                    <a:pt x="134542" y="327411"/>
                  </a:cubicBezTo>
                  <a:cubicBezTo>
                    <a:pt x="135595" y="322669"/>
                    <a:pt x="138230" y="313213"/>
                    <a:pt x="145666" y="303201"/>
                  </a:cubicBezTo>
                  <a:cubicBezTo>
                    <a:pt x="152018" y="293746"/>
                    <a:pt x="159980" y="288477"/>
                    <a:pt x="162088" y="286369"/>
                  </a:cubicBezTo>
                  <a:cubicBezTo>
                    <a:pt x="170021" y="280573"/>
                    <a:pt x="188054" y="273723"/>
                    <a:pt x="197070" y="248987"/>
                  </a:cubicBezTo>
                  <a:cubicBezTo>
                    <a:pt x="197070" y="248987"/>
                    <a:pt x="197070" y="248987"/>
                    <a:pt x="201842" y="221616"/>
                  </a:cubicBezTo>
                  <a:cubicBezTo>
                    <a:pt x="201842" y="221616"/>
                    <a:pt x="201842" y="221616"/>
                    <a:pt x="235770" y="32127"/>
                  </a:cubicBezTo>
                  <a:cubicBezTo>
                    <a:pt x="236326" y="27385"/>
                    <a:pt x="238961" y="23696"/>
                    <a:pt x="243205" y="21588"/>
                  </a:cubicBezTo>
                  <a:cubicBezTo>
                    <a:pt x="255384" y="14212"/>
                    <a:pt x="287730" y="-513"/>
                    <a:pt x="339691" y="14"/>
                  </a:cubicBezTo>
                  <a:close/>
                </a:path>
              </a:pathLst>
            </a:custGeom>
            <a:solidFill>
              <a:schemeClr val="accent6"/>
            </a:solidFill>
            <a:ln w="2926" cap="flat">
              <a:noFill/>
              <a:prstDash val="solid"/>
              <a:miter/>
            </a:ln>
          </p:spPr>
          <p:txBody>
            <a:bodyPr rtlCol="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62" name="Freihandform: Form 61">
              <a:extLst>
                <a:ext uri="{FF2B5EF4-FFF2-40B4-BE49-F238E27FC236}">
                  <a16:creationId xmlns:a16="http://schemas.microsoft.com/office/drawing/2014/main" id="{7163BF4E-1183-B3B8-0AD5-434254CE6516}"/>
                </a:ext>
              </a:extLst>
            </p:cNvPr>
            <p:cNvSpPr/>
            <p:nvPr/>
          </p:nvSpPr>
          <p:spPr>
            <a:xfrm>
              <a:off x="7320859" y="1379880"/>
              <a:ext cx="309586" cy="223189"/>
            </a:xfrm>
            <a:custGeom>
              <a:avLst/>
              <a:gdLst>
                <a:gd name="connsiteX0" fmla="*/ 599818 w 713605"/>
                <a:gd name="connsiteY0" fmla="*/ 350875 h 514456"/>
                <a:gd name="connsiteX1" fmla="*/ 713605 w 713605"/>
                <a:gd name="connsiteY1" fmla="*/ 464691 h 514456"/>
                <a:gd name="connsiteX2" fmla="*/ 665216 w 713605"/>
                <a:gd name="connsiteY2" fmla="*/ 514456 h 514456"/>
                <a:gd name="connsiteX3" fmla="*/ 550053 w 713605"/>
                <a:gd name="connsiteY3" fmla="*/ 400670 h 514456"/>
                <a:gd name="connsiteX4" fmla="*/ 599818 w 713605"/>
                <a:gd name="connsiteY4" fmla="*/ 350875 h 514456"/>
                <a:gd name="connsiteX5" fmla="*/ 398298 w 713605"/>
                <a:gd name="connsiteY5" fmla="*/ 116158 h 514456"/>
                <a:gd name="connsiteX6" fmla="*/ 431494 w 713605"/>
                <a:gd name="connsiteY6" fmla="*/ 116158 h 514456"/>
                <a:gd name="connsiteX7" fmla="*/ 431494 w 713605"/>
                <a:gd name="connsiteY7" fmla="*/ 248914 h 514456"/>
                <a:gd name="connsiteX8" fmla="*/ 464691 w 713605"/>
                <a:gd name="connsiteY8" fmla="*/ 248914 h 514456"/>
                <a:gd name="connsiteX9" fmla="*/ 464691 w 713605"/>
                <a:gd name="connsiteY9" fmla="*/ 215718 h 514456"/>
                <a:gd name="connsiteX10" fmla="*/ 497887 w 713605"/>
                <a:gd name="connsiteY10" fmla="*/ 215718 h 514456"/>
                <a:gd name="connsiteX11" fmla="*/ 497887 w 713605"/>
                <a:gd name="connsiteY11" fmla="*/ 248914 h 514456"/>
                <a:gd name="connsiteX12" fmla="*/ 497887 w 713605"/>
                <a:gd name="connsiteY12" fmla="*/ 265512 h 514456"/>
                <a:gd name="connsiteX13" fmla="*/ 497887 w 713605"/>
                <a:gd name="connsiteY13" fmla="*/ 282111 h 514456"/>
                <a:gd name="connsiteX14" fmla="*/ 215747 w 713605"/>
                <a:gd name="connsiteY14" fmla="*/ 282111 h 514456"/>
                <a:gd name="connsiteX15" fmla="*/ 215747 w 713605"/>
                <a:gd name="connsiteY15" fmla="*/ 331905 h 514456"/>
                <a:gd name="connsiteX16" fmla="*/ 182551 w 713605"/>
                <a:gd name="connsiteY16" fmla="*/ 331905 h 514456"/>
                <a:gd name="connsiteX17" fmla="*/ 182551 w 713605"/>
                <a:gd name="connsiteY17" fmla="*/ 282111 h 514456"/>
                <a:gd name="connsiteX18" fmla="*/ 116158 w 713605"/>
                <a:gd name="connsiteY18" fmla="*/ 282111 h 514456"/>
                <a:gd name="connsiteX19" fmla="*/ 116158 w 713605"/>
                <a:gd name="connsiteY19" fmla="*/ 331905 h 514456"/>
                <a:gd name="connsiteX20" fmla="*/ 82991 w 713605"/>
                <a:gd name="connsiteY20" fmla="*/ 331905 h 514456"/>
                <a:gd name="connsiteX21" fmla="*/ 82991 w 713605"/>
                <a:gd name="connsiteY21" fmla="*/ 282111 h 514456"/>
                <a:gd name="connsiteX22" fmla="*/ 0 w 713605"/>
                <a:gd name="connsiteY22" fmla="*/ 282111 h 514456"/>
                <a:gd name="connsiteX23" fmla="*/ 0 w 713605"/>
                <a:gd name="connsiteY23" fmla="*/ 265512 h 514456"/>
                <a:gd name="connsiteX24" fmla="*/ 0 w 713605"/>
                <a:gd name="connsiteY24" fmla="*/ 248914 h 514456"/>
                <a:gd name="connsiteX25" fmla="*/ 0 w 713605"/>
                <a:gd name="connsiteY25" fmla="*/ 165923 h 514456"/>
                <a:gd name="connsiteX26" fmla="*/ 33196 w 713605"/>
                <a:gd name="connsiteY26" fmla="*/ 165923 h 514456"/>
                <a:gd name="connsiteX27" fmla="*/ 33196 w 713605"/>
                <a:gd name="connsiteY27" fmla="*/ 248914 h 514456"/>
                <a:gd name="connsiteX28" fmla="*/ 66393 w 713605"/>
                <a:gd name="connsiteY28" fmla="*/ 248914 h 514456"/>
                <a:gd name="connsiteX29" fmla="*/ 66393 w 713605"/>
                <a:gd name="connsiteY29" fmla="*/ 132756 h 514456"/>
                <a:gd name="connsiteX30" fmla="*/ 99589 w 713605"/>
                <a:gd name="connsiteY30" fmla="*/ 132756 h 514456"/>
                <a:gd name="connsiteX31" fmla="*/ 99589 w 713605"/>
                <a:gd name="connsiteY31" fmla="*/ 248914 h 514456"/>
                <a:gd name="connsiteX32" fmla="*/ 132756 w 713605"/>
                <a:gd name="connsiteY32" fmla="*/ 248914 h 514456"/>
                <a:gd name="connsiteX33" fmla="*/ 132756 w 713605"/>
                <a:gd name="connsiteY33" fmla="*/ 165923 h 514456"/>
                <a:gd name="connsiteX34" fmla="*/ 165952 w 713605"/>
                <a:gd name="connsiteY34" fmla="*/ 165923 h 514456"/>
                <a:gd name="connsiteX35" fmla="*/ 165952 w 713605"/>
                <a:gd name="connsiteY35" fmla="*/ 248914 h 514456"/>
                <a:gd name="connsiteX36" fmla="*/ 199149 w 713605"/>
                <a:gd name="connsiteY36" fmla="*/ 248914 h 514456"/>
                <a:gd name="connsiteX37" fmla="*/ 199149 w 713605"/>
                <a:gd name="connsiteY37" fmla="*/ 232316 h 514456"/>
                <a:gd name="connsiteX38" fmla="*/ 232345 w 713605"/>
                <a:gd name="connsiteY38" fmla="*/ 232316 h 514456"/>
                <a:gd name="connsiteX39" fmla="*/ 232345 w 713605"/>
                <a:gd name="connsiteY39" fmla="*/ 248914 h 514456"/>
                <a:gd name="connsiteX40" fmla="*/ 265542 w 713605"/>
                <a:gd name="connsiteY40" fmla="*/ 248914 h 514456"/>
                <a:gd name="connsiteX41" fmla="*/ 265542 w 713605"/>
                <a:gd name="connsiteY41" fmla="*/ 182521 h 514456"/>
                <a:gd name="connsiteX42" fmla="*/ 298738 w 713605"/>
                <a:gd name="connsiteY42" fmla="*/ 182521 h 514456"/>
                <a:gd name="connsiteX43" fmla="*/ 298738 w 713605"/>
                <a:gd name="connsiteY43" fmla="*/ 248914 h 514456"/>
                <a:gd name="connsiteX44" fmla="*/ 331935 w 713605"/>
                <a:gd name="connsiteY44" fmla="*/ 248914 h 514456"/>
                <a:gd name="connsiteX45" fmla="*/ 331935 w 713605"/>
                <a:gd name="connsiteY45" fmla="*/ 149354 h 514456"/>
                <a:gd name="connsiteX46" fmla="*/ 365101 w 713605"/>
                <a:gd name="connsiteY46" fmla="*/ 149354 h 514456"/>
                <a:gd name="connsiteX47" fmla="*/ 365101 w 713605"/>
                <a:gd name="connsiteY47" fmla="*/ 248914 h 514456"/>
                <a:gd name="connsiteX48" fmla="*/ 398298 w 713605"/>
                <a:gd name="connsiteY48" fmla="*/ 248914 h 514456"/>
                <a:gd name="connsiteX49" fmla="*/ 406582 w 713605"/>
                <a:gd name="connsiteY49" fmla="*/ 0 h 514456"/>
                <a:gd name="connsiteX50" fmla="*/ 614045 w 713605"/>
                <a:gd name="connsiteY50" fmla="*/ 207433 h 514456"/>
                <a:gd name="connsiteX51" fmla="*/ 406582 w 713605"/>
                <a:gd name="connsiteY51" fmla="*/ 414896 h 514456"/>
                <a:gd name="connsiteX52" fmla="*/ 240600 w 713605"/>
                <a:gd name="connsiteY52" fmla="*/ 331905 h 514456"/>
                <a:gd name="connsiteX53" fmla="*/ 309774 w 713605"/>
                <a:gd name="connsiteY53" fmla="*/ 331905 h 514456"/>
                <a:gd name="connsiteX54" fmla="*/ 406582 w 713605"/>
                <a:gd name="connsiteY54" fmla="*/ 365101 h 514456"/>
                <a:gd name="connsiteX55" fmla="*/ 564250 w 713605"/>
                <a:gd name="connsiteY55" fmla="*/ 207433 h 514456"/>
                <a:gd name="connsiteX56" fmla="*/ 406582 w 713605"/>
                <a:gd name="connsiteY56" fmla="*/ 49765 h 514456"/>
                <a:gd name="connsiteX57" fmla="*/ 291624 w 713605"/>
                <a:gd name="connsiteY57" fmla="*/ 99560 h 514456"/>
                <a:gd name="connsiteX58" fmla="*/ 229359 w 713605"/>
                <a:gd name="connsiteY58" fmla="*/ 99560 h 514456"/>
                <a:gd name="connsiteX59" fmla="*/ 406582 w 713605"/>
                <a:gd name="connsiteY59" fmla="*/ 0 h 5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3605" h="514456">
                  <a:moveTo>
                    <a:pt x="599818" y="350875"/>
                  </a:moveTo>
                  <a:lnTo>
                    <a:pt x="713605" y="464691"/>
                  </a:lnTo>
                  <a:lnTo>
                    <a:pt x="665216" y="514456"/>
                  </a:lnTo>
                  <a:lnTo>
                    <a:pt x="550053" y="400670"/>
                  </a:lnTo>
                  <a:cubicBezTo>
                    <a:pt x="568964" y="386589"/>
                    <a:pt x="585767" y="369786"/>
                    <a:pt x="599818" y="350875"/>
                  </a:cubicBezTo>
                  <a:close/>
                  <a:moveTo>
                    <a:pt x="398298" y="116158"/>
                  </a:moveTo>
                  <a:lnTo>
                    <a:pt x="431494" y="116158"/>
                  </a:lnTo>
                  <a:lnTo>
                    <a:pt x="431494" y="248914"/>
                  </a:lnTo>
                  <a:lnTo>
                    <a:pt x="464691" y="248914"/>
                  </a:lnTo>
                  <a:lnTo>
                    <a:pt x="464691" y="215718"/>
                  </a:lnTo>
                  <a:lnTo>
                    <a:pt x="497887" y="215718"/>
                  </a:lnTo>
                  <a:lnTo>
                    <a:pt x="497887" y="248914"/>
                  </a:lnTo>
                  <a:lnTo>
                    <a:pt x="497887" y="265512"/>
                  </a:lnTo>
                  <a:lnTo>
                    <a:pt x="497887" y="282111"/>
                  </a:lnTo>
                  <a:lnTo>
                    <a:pt x="215747" y="282111"/>
                  </a:lnTo>
                  <a:lnTo>
                    <a:pt x="215747" y="331905"/>
                  </a:lnTo>
                  <a:lnTo>
                    <a:pt x="182551" y="331905"/>
                  </a:lnTo>
                  <a:lnTo>
                    <a:pt x="182551" y="282111"/>
                  </a:lnTo>
                  <a:lnTo>
                    <a:pt x="116158" y="282111"/>
                  </a:lnTo>
                  <a:lnTo>
                    <a:pt x="116158" y="331905"/>
                  </a:lnTo>
                  <a:lnTo>
                    <a:pt x="82991" y="331905"/>
                  </a:lnTo>
                  <a:lnTo>
                    <a:pt x="82991" y="282111"/>
                  </a:lnTo>
                  <a:lnTo>
                    <a:pt x="0" y="282111"/>
                  </a:lnTo>
                  <a:lnTo>
                    <a:pt x="0" y="265512"/>
                  </a:lnTo>
                  <a:lnTo>
                    <a:pt x="0" y="248914"/>
                  </a:lnTo>
                  <a:lnTo>
                    <a:pt x="0" y="165923"/>
                  </a:lnTo>
                  <a:lnTo>
                    <a:pt x="33196" y="165923"/>
                  </a:lnTo>
                  <a:lnTo>
                    <a:pt x="33196" y="248914"/>
                  </a:lnTo>
                  <a:lnTo>
                    <a:pt x="66393" y="248914"/>
                  </a:lnTo>
                  <a:lnTo>
                    <a:pt x="66393" y="132756"/>
                  </a:lnTo>
                  <a:lnTo>
                    <a:pt x="99589" y="132756"/>
                  </a:lnTo>
                  <a:lnTo>
                    <a:pt x="99589" y="248914"/>
                  </a:lnTo>
                  <a:lnTo>
                    <a:pt x="132756" y="248914"/>
                  </a:lnTo>
                  <a:lnTo>
                    <a:pt x="132756" y="165923"/>
                  </a:lnTo>
                  <a:lnTo>
                    <a:pt x="165952" y="165923"/>
                  </a:lnTo>
                  <a:lnTo>
                    <a:pt x="165952" y="248914"/>
                  </a:lnTo>
                  <a:lnTo>
                    <a:pt x="199149" y="248914"/>
                  </a:lnTo>
                  <a:lnTo>
                    <a:pt x="199149" y="232316"/>
                  </a:lnTo>
                  <a:lnTo>
                    <a:pt x="232345" y="232316"/>
                  </a:lnTo>
                  <a:lnTo>
                    <a:pt x="232345" y="248914"/>
                  </a:lnTo>
                  <a:lnTo>
                    <a:pt x="265542" y="248914"/>
                  </a:lnTo>
                  <a:lnTo>
                    <a:pt x="265542" y="182521"/>
                  </a:lnTo>
                  <a:lnTo>
                    <a:pt x="298738" y="182521"/>
                  </a:lnTo>
                  <a:lnTo>
                    <a:pt x="298738" y="248914"/>
                  </a:lnTo>
                  <a:lnTo>
                    <a:pt x="331935" y="248914"/>
                  </a:lnTo>
                  <a:lnTo>
                    <a:pt x="331935" y="149354"/>
                  </a:lnTo>
                  <a:lnTo>
                    <a:pt x="365101" y="149354"/>
                  </a:lnTo>
                  <a:lnTo>
                    <a:pt x="365101" y="248914"/>
                  </a:lnTo>
                  <a:lnTo>
                    <a:pt x="398298" y="248914"/>
                  </a:lnTo>
                  <a:close/>
                  <a:moveTo>
                    <a:pt x="406582" y="0"/>
                  </a:moveTo>
                  <a:cubicBezTo>
                    <a:pt x="521159" y="0"/>
                    <a:pt x="614045" y="92856"/>
                    <a:pt x="614045" y="207433"/>
                  </a:cubicBezTo>
                  <a:cubicBezTo>
                    <a:pt x="614045" y="322011"/>
                    <a:pt x="521159" y="414896"/>
                    <a:pt x="406582" y="414896"/>
                  </a:cubicBezTo>
                  <a:cubicBezTo>
                    <a:pt x="338696" y="414896"/>
                    <a:pt x="278451" y="382314"/>
                    <a:pt x="240600" y="331905"/>
                  </a:cubicBezTo>
                  <a:lnTo>
                    <a:pt x="309774" y="331905"/>
                  </a:lnTo>
                  <a:cubicBezTo>
                    <a:pt x="336501" y="352689"/>
                    <a:pt x="370078" y="365101"/>
                    <a:pt x="406582" y="365101"/>
                  </a:cubicBezTo>
                  <a:cubicBezTo>
                    <a:pt x="493671" y="365101"/>
                    <a:pt x="564250" y="294523"/>
                    <a:pt x="564250" y="207433"/>
                  </a:cubicBezTo>
                  <a:cubicBezTo>
                    <a:pt x="564250" y="120373"/>
                    <a:pt x="493671" y="49765"/>
                    <a:pt x="406582" y="49765"/>
                  </a:cubicBezTo>
                  <a:cubicBezTo>
                    <a:pt x="361237" y="49765"/>
                    <a:pt x="320371" y="68910"/>
                    <a:pt x="291624" y="99560"/>
                  </a:cubicBezTo>
                  <a:lnTo>
                    <a:pt x="229359" y="99560"/>
                  </a:lnTo>
                  <a:cubicBezTo>
                    <a:pt x="265776" y="39871"/>
                    <a:pt x="331524" y="0"/>
                    <a:pt x="406582" y="0"/>
                  </a:cubicBezTo>
                  <a:close/>
                </a:path>
              </a:pathLst>
            </a:custGeom>
            <a:solidFill>
              <a:schemeClr val="accent6"/>
            </a:solidFill>
            <a:ln w="2926" cap="flat">
              <a:noFill/>
              <a:prstDash val="solid"/>
              <a:miter/>
            </a:ln>
          </p:spPr>
          <p:txBody>
            <a:bodyPr rtlCol="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pitchFamily="34" charset="0"/>
                <a:ea typeface="ＭＳ Ｐゴシック" charset="-128"/>
                <a:cs typeface="+mn-cs"/>
              </a:endParaRPr>
            </a:p>
          </p:txBody>
        </p:sp>
        <p:sp>
          <p:nvSpPr>
            <p:cNvPr id="63" name="Rechteck 62">
              <a:extLst>
                <a:ext uri="{FF2B5EF4-FFF2-40B4-BE49-F238E27FC236}">
                  <a16:creationId xmlns:a16="http://schemas.microsoft.com/office/drawing/2014/main" id="{C0E01040-7188-3677-9330-E5B956A49644}"/>
                </a:ext>
              </a:extLst>
            </p:cNvPr>
            <p:cNvSpPr/>
            <p:nvPr/>
          </p:nvSpPr>
          <p:spPr>
            <a:xfrm>
              <a:off x="6762799" y="1601836"/>
              <a:ext cx="378767" cy="367244"/>
            </a:xfrm>
            <a:prstGeom prst="rect">
              <a:avLst/>
            </a:prstGeom>
            <a:solidFill>
              <a:srgbClr val="00E9D8"/>
            </a:solidFill>
            <a:ln>
              <a:solidFill>
                <a:srgbClr val="00E9D8"/>
              </a:solid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sp>
          <p:nvSpPr>
            <p:cNvPr id="64" name="Freihandform: Form 63">
              <a:extLst>
                <a:ext uri="{FF2B5EF4-FFF2-40B4-BE49-F238E27FC236}">
                  <a16:creationId xmlns:a16="http://schemas.microsoft.com/office/drawing/2014/main" id="{62E38657-131E-578B-BFF3-27F42561C509}"/>
                </a:ext>
              </a:extLst>
            </p:cNvPr>
            <p:cNvSpPr/>
            <p:nvPr/>
          </p:nvSpPr>
          <p:spPr>
            <a:xfrm>
              <a:off x="6720697" y="1557019"/>
              <a:ext cx="453783" cy="364929"/>
            </a:xfrm>
            <a:custGeom>
              <a:avLst/>
              <a:gdLst>
                <a:gd name="connsiteX0" fmla="*/ 453783 w 453783"/>
                <a:gd name="connsiteY0" fmla="*/ 289702 h 364929"/>
                <a:gd name="connsiteX1" fmla="*/ 453783 w 453783"/>
                <a:gd name="connsiteY1" fmla="*/ 364930 h 364929"/>
                <a:gd name="connsiteX2" fmla="*/ 281746 w 453783"/>
                <a:gd name="connsiteY2" fmla="*/ 364930 h 364929"/>
                <a:gd name="connsiteX3" fmla="*/ 281746 w 453783"/>
                <a:gd name="connsiteY3" fmla="*/ 289702 h 364929"/>
                <a:gd name="connsiteX4" fmla="*/ 453783 w 453783"/>
                <a:gd name="connsiteY4" fmla="*/ 289702 h 364929"/>
                <a:gd name="connsiteX5" fmla="*/ 453783 w 453783"/>
                <a:gd name="connsiteY5" fmla="*/ 289702 h 364929"/>
                <a:gd name="connsiteX6" fmla="*/ 453783 w 453783"/>
                <a:gd name="connsiteY6" fmla="*/ 289702 h 364929"/>
                <a:gd name="connsiteX7" fmla="*/ 417374 w 453783"/>
                <a:gd name="connsiteY7" fmla="*/ 235691 h 364929"/>
                <a:gd name="connsiteX8" fmla="*/ 8801 w 453783"/>
                <a:gd name="connsiteY8" fmla="*/ 235691 h 364929"/>
                <a:gd name="connsiteX9" fmla="*/ 0 w 453783"/>
                <a:gd name="connsiteY9" fmla="*/ 364930 h 364929"/>
                <a:gd name="connsiteX10" fmla="*/ 260407 w 453783"/>
                <a:gd name="connsiteY10" fmla="*/ 364930 h 364929"/>
                <a:gd name="connsiteX11" fmla="*/ 260407 w 453783"/>
                <a:gd name="connsiteY11" fmla="*/ 268363 h 364929"/>
                <a:gd name="connsiteX12" fmla="*/ 417254 w 453783"/>
                <a:gd name="connsiteY12" fmla="*/ 268363 h 364929"/>
                <a:gd name="connsiteX13" fmla="*/ 417254 w 453783"/>
                <a:gd name="connsiteY13" fmla="*/ 235691 h 364929"/>
                <a:gd name="connsiteX14" fmla="*/ 417374 w 453783"/>
                <a:gd name="connsiteY14" fmla="*/ 235691 h 364929"/>
                <a:gd name="connsiteX15" fmla="*/ 417374 w 453783"/>
                <a:gd name="connsiteY15" fmla="*/ 235691 h 364929"/>
                <a:gd name="connsiteX16" fmla="*/ 93915 w 453783"/>
                <a:gd name="connsiteY16" fmla="*/ 0 h 364929"/>
                <a:gd name="connsiteX17" fmla="*/ 69562 w 453783"/>
                <a:gd name="connsiteY17" fmla="*/ 0 h 364929"/>
                <a:gd name="connsiteX18" fmla="*/ 62691 w 453783"/>
                <a:gd name="connsiteY18" fmla="*/ 214473 h 364929"/>
                <a:gd name="connsiteX19" fmla="*/ 104042 w 453783"/>
                <a:gd name="connsiteY19" fmla="*/ 214473 h 364929"/>
                <a:gd name="connsiteX20" fmla="*/ 93915 w 453783"/>
                <a:gd name="connsiteY20" fmla="*/ 0 h 364929"/>
                <a:gd name="connsiteX21" fmla="*/ 93915 w 453783"/>
                <a:gd name="connsiteY21" fmla="*/ 0 h 364929"/>
                <a:gd name="connsiteX22" fmla="*/ 93915 w 453783"/>
                <a:gd name="connsiteY22" fmla="*/ 0 h 364929"/>
                <a:gd name="connsiteX23" fmla="*/ 302361 w 453783"/>
                <a:gd name="connsiteY23" fmla="*/ 214473 h 364929"/>
                <a:gd name="connsiteX24" fmla="*/ 385667 w 453783"/>
                <a:gd name="connsiteY24" fmla="*/ 214473 h 364929"/>
                <a:gd name="connsiteX25" fmla="*/ 381086 w 453783"/>
                <a:gd name="connsiteY25" fmla="*/ 121643 h 364929"/>
                <a:gd name="connsiteX26" fmla="*/ 333224 w 453783"/>
                <a:gd name="connsiteY26" fmla="*/ 106935 h 364929"/>
                <a:gd name="connsiteX27" fmla="*/ 297298 w 453783"/>
                <a:gd name="connsiteY27" fmla="*/ 111637 h 364929"/>
                <a:gd name="connsiteX28" fmla="*/ 302361 w 453783"/>
                <a:gd name="connsiteY28" fmla="*/ 213388 h 364929"/>
                <a:gd name="connsiteX29" fmla="*/ 302361 w 453783"/>
                <a:gd name="connsiteY29" fmla="*/ 214473 h 364929"/>
                <a:gd name="connsiteX30" fmla="*/ 302361 w 453783"/>
                <a:gd name="connsiteY30" fmla="*/ 214473 h 364929"/>
                <a:gd name="connsiteX31" fmla="*/ 302361 w 453783"/>
                <a:gd name="connsiteY31" fmla="*/ 214473 h 364929"/>
                <a:gd name="connsiteX32" fmla="*/ 274753 w 453783"/>
                <a:gd name="connsiteY32" fmla="*/ 74746 h 364929"/>
                <a:gd name="connsiteX33" fmla="*/ 207602 w 453783"/>
                <a:gd name="connsiteY33" fmla="*/ 53407 h 364929"/>
                <a:gd name="connsiteX34" fmla="*/ 140451 w 453783"/>
                <a:gd name="connsiteY34" fmla="*/ 74746 h 364929"/>
                <a:gd name="connsiteX35" fmla="*/ 135387 w 453783"/>
                <a:gd name="connsiteY35" fmla="*/ 214353 h 364929"/>
                <a:gd name="connsiteX36" fmla="*/ 281746 w 453783"/>
                <a:gd name="connsiteY36" fmla="*/ 214353 h 364929"/>
                <a:gd name="connsiteX37" fmla="*/ 274753 w 453783"/>
                <a:gd name="connsiteY37" fmla="*/ 74746 h 364929"/>
                <a:gd name="connsiteX38" fmla="*/ 274753 w 453783"/>
                <a:gd name="connsiteY38" fmla="*/ 74746 h 364929"/>
                <a:gd name="connsiteX39" fmla="*/ 274753 w 453783"/>
                <a:gd name="connsiteY39" fmla="*/ 74746 h 3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783" h="364929">
                  <a:moveTo>
                    <a:pt x="453783" y="289702"/>
                  </a:moveTo>
                  <a:cubicBezTo>
                    <a:pt x="453783" y="364930"/>
                    <a:pt x="453783" y="364930"/>
                    <a:pt x="453783" y="364930"/>
                  </a:cubicBezTo>
                  <a:cubicBezTo>
                    <a:pt x="281746" y="364930"/>
                    <a:pt x="281746" y="364930"/>
                    <a:pt x="281746" y="364930"/>
                  </a:cubicBezTo>
                  <a:cubicBezTo>
                    <a:pt x="281746" y="289702"/>
                    <a:pt x="281746" y="289702"/>
                    <a:pt x="281746" y="289702"/>
                  </a:cubicBezTo>
                  <a:lnTo>
                    <a:pt x="453783" y="289702"/>
                  </a:lnTo>
                  <a:lnTo>
                    <a:pt x="453783" y="289702"/>
                  </a:lnTo>
                  <a:lnTo>
                    <a:pt x="453783" y="289702"/>
                  </a:lnTo>
                  <a:close/>
                  <a:moveTo>
                    <a:pt x="417374" y="235691"/>
                  </a:moveTo>
                  <a:cubicBezTo>
                    <a:pt x="8801" y="235691"/>
                    <a:pt x="8801" y="235691"/>
                    <a:pt x="8801" y="235691"/>
                  </a:cubicBezTo>
                  <a:cubicBezTo>
                    <a:pt x="0" y="364930"/>
                    <a:pt x="0" y="364930"/>
                    <a:pt x="0" y="364930"/>
                  </a:cubicBezTo>
                  <a:cubicBezTo>
                    <a:pt x="260407" y="364930"/>
                    <a:pt x="260407" y="364930"/>
                    <a:pt x="260407" y="364930"/>
                  </a:cubicBezTo>
                  <a:cubicBezTo>
                    <a:pt x="260407" y="268363"/>
                    <a:pt x="260407" y="268363"/>
                    <a:pt x="260407" y="268363"/>
                  </a:cubicBezTo>
                  <a:cubicBezTo>
                    <a:pt x="417254" y="268363"/>
                    <a:pt x="417254" y="268363"/>
                    <a:pt x="417254" y="268363"/>
                  </a:cubicBezTo>
                  <a:lnTo>
                    <a:pt x="417254" y="235691"/>
                  </a:lnTo>
                  <a:lnTo>
                    <a:pt x="417374" y="235691"/>
                  </a:lnTo>
                  <a:lnTo>
                    <a:pt x="417374" y="235691"/>
                  </a:lnTo>
                  <a:close/>
                  <a:moveTo>
                    <a:pt x="93915" y="0"/>
                  </a:moveTo>
                  <a:cubicBezTo>
                    <a:pt x="69562" y="0"/>
                    <a:pt x="69562" y="0"/>
                    <a:pt x="69562" y="0"/>
                  </a:cubicBezTo>
                  <a:cubicBezTo>
                    <a:pt x="62691" y="214473"/>
                    <a:pt x="62691" y="214473"/>
                    <a:pt x="62691" y="214473"/>
                  </a:cubicBezTo>
                  <a:cubicBezTo>
                    <a:pt x="104042" y="214473"/>
                    <a:pt x="104042" y="214473"/>
                    <a:pt x="104042" y="214473"/>
                  </a:cubicBezTo>
                  <a:lnTo>
                    <a:pt x="93915" y="0"/>
                  </a:lnTo>
                  <a:lnTo>
                    <a:pt x="93915" y="0"/>
                  </a:lnTo>
                  <a:lnTo>
                    <a:pt x="93915" y="0"/>
                  </a:lnTo>
                  <a:close/>
                  <a:moveTo>
                    <a:pt x="302361" y="214473"/>
                  </a:moveTo>
                  <a:cubicBezTo>
                    <a:pt x="385667" y="214473"/>
                    <a:pt x="385667" y="214473"/>
                    <a:pt x="385667" y="214473"/>
                  </a:cubicBezTo>
                  <a:cubicBezTo>
                    <a:pt x="381086" y="121643"/>
                    <a:pt x="381086" y="121643"/>
                    <a:pt x="381086" y="121643"/>
                  </a:cubicBezTo>
                  <a:cubicBezTo>
                    <a:pt x="381086" y="113566"/>
                    <a:pt x="359506" y="106935"/>
                    <a:pt x="333224" y="106935"/>
                  </a:cubicBezTo>
                  <a:cubicBezTo>
                    <a:pt x="318998" y="106935"/>
                    <a:pt x="306099" y="108864"/>
                    <a:pt x="297298" y="111637"/>
                  </a:cubicBezTo>
                  <a:cubicBezTo>
                    <a:pt x="302361" y="213388"/>
                    <a:pt x="302361" y="213388"/>
                    <a:pt x="302361" y="213388"/>
                  </a:cubicBezTo>
                  <a:lnTo>
                    <a:pt x="302361" y="214473"/>
                  </a:lnTo>
                  <a:lnTo>
                    <a:pt x="302361" y="214473"/>
                  </a:lnTo>
                  <a:lnTo>
                    <a:pt x="302361" y="214473"/>
                  </a:lnTo>
                  <a:close/>
                  <a:moveTo>
                    <a:pt x="274753" y="74746"/>
                  </a:moveTo>
                  <a:cubicBezTo>
                    <a:pt x="274753" y="62931"/>
                    <a:pt x="244855" y="53407"/>
                    <a:pt x="207602" y="53407"/>
                  </a:cubicBezTo>
                  <a:cubicBezTo>
                    <a:pt x="170350" y="53407"/>
                    <a:pt x="140451" y="62931"/>
                    <a:pt x="140451" y="74746"/>
                  </a:cubicBezTo>
                  <a:cubicBezTo>
                    <a:pt x="135387" y="214353"/>
                    <a:pt x="135387" y="214353"/>
                    <a:pt x="135387" y="214353"/>
                  </a:cubicBezTo>
                  <a:cubicBezTo>
                    <a:pt x="281746" y="214353"/>
                    <a:pt x="281746" y="214353"/>
                    <a:pt x="281746" y="214353"/>
                  </a:cubicBezTo>
                  <a:lnTo>
                    <a:pt x="274753" y="74746"/>
                  </a:lnTo>
                  <a:lnTo>
                    <a:pt x="274753" y="74746"/>
                  </a:lnTo>
                  <a:lnTo>
                    <a:pt x="274753" y="74746"/>
                  </a:lnTo>
                  <a:close/>
                </a:path>
              </a:pathLst>
            </a:custGeom>
            <a:solidFill>
              <a:schemeClr val="bg1"/>
            </a:solidFill>
            <a:ln w="119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grpSp>
      <p:sp>
        <p:nvSpPr>
          <p:cNvPr id="67" name="Textfeld 66">
            <a:extLst>
              <a:ext uri="{FF2B5EF4-FFF2-40B4-BE49-F238E27FC236}">
                <a16:creationId xmlns:a16="http://schemas.microsoft.com/office/drawing/2014/main" id="{7921ECC8-974A-E544-9082-BB9ADCB13EFC}"/>
              </a:ext>
            </a:extLst>
          </p:cNvPr>
          <p:cNvSpPr txBox="1">
            <a:spLocks/>
          </p:cNvSpPr>
          <p:nvPr/>
        </p:nvSpPr>
        <p:spPr>
          <a:xfrm>
            <a:off x="8186738" y="1506537"/>
            <a:ext cx="3600450" cy="415498"/>
          </a:xfrm>
          <a:prstGeom prst="rect">
            <a:avLst/>
          </a:prstGeom>
          <a:noFill/>
        </p:spPr>
        <p:txBody>
          <a:bodyPr wrap="square" lIns="0" tIns="0" rIns="0" bIns="0" rtlCol="0" anchor="t">
            <a:noAutofit/>
          </a:bodyPr>
          <a:lstStyle/>
          <a:p>
            <a:pPr marL="0" marR="0" lvl="0" indent="0" defTabSz="913943" eaLnBrk="1" fontAlgn="auto" latinLnBrk="0" hangingPunct="1">
              <a:lnSpc>
                <a:spcPct val="100000"/>
              </a:lnSpc>
              <a:spcBef>
                <a:spcPts val="0"/>
              </a:spcBef>
              <a:spcAft>
                <a:spcPts val="0"/>
              </a:spcAft>
              <a:buClr>
                <a:srgbClr val="009999"/>
              </a:buClr>
              <a:buSzTx/>
              <a:buFontTx/>
              <a:buNone/>
              <a:tabLst/>
              <a:defRPr/>
            </a:pPr>
            <a:r>
              <a:rPr kumimoji="0" lang="en-US" sz="1400" b="0" i="0" u="none" strike="noStrike" kern="0" cap="none" spc="0" normalizeH="0" baseline="0" noProof="0">
                <a:ln>
                  <a:noFill/>
                </a:ln>
                <a:solidFill>
                  <a:prstClr val="white"/>
                </a:solidFill>
                <a:effectLst/>
                <a:uLnTx/>
                <a:uFillTx/>
                <a:ea typeface="ＭＳ Ｐゴシック"/>
                <a:cs typeface="Arial"/>
              </a:rPr>
              <a:t>Prove the integrity of your process control system during </a:t>
            </a:r>
            <a:r>
              <a:rPr kumimoji="0" lang="en-US" sz="1400" b="0" i="0" u="none" strike="noStrike" kern="0" cap="none" spc="0" normalizeH="0" baseline="0" noProof="0">
                <a:ln>
                  <a:noFill/>
                </a:ln>
                <a:solidFill>
                  <a:srgbClr val="00C1B6"/>
                </a:solidFill>
                <a:effectLst/>
                <a:uLnTx/>
                <a:uFillTx/>
                <a:ea typeface="+mn-lt"/>
                <a:cs typeface="Arial"/>
              </a:rPr>
              <a:t>security </a:t>
            </a:r>
            <a:r>
              <a:rPr kumimoji="0" lang="en-US" sz="1400" b="0" i="0" u="none" strike="noStrike" kern="0" cap="none" spc="0" normalizeH="0" baseline="0" noProof="0">
                <a:ln>
                  <a:noFill/>
                </a:ln>
                <a:solidFill>
                  <a:srgbClr val="00C1B6"/>
                </a:solidFill>
                <a:effectLst/>
                <a:uLnTx/>
                <a:uFillTx/>
                <a:ea typeface="ＭＳ Ｐゴシック"/>
                <a:cs typeface="Arial"/>
              </a:rPr>
              <a:t>audits.</a:t>
            </a:r>
            <a:endParaRPr kumimoji="0" lang="en-US" sz="2000" b="0" i="0" u="none" strike="noStrike" kern="0" cap="none" spc="0" normalizeH="0" baseline="0" noProof="0">
              <a:ln>
                <a:noFill/>
              </a:ln>
              <a:solidFill>
                <a:srgbClr val="00C1B6"/>
              </a:solidFill>
              <a:effectLst/>
              <a:uLnTx/>
              <a:uFillTx/>
              <a:ea typeface="ＭＳ Ｐゴシック"/>
              <a:cs typeface="Arial"/>
            </a:endParaRPr>
          </a:p>
        </p:txBody>
      </p:sp>
      <p:sp>
        <p:nvSpPr>
          <p:cNvPr id="68" name="Textfeld 67">
            <a:extLst>
              <a:ext uri="{FF2B5EF4-FFF2-40B4-BE49-F238E27FC236}">
                <a16:creationId xmlns:a16="http://schemas.microsoft.com/office/drawing/2014/main" id="{E2F9AEFB-C859-39E0-A0CA-609A05DAEAFC}"/>
              </a:ext>
            </a:extLst>
          </p:cNvPr>
          <p:cNvSpPr txBox="1">
            <a:spLocks/>
          </p:cNvSpPr>
          <p:nvPr/>
        </p:nvSpPr>
        <p:spPr>
          <a:xfrm>
            <a:off x="8186738" y="4305206"/>
            <a:ext cx="3600450" cy="1508105"/>
          </a:xfrm>
          <a:prstGeom prst="rect">
            <a:avLst/>
          </a:prstGeom>
          <a:noFill/>
        </p:spPr>
        <p:txBody>
          <a:bodyPr wrap="square" lIns="0" tIns="0" rIns="0" bIns="0" rtlCol="0" anchor="t">
            <a:noAutofit/>
          </a:bodyPr>
          <a:lstStyle/>
          <a:p>
            <a:pPr marL="0" marR="0" lvl="0" indent="0" defTabSz="913943" eaLnBrk="1" fontAlgn="auto" latinLnBrk="0" hangingPunct="1">
              <a:lnSpc>
                <a:spcPct val="100000"/>
              </a:lnSpc>
              <a:spcBef>
                <a:spcPts val="0"/>
              </a:spcBef>
              <a:spcAft>
                <a:spcPts val="0"/>
              </a:spcAft>
              <a:buClr>
                <a:srgbClr val="009999"/>
              </a:buClr>
              <a:buSzTx/>
              <a:buFontTx/>
              <a:buNone/>
              <a:tabLst/>
              <a:defRPr/>
            </a:pPr>
            <a:r>
              <a:rPr kumimoji="0" lang="en-US" sz="1400" b="0" i="0" u="none" strike="noStrike" kern="0" cap="none" spc="0" normalizeH="0" baseline="0" noProof="0">
                <a:ln>
                  <a:noFill/>
                </a:ln>
                <a:solidFill>
                  <a:srgbClr val="00C1B6"/>
                </a:solidFill>
                <a:effectLst/>
                <a:uLnTx/>
                <a:uFillTx/>
                <a:ea typeface="ＭＳ Ｐゴシック"/>
                <a:cs typeface="Arial"/>
              </a:rPr>
              <a:t>Direct access to </a:t>
            </a:r>
            <a:r>
              <a:rPr kumimoji="0" lang="en-US" sz="1400" b="0" i="0" u="none" strike="noStrike" kern="1200" cap="none" spc="0" normalizeH="0" baseline="0" noProof="0">
                <a:ln>
                  <a:noFill/>
                </a:ln>
                <a:solidFill>
                  <a:srgbClr val="00C1B6"/>
                </a:solidFill>
                <a:effectLst/>
                <a:uLnTx/>
                <a:uFillTx/>
                <a:ea typeface="ＭＳ Ｐゴシック"/>
                <a:cs typeface="Arial"/>
              </a:rPr>
              <a:t>Siemens </a:t>
            </a:r>
            <a:r>
              <a:rPr kumimoji="0" lang="en-US" sz="1400" b="0" i="0" u="none" strike="noStrike" kern="0" cap="none" spc="0" normalizeH="0" baseline="0" noProof="0">
                <a:ln>
                  <a:noFill/>
                </a:ln>
                <a:solidFill>
                  <a:srgbClr val="00C1B6"/>
                </a:solidFill>
                <a:effectLst/>
                <a:uLnTx/>
                <a:uFillTx/>
                <a:ea typeface="ＭＳ Ｐゴシック"/>
                <a:cs typeface="Arial"/>
              </a:rPr>
              <a:t>support</a:t>
            </a:r>
            <a:endParaRPr kumimoji="0" lang="en-US" sz="1400" b="0" i="0" u="none" strike="noStrike" kern="0" cap="none" spc="0" normalizeH="0" baseline="0" noProof="0">
              <a:ln>
                <a:noFill/>
              </a:ln>
              <a:solidFill>
                <a:srgbClr val="00C1B6"/>
              </a:solidFill>
              <a:effectLst/>
              <a:uLnTx/>
              <a:uFillTx/>
            </a:endParaRPr>
          </a:p>
          <a:p>
            <a:pPr marL="180000" marR="0" lvl="0" indent="-180000" defTabSz="913943"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0" i="0" u="none" strike="noStrike" kern="0" cap="none" spc="0" normalizeH="0" baseline="0" noProof="0">
                <a:ln>
                  <a:noFill/>
                </a:ln>
                <a:solidFill>
                  <a:prstClr val="white"/>
                </a:solidFill>
                <a:effectLst/>
                <a:uLnTx/>
                <a:uFillTx/>
                <a:ea typeface="+mn-lt"/>
                <a:cs typeface="Arial"/>
              </a:rPr>
              <a:t>For quick and easy creation of support requests in relation to your equipment</a:t>
            </a:r>
          </a:p>
          <a:p>
            <a:pPr marL="180000" marR="0" lvl="0" indent="-180000" defTabSz="913943"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0" i="0" u="none" strike="noStrike" kern="0" cap="none" spc="0" normalizeH="0" baseline="0" noProof="0">
                <a:ln>
                  <a:noFill/>
                </a:ln>
                <a:solidFill>
                  <a:prstClr val="white"/>
                </a:solidFill>
                <a:effectLst/>
                <a:uLnTx/>
                <a:uFillTx/>
                <a:ea typeface="+mn-lt"/>
                <a:cs typeface="Arial"/>
              </a:rPr>
              <a:t>Access for all authorized users to current and processed support requests</a:t>
            </a:r>
          </a:p>
          <a:p>
            <a:pPr marL="180000" marR="0" lvl="0" indent="-180000" defTabSz="913943"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0" i="0" u="none" strike="noStrike" kern="0" cap="none" spc="0" normalizeH="0" baseline="0" noProof="0">
                <a:ln>
                  <a:noFill/>
                </a:ln>
                <a:solidFill>
                  <a:prstClr val="white"/>
                </a:solidFill>
                <a:effectLst/>
                <a:uLnTx/>
                <a:uFillTx/>
                <a:ea typeface="+mn-lt"/>
                <a:cs typeface="Arial"/>
              </a:rPr>
              <a:t>Creation of a knowledge base about your support requests for your staff</a:t>
            </a:r>
          </a:p>
        </p:txBody>
      </p:sp>
      <p:cxnSp>
        <p:nvCxnSpPr>
          <p:cNvPr id="69" name="Gerader Verbinder 68">
            <a:extLst>
              <a:ext uri="{FF2B5EF4-FFF2-40B4-BE49-F238E27FC236}">
                <a16:creationId xmlns:a16="http://schemas.microsoft.com/office/drawing/2014/main" id="{CCA00FFC-8B72-E8C8-7DA9-2E175E519472}"/>
              </a:ext>
            </a:extLst>
          </p:cNvPr>
          <p:cNvCxnSpPr/>
          <p:nvPr/>
        </p:nvCxnSpPr>
        <p:spPr>
          <a:xfrm flipH="1">
            <a:off x="7686675" y="4184873"/>
            <a:ext cx="4100513" cy="0"/>
          </a:xfrm>
          <a:prstGeom prst="line">
            <a:avLst/>
          </a:prstGeom>
          <a:ln w="12700">
            <a:solidFill>
              <a:srgbClr val="00C1B6"/>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E2D2E73F-5986-82DA-2FD9-4D0B1C30F588}"/>
              </a:ext>
            </a:extLst>
          </p:cNvPr>
          <p:cNvCxnSpPr>
            <a:cxnSpLocks/>
          </p:cNvCxnSpPr>
          <p:nvPr/>
        </p:nvCxnSpPr>
        <p:spPr>
          <a:xfrm flipH="1">
            <a:off x="7435969" y="1402086"/>
            <a:ext cx="4351219" cy="0"/>
          </a:xfrm>
          <a:prstGeom prst="line">
            <a:avLst/>
          </a:prstGeom>
          <a:ln w="12700">
            <a:solidFill>
              <a:srgbClr val="00C1B6"/>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2350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1AB16CF3-0268-0BD3-651D-38DD45DF0AA4}"/>
              </a:ext>
            </a:extLst>
          </p:cNvPr>
          <p:cNvGraphicFramePr>
            <a:graphicFrameLocks noChangeAspect="1"/>
          </p:cNvGraphicFramePr>
          <p:nvPr>
            <p:custDataLst>
              <p:tags r:id="rId1"/>
            </p:custDataLst>
            <p:extLst>
              <p:ext uri="{D42A27DB-BD31-4B8C-83A1-F6EECF244321}">
                <p14:modId xmlns:p14="http://schemas.microsoft.com/office/powerpoint/2010/main" val="157703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2" name="think-cell data - do not delete" hidden="1">
                        <a:extLst>
                          <a:ext uri="{FF2B5EF4-FFF2-40B4-BE49-F238E27FC236}">
                            <a16:creationId xmlns:a16="http://schemas.microsoft.com/office/drawing/2014/main" id="{1AB16CF3-0268-0BD3-651D-38DD45DF0A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8ED90D1-123B-CE6C-6461-3DB96EA9DBF7}"/>
              </a:ext>
            </a:extLst>
          </p:cNvPr>
          <p:cNvSpPr>
            <a:spLocks noGrp="1"/>
          </p:cNvSpPr>
          <p:nvPr>
            <p:ph type="ftr" sz="quarter" idx="10"/>
          </p:nvPr>
        </p:nvSpPr>
        <p:spPr/>
        <p:txBody>
          <a:bodyPr/>
          <a:lstStyle/>
          <a:p>
            <a:pPr>
              <a:lnSpc>
                <a:spcPct val="100000"/>
              </a:lnSpc>
            </a:pPr>
            <a:r>
              <a:rPr lang="en-US"/>
              <a:t>Unrestricted | © Siemens 2025 | Raghav Tripathi</a:t>
            </a:r>
          </a:p>
        </p:txBody>
      </p:sp>
      <p:pic>
        <p:nvPicPr>
          <p:cNvPr id="5" name="Picture 4">
            <a:extLst>
              <a:ext uri="{FF2B5EF4-FFF2-40B4-BE49-F238E27FC236}">
                <a16:creationId xmlns:a16="http://schemas.microsoft.com/office/drawing/2014/main" id="{C170D1C4-DDEA-88BF-8C4A-EAAABE7970E0}"/>
              </a:ext>
            </a:extLst>
          </p:cNvPr>
          <p:cNvPicPr preferRelativeResize="0">
            <a:picLocks noChangeArrowheads="1"/>
          </p:cNvPicPr>
          <p:nvPr/>
        </p:nvPicPr>
        <p:blipFill rotWithShape="1">
          <a:blip r:embed="rId6">
            <a:extLst>
              <a:ext uri="{28A0092B-C50C-407E-A947-70E740481C1C}">
                <a14:useLocalDpi xmlns:a14="http://schemas.microsoft.com/office/drawing/2010/main" val="0"/>
              </a:ext>
            </a:extLst>
          </a:blip>
          <a:srcRect t="28752" b="9106"/>
          <a:stretch>
            <a:fillRect/>
          </a:stretch>
        </p:blipFill>
        <p:spPr bwMode="auto">
          <a:xfrm>
            <a:off x="8198372" y="4134438"/>
            <a:ext cx="3588813" cy="16726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D67C0B06-02EC-EA5C-C8D2-945EE3C04F78}"/>
              </a:ext>
            </a:extLst>
          </p:cNvPr>
          <p:cNvPicPr preferRelativeResize="0">
            <a:picLocks noChangeArrowheads="1"/>
          </p:cNvPicPr>
          <p:nvPr/>
        </p:nvPicPr>
        <p:blipFill rotWithShape="1">
          <a:blip r:embed="rId7">
            <a:extLst>
              <a:ext uri="{28A0092B-C50C-407E-A947-70E740481C1C}">
                <a14:useLocalDpi xmlns:a14="http://schemas.microsoft.com/office/drawing/2010/main" val="0"/>
              </a:ext>
            </a:extLst>
          </a:blip>
          <a:srcRect t="19021" b="19021"/>
          <a:stretch>
            <a:fillRect/>
          </a:stretch>
        </p:blipFill>
        <p:spPr bwMode="auto">
          <a:xfrm>
            <a:off x="4298949" y="2222230"/>
            <a:ext cx="3599531" cy="1672637"/>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26" descr="Ein Bild, das Person, Kleidung, Menschliches Gesicht, Computer enthält.&#10;&#10;KI-generierte Inhalte können fehlerhaft sein.">
            <a:extLst>
              <a:ext uri="{FF2B5EF4-FFF2-40B4-BE49-F238E27FC236}">
                <a16:creationId xmlns:a16="http://schemas.microsoft.com/office/drawing/2014/main" id="{EF86ACCE-3239-CF82-C848-14AB4811900D}"/>
              </a:ext>
            </a:extLst>
          </p:cNvPr>
          <p:cNvPicPr preferRelativeResize="0">
            <a:picLocks/>
          </p:cNvPicPr>
          <p:nvPr/>
        </p:nvPicPr>
        <p:blipFill rotWithShape="1">
          <a:blip r:embed="rId8" cstate="print">
            <a:extLst>
              <a:ext uri="{28A0092B-C50C-407E-A947-70E740481C1C}">
                <a14:useLocalDpi xmlns:a14="http://schemas.microsoft.com/office/drawing/2010/main"/>
              </a:ext>
            </a:extLst>
          </a:blip>
          <a:srcRect l="404" r="404"/>
          <a:stretch>
            <a:fillRect/>
          </a:stretch>
        </p:blipFill>
        <p:spPr>
          <a:xfrm>
            <a:off x="411164" y="2222230"/>
            <a:ext cx="3598862" cy="1672637"/>
          </a:xfrm>
          <a:prstGeom prst="rect">
            <a:avLst/>
          </a:prstGeom>
        </p:spPr>
      </p:pic>
      <p:pic>
        <p:nvPicPr>
          <p:cNvPr id="9" name="Grafik 28" descr="Ein Bild, das Landwirtschaft, Plantage, Gras, Feldfrucht enthält.&#10;&#10;KI-generierte Inhalte können fehlerhaft sein.">
            <a:extLst>
              <a:ext uri="{FF2B5EF4-FFF2-40B4-BE49-F238E27FC236}">
                <a16:creationId xmlns:a16="http://schemas.microsoft.com/office/drawing/2014/main" id="{884F6CA6-069E-8C5F-A4E6-69E8D4B653F9}"/>
              </a:ext>
            </a:extLst>
          </p:cNvPr>
          <p:cNvPicPr preferRelativeResize="0">
            <a:picLocks/>
          </p:cNvPicPr>
          <p:nvPr/>
        </p:nvPicPr>
        <p:blipFill rotWithShape="1">
          <a:blip r:embed="rId9" cstate="print">
            <a:extLst>
              <a:ext uri="{28A0092B-C50C-407E-A947-70E740481C1C}">
                <a14:useLocalDpi xmlns:a14="http://schemas.microsoft.com/office/drawing/2010/main"/>
              </a:ext>
            </a:extLst>
          </a:blip>
          <a:srcRect l="404" r="404"/>
          <a:stretch>
            <a:fillRect/>
          </a:stretch>
        </p:blipFill>
        <p:spPr>
          <a:xfrm>
            <a:off x="411164" y="4134438"/>
            <a:ext cx="3598862" cy="1672637"/>
          </a:xfrm>
          <a:prstGeom prst="rect">
            <a:avLst/>
          </a:prstGeom>
        </p:spPr>
      </p:pic>
      <p:pic>
        <p:nvPicPr>
          <p:cNvPr id="10" name="Grafik 30" descr="Ein Bild, das Brille, Menschliches Gesicht, Person, Schutzbrille enthält.&#10;&#10;KI-generierte Inhalte können fehlerhaft sein.">
            <a:extLst>
              <a:ext uri="{FF2B5EF4-FFF2-40B4-BE49-F238E27FC236}">
                <a16:creationId xmlns:a16="http://schemas.microsoft.com/office/drawing/2014/main" id="{1B724D31-E110-EFA4-54C1-2C30BA39012D}"/>
              </a:ext>
            </a:extLst>
          </p:cNvPr>
          <p:cNvPicPr preferRelativeResize="0">
            <a:picLocks/>
          </p:cNvPicPr>
          <p:nvPr/>
        </p:nvPicPr>
        <p:blipFill rotWithShape="1">
          <a:blip r:embed="rId10" cstate="print">
            <a:extLst>
              <a:ext uri="{BEBA8EAE-BF5A-486C-A8C5-ECC9F3942E4B}">
                <a14:imgProps xmlns:a14="http://schemas.microsoft.com/office/drawing/2010/main">
                  <a14:imgLayer r:embed="rId11">
                    <a14:imgEffect>
                      <a14:brightnessContrast bright="-27000" contrast="-6000"/>
                    </a14:imgEffect>
                  </a14:imgLayer>
                </a14:imgProps>
              </a:ext>
              <a:ext uri="{28A0092B-C50C-407E-A947-70E740481C1C}">
                <a14:useLocalDpi xmlns:a14="http://schemas.microsoft.com/office/drawing/2010/main"/>
              </a:ext>
            </a:extLst>
          </a:blip>
          <a:srcRect l="390" r="390"/>
          <a:stretch>
            <a:fillRect/>
          </a:stretch>
        </p:blipFill>
        <p:spPr>
          <a:xfrm>
            <a:off x="8198373" y="2222230"/>
            <a:ext cx="3588813" cy="1672637"/>
          </a:xfrm>
          <a:prstGeom prst="rect">
            <a:avLst/>
          </a:prstGeom>
        </p:spPr>
      </p:pic>
      <p:pic>
        <p:nvPicPr>
          <p:cNvPr id="11" name="Grafik 32" descr="Ein Bild, das Kleidung, Person, Frachtcontainer, Mann enthält.&#10;&#10;KI-generierte Inhalte können fehlerhaft sein.">
            <a:extLst>
              <a:ext uri="{FF2B5EF4-FFF2-40B4-BE49-F238E27FC236}">
                <a16:creationId xmlns:a16="http://schemas.microsoft.com/office/drawing/2014/main" id="{193153D2-87EF-1A65-F2E1-95A1634197C8}"/>
              </a:ext>
            </a:extLst>
          </p:cNvPr>
          <p:cNvPicPr preferRelativeResize="0">
            <a:picLocks/>
          </p:cNvPicPr>
          <p:nvPr/>
        </p:nvPicPr>
        <p:blipFill rotWithShape="1">
          <a:blip r:embed="rId12" cstate="print">
            <a:extLst>
              <a:ext uri="{28A0092B-C50C-407E-A947-70E740481C1C}">
                <a14:useLocalDpi xmlns:a14="http://schemas.microsoft.com/office/drawing/2010/main"/>
              </a:ext>
            </a:extLst>
          </a:blip>
          <a:srcRect l="272" r="272"/>
          <a:stretch>
            <a:fillRect/>
          </a:stretch>
        </p:blipFill>
        <p:spPr>
          <a:xfrm>
            <a:off x="4298949" y="4134438"/>
            <a:ext cx="3599531" cy="1672637"/>
          </a:xfrm>
          <a:prstGeom prst="rect">
            <a:avLst/>
          </a:prstGeom>
        </p:spPr>
      </p:pic>
      <p:sp>
        <p:nvSpPr>
          <p:cNvPr id="12" name="Rechteck 33">
            <a:extLst>
              <a:ext uri="{FF2B5EF4-FFF2-40B4-BE49-F238E27FC236}">
                <a16:creationId xmlns:a16="http://schemas.microsoft.com/office/drawing/2014/main" id="{6846B36A-E454-72E5-193B-36FE74DD84CB}"/>
              </a:ext>
            </a:extLst>
          </p:cNvPr>
          <p:cNvSpPr>
            <a:spLocks/>
          </p:cNvSpPr>
          <p:nvPr/>
        </p:nvSpPr>
        <p:spPr>
          <a:xfrm>
            <a:off x="404814" y="2222230"/>
            <a:ext cx="11382373" cy="1672637"/>
          </a:xfrm>
          <a:prstGeom prst="rect">
            <a:avLst/>
          </a:prstGeom>
          <a:gradFill flip="none" rotWithShape="1">
            <a:gsLst>
              <a:gs pos="0">
                <a:schemeClr val="bg2">
                  <a:alpha val="51000"/>
                </a:schemeClr>
              </a:gs>
              <a:gs pos="100000">
                <a:schemeClr val="bg2">
                  <a:alpha val="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9" name="Titel 1">
            <a:extLst>
              <a:ext uri="{FF2B5EF4-FFF2-40B4-BE49-F238E27FC236}">
                <a16:creationId xmlns:a16="http://schemas.microsoft.com/office/drawing/2014/main" id="{DC0C8072-BBF4-341B-2F42-EAC72DAABD0D}"/>
              </a:ext>
            </a:extLst>
          </p:cNvPr>
          <p:cNvSpPr txBox="1">
            <a:spLocks/>
          </p:cNvSpPr>
          <p:nvPr/>
        </p:nvSpPr>
        <p:spPr bwMode="black">
          <a:xfrm>
            <a:off x="411162" y="1324412"/>
            <a:ext cx="11376025" cy="568538"/>
          </a:xfrm>
          <a:prstGeom prst="rect">
            <a:avLst/>
          </a:prstGeom>
        </p:spPr>
        <p:txBody>
          <a:bodyPr vert="horz" lIns="0" tIns="0" rIns="324000" bIns="1440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3600" b="1" i="0" u="none" strike="noStrike" kern="1200" cap="none" spc="0" normalizeH="0" baseline="0" noProof="0">
                <a:ln>
                  <a:noFill/>
                </a:ln>
                <a:solidFill>
                  <a:srgbClr val="00C1B6"/>
                </a:solidFill>
                <a:effectLst/>
                <a:uLnTx/>
                <a:uFillTx/>
                <a:latin typeface="Arial"/>
                <a:ea typeface="+mj-ea"/>
                <a:cs typeface="+mj-cs"/>
              </a:rPr>
              <a:t>Our customers’ challenges are increasing …</a:t>
            </a:r>
          </a:p>
        </p:txBody>
      </p:sp>
      <p:sp>
        <p:nvSpPr>
          <p:cNvPr id="23" name="Rechteck 33">
            <a:extLst>
              <a:ext uri="{FF2B5EF4-FFF2-40B4-BE49-F238E27FC236}">
                <a16:creationId xmlns:a16="http://schemas.microsoft.com/office/drawing/2014/main" id="{F515BD5E-0A6A-4FE1-C3AD-A242E663EB48}"/>
              </a:ext>
            </a:extLst>
          </p:cNvPr>
          <p:cNvSpPr>
            <a:spLocks/>
          </p:cNvSpPr>
          <p:nvPr/>
        </p:nvSpPr>
        <p:spPr>
          <a:xfrm>
            <a:off x="404814" y="4141032"/>
            <a:ext cx="11382373" cy="1672637"/>
          </a:xfrm>
          <a:prstGeom prst="rect">
            <a:avLst/>
          </a:prstGeom>
          <a:gradFill flip="none" rotWithShape="1">
            <a:gsLst>
              <a:gs pos="0">
                <a:schemeClr val="bg2">
                  <a:alpha val="51000"/>
                </a:schemeClr>
              </a:gs>
              <a:gs pos="100000">
                <a:schemeClr val="bg2">
                  <a:alpha val="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43">
            <a:extLst>
              <a:ext uri="{FF2B5EF4-FFF2-40B4-BE49-F238E27FC236}">
                <a16:creationId xmlns:a16="http://schemas.microsoft.com/office/drawing/2014/main" id="{D81E5F1B-C6D2-9A5F-9515-61284870E575}"/>
              </a:ext>
            </a:extLst>
          </p:cNvPr>
          <p:cNvSpPr>
            <a:spLocks/>
          </p:cNvSpPr>
          <p:nvPr/>
        </p:nvSpPr>
        <p:spPr>
          <a:xfrm>
            <a:off x="411162" y="5135177"/>
            <a:ext cx="3617659" cy="66305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Need for alter-</a:t>
            </a:r>
            <a:br>
              <a:rPr kumimoji="0" lang="en-US" sz="1800" b="0" i="0" u="none" strike="noStrike" kern="1200" cap="none" spc="0" normalizeH="0" baseline="0" noProof="0">
                <a:ln>
                  <a:noFill/>
                </a:ln>
                <a:solidFill>
                  <a:prstClr val="white"/>
                </a:solidFill>
                <a:effectLst/>
                <a:uLnTx/>
                <a:uFillTx/>
                <a:latin typeface="Arial"/>
                <a:ea typeface="+mn-ea"/>
                <a:cs typeface="+mn-cs"/>
              </a:rPr>
            </a:br>
            <a:r>
              <a:rPr kumimoji="0" lang="en-US" sz="1800" b="0" i="0" u="none" strike="noStrike" kern="1200" cap="none" spc="0" normalizeH="0" baseline="0" noProof="0">
                <a:ln>
                  <a:noFill/>
                </a:ln>
                <a:solidFill>
                  <a:prstClr val="white"/>
                </a:solidFill>
                <a:effectLst/>
                <a:uLnTx/>
                <a:uFillTx/>
                <a:latin typeface="Arial"/>
                <a:ea typeface="+mn-ea"/>
                <a:cs typeface="+mn-cs"/>
              </a:rPr>
              <a:t>native feedstocks</a:t>
            </a:r>
          </a:p>
        </p:txBody>
      </p:sp>
      <p:sp>
        <p:nvSpPr>
          <p:cNvPr id="17" name="Rectangle 47">
            <a:extLst>
              <a:ext uri="{FF2B5EF4-FFF2-40B4-BE49-F238E27FC236}">
                <a16:creationId xmlns:a16="http://schemas.microsoft.com/office/drawing/2014/main" id="{6F160092-9A5A-8254-DF1D-96E51106340C}"/>
              </a:ext>
            </a:extLst>
          </p:cNvPr>
          <p:cNvSpPr>
            <a:spLocks/>
          </p:cNvSpPr>
          <p:nvPr/>
        </p:nvSpPr>
        <p:spPr>
          <a:xfrm>
            <a:off x="4287171" y="5135177"/>
            <a:ext cx="3617659" cy="66305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Inflexible</a:t>
            </a:r>
            <a:br>
              <a:rPr kumimoji="0" lang="en-US" sz="1800" b="0" i="0" u="none" strike="noStrike" kern="1200" cap="none" spc="0" normalizeH="0" baseline="0" noProof="0">
                <a:ln>
                  <a:noFill/>
                </a:ln>
                <a:solidFill>
                  <a:prstClr val="white"/>
                </a:solidFill>
                <a:effectLst/>
                <a:uLnTx/>
                <a:uFillTx/>
                <a:latin typeface="Arial"/>
                <a:ea typeface="+mn-ea"/>
                <a:cs typeface="+mn-cs"/>
              </a:rPr>
            </a:br>
            <a:r>
              <a:rPr kumimoji="0" lang="en-US" sz="1800" b="0" i="0" u="none" strike="noStrike" kern="1200" cap="none" spc="0" normalizeH="0" baseline="0" noProof="0">
                <a:ln>
                  <a:noFill/>
                </a:ln>
                <a:solidFill>
                  <a:prstClr val="white"/>
                </a:solidFill>
                <a:effectLst/>
                <a:uLnTx/>
                <a:uFillTx/>
                <a:latin typeface="Arial"/>
                <a:ea typeface="+mn-ea"/>
                <a:cs typeface="+mn-cs"/>
              </a:rPr>
              <a:t>operations</a:t>
            </a:r>
          </a:p>
        </p:txBody>
      </p:sp>
      <p:sp>
        <p:nvSpPr>
          <p:cNvPr id="18" name="Rectangle 48">
            <a:extLst>
              <a:ext uri="{FF2B5EF4-FFF2-40B4-BE49-F238E27FC236}">
                <a16:creationId xmlns:a16="http://schemas.microsoft.com/office/drawing/2014/main" id="{5B067F80-25C7-20DE-BB73-6BFF56804992}"/>
              </a:ext>
            </a:extLst>
          </p:cNvPr>
          <p:cNvSpPr>
            <a:spLocks/>
          </p:cNvSpPr>
          <p:nvPr/>
        </p:nvSpPr>
        <p:spPr>
          <a:xfrm>
            <a:off x="8163178" y="5135177"/>
            <a:ext cx="3617659" cy="66305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Challenging integration </a:t>
            </a:r>
            <a:br>
              <a:rPr kumimoji="0" lang="en-US" sz="1800" b="0" i="0" u="none" strike="noStrike" kern="1200" cap="none" spc="0" normalizeH="0" baseline="0" noProof="0">
                <a:ln>
                  <a:noFill/>
                </a:ln>
                <a:solidFill>
                  <a:prstClr val="white"/>
                </a:solidFill>
                <a:effectLst/>
                <a:uLnTx/>
                <a:uFillTx/>
                <a:latin typeface="Arial"/>
                <a:ea typeface="+mn-ea"/>
                <a:cs typeface="+mn-cs"/>
              </a:rPr>
            </a:br>
            <a:r>
              <a:rPr kumimoji="0" lang="en-US" sz="1800" b="0" i="0" u="none" strike="noStrike" kern="1200" cap="none" spc="0" normalizeH="0" baseline="0" noProof="0">
                <a:ln>
                  <a:noFill/>
                </a:ln>
                <a:solidFill>
                  <a:prstClr val="white"/>
                </a:solidFill>
                <a:effectLst/>
                <a:uLnTx/>
                <a:uFillTx/>
                <a:latin typeface="Arial"/>
                <a:ea typeface="+mn-ea"/>
                <a:cs typeface="+mn-cs"/>
              </a:rPr>
              <a:t>of advanced technologies</a:t>
            </a:r>
          </a:p>
        </p:txBody>
      </p:sp>
      <p:sp>
        <p:nvSpPr>
          <p:cNvPr id="6" name="Rectangle 46">
            <a:extLst>
              <a:ext uri="{FF2B5EF4-FFF2-40B4-BE49-F238E27FC236}">
                <a16:creationId xmlns:a16="http://schemas.microsoft.com/office/drawing/2014/main" id="{D0F0E6E3-8C7E-14F1-6434-D33275EB78F2}"/>
              </a:ext>
            </a:extLst>
          </p:cNvPr>
          <p:cNvSpPr>
            <a:spLocks/>
          </p:cNvSpPr>
          <p:nvPr/>
        </p:nvSpPr>
        <p:spPr>
          <a:xfrm>
            <a:off x="4287171" y="3210539"/>
            <a:ext cx="3617659" cy="66305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Need for energy </a:t>
            </a:r>
            <a:br>
              <a:rPr kumimoji="0" lang="en-US" sz="1800" b="0" i="0" u="none" strike="noStrike" kern="1200" cap="none" spc="0" normalizeH="0" baseline="0" noProof="0">
                <a:ln>
                  <a:noFill/>
                </a:ln>
                <a:solidFill>
                  <a:prstClr val="white"/>
                </a:solidFill>
                <a:effectLst/>
                <a:uLnTx/>
                <a:uFillTx/>
                <a:latin typeface="Arial"/>
                <a:ea typeface="+mn-ea"/>
                <a:cs typeface="+mn-cs"/>
              </a:rPr>
            </a:br>
            <a:r>
              <a:rPr kumimoji="0" lang="en-US" sz="1800" b="0" i="0" u="none" strike="noStrike" kern="1200" cap="none" spc="0" normalizeH="0" baseline="0" noProof="0">
                <a:ln>
                  <a:noFill/>
                </a:ln>
                <a:solidFill>
                  <a:prstClr val="white"/>
                </a:solidFill>
                <a:effectLst/>
                <a:uLnTx/>
                <a:uFillTx/>
                <a:latin typeface="Arial"/>
                <a:ea typeface="+mn-ea"/>
                <a:cs typeface="+mn-cs"/>
              </a:rPr>
              <a:t>&amp; resource efficiency</a:t>
            </a:r>
          </a:p>
        </p:txBody>
      </p:sp>
      <p:sp>
        <p:nvSpPr>
          <p:cNvPr id="13" name="Rectangle 15">
            <a:extLst>
              <a:ext uri="{FF2B5EF4-FFF2-40B4-BE49-F238E27FC236}">
                <a16:creationId xmlns:a16="http://schemas.microsoft.com/office/drawing/2014/main" id="{7611FC2E-32DF-7BA0-71BE-03253CFC5A63}"/>
              </a:ext>
            </a:extLst>
          </p:cNvPr>
          <p:cNvSpPr>
            <a:spLocks/>
          </p:cNvSpPr>
          <p:nvPr/>
        </p:nvSpPr>
        <p:spPr>
          <a:xfrm>
            <a:off x="411162" y="3210539"/>
            <a:ext cx="3617659" cy="66305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Handling of </a:t>
            </a:r>
            <a:br>
              <a:rPr kumimoji="0" lang="en-US" sz="1800" b="0" i="0" u="none" strike="noStrike" kern="1200" cap="none" spc="0" normalizeH="0" baseline="0" noProof="0">
                <a:ln>
                  <a:noFill/>
                </a:ln>
                <a:solidFill>
                  <a:prstClr val="white"/>
                </a:solidFill>
                <a:effectLst/>
                <a:uLnTx/>
                <a:uFillTx/>
                <a:latin typeface="Arial"/>
                <a:ea typeface="+mn-ea"/>
                <a:cs typeface="+mn-cs"/>
              </a:rPr>
            </a:br>
            <a:r>
              <a:rPr kumimoji="0" lang="en-US" sz="1800" b="0" i="0" u="none" strike="noStrike" kern="1200" cap="none" spc="0" normalizeH="0" baseline="0" noProof="0">
                <a:ln>
                  <a:noFill/>
                </a:ln>
                <a:solidFill>
                  <a:prstClr val="white"/>
                </a:solidFill>
                <a:effectLst/>
                <a:uLnTx/>
                <a:uFillTx/>
                <a:latin typeface="Arial"/>
                <a:ea typeface="+mn-ea"/>
                <a:cs typeface="+mn-cs"/>
              </a:rPr>
              <a:t>labor shortages</a:t>
            </a:r>
          </a:p>
        </p:txBody>
      </p:sp>
      <p:sp>
        <p:nvSpPr>
          <p:cNvPr id="14" name="Rectangle 45">
            <a:extLst>
              <a:ext uri="{FF2B5EF4-FFF2-40B4-BE49-F238E27FC236}">
                <a16:creationId xmlns:a16="http://schemas.microsoft.com/office/drawing/2014/main" id="{3C344B5F-4DF7-84E4-F0A6-ABB40DEA2F92}"/>
              </a:ext>
            </a:extLst>
          </p:cNvPr>
          <p:cNvSpPr>
            <a:spLocks/>
          </p:cNvSpPr>
          <p:nvPr/>
        </p:nvSpPr>
        <p:spPr>
          <a:xfrm>
            <a:off x="8163178" y="3210539"/>
            <a:ext cx="3617659" cy="663053"/>
          </a:xfrm>
          <a:prstGeom prst="rect">
            <a:avLst/>
          </a:prstGeom>
          <a:noFill/>
          <a:ln>
            <a:noFill/>
          </a:ln>
          <a:extLst>
            <a:ext uri="{909E8E84-426E-40DD-AFC4-6F175D3DCCD1}">
              <a14:hiddenFill xmlns:a14="http://schemas.microsoft.com/office/drawing/2010/main">
                <a:solidFill>
                  <a:srgbClr val="CCCCD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0" rIns="0" bIns="108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Cybersecurity threats and regulatory requirements</a:t>
            </a:r>
          </a:p>
        </p:txBody>
      </p:sp>
    </p:spTree>
    <p:extLst>
      <p:ext uri="{BB962C8B-B14F-4D97-AF65-F5344CB8AC3E}">
        <p14:creationId xmlns:p14="http://schemas.microsoft.com/office/powerpoint/2010/main" val="232439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2553835-D119-1933-9E83-217C8DE4F985}"/>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7" name="Title 1">
            <a:extLst>
              <a:ext uri="{FF2B5EF4-FFF2-40B4-BE49-F238E27FC236}">
                <a16:creationId xmlns:a16="http://schemas.microsoft.com/office/drawing/2014/main" id="{25C572D4-D1DF-7226-46EF-DC11EC9811CC}"/>
              </a:ext>
            </a:extLst>
          </p:cNvPr>
          <p:cNvSpPr txBox="1">
            <a:spLocks/>
          </p:cNvSpPr>
          <p:nvPr/>
        </p:nvSpPr>
        <p:spPr bwMode="black">
          <a:xfrm>
            <a:off x="2706591" y="2442989"/>
            <a:ext cx="3033809" cy="1122536"/>
          </a:xfrm>
          <a:prstGeom prst="rect">
            <a:avLst/>
          </a:prstGeom>
        </p:spPr>
        <p:txBody>
          <a:bodyPr vert="horz" wrap="square" lIns="0" tIns="0" rIns="324000" bIns="14400" rtlCol="0" anchor="t" anchorCtr="0">
            <a:sp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lnSpc>
                <a:spcPct val="100000"/>
              </a:lnSpc>
              <a:spcBef>
                <a:spcPts val="0"/>
              </a:spcBef>
              <a:buClrTx/>
            </a:pPr>
            <a:r>
              <a:rPr lang="en-US" sz="7200" kern="0">
                <a:solidFill>
                  <a:srgbClr val="00C1B6"/>
                </a:solidFill>
                <a:cs typeface="Arial"/>
              </a:rPr>
              <a:t>What </a:t>
            </a:r>
            <a:endParaRPr lang="en-US" sz="7200" b="0"/>
          </a:p>
        </p:txBody>
      </p:sp>
      <p:grpSp>
        <p:nvGrpSpPr>
          <p:cNvPr id="8" name="Group 7">
            <a:extLst>
              <a:ext uri="{FF2B5EF4-FFF2-40B4-BE49-F238E27FC236}">
                <a16:creationId xmlns:a16="http://schemas.microsoft.com/office/drawing/2014/main" id="{32D5B70E-A152-7B7B-5320-B243AE49B284}"/>
              </a:ext>
            </a:extLst>
          </p:cNvPr>
          <p:cNvGrpSpPr/>
          <p:nvPr/>
        </p:nvGrpSpPr>
        <p:grpSpPr>
          <a:xfrm>
            <a:off x="1573082" y="2584298"/>
            <a:ext cx="839918" cy="839918"/>
            <a:chOff x="1605691" y="2590733"/>
            <a:chExt cx="774700" cy="774700"/>
          </a:xfrm>
        </p:grpSpPr>
        <p:sp>
          <p:nvSpPr>
            <p:cNvPr id="9" name="Rectangle 8">
              <a:extLst>
                <a:ext uri="{FF2B5EF4-FFF2-40B4-BE49-F238E27FC236}">
                  <a16:creationId xmlns:a16="http://schemas.microsoft.com/office/drawing/2014/main" id="{7CF7487F-0A45-A44F-3AD9-36D50ABCFD81}"/>
                </a:ext>
              </a:extLst>
            </p:cNvPr>
            <p:cNvSpPr/>
            <p:nvPr/>
          </p:nvSpPr>
          <p:spPr>
            <a:xfrm>
              <a:off x="1605691" y="2590733"/>
              <a:ext cx="774700" cy="774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Freihandform: Form 106">
              <a:extLst>
                <a:ext uri="{FF2B5EF4-FFF2-40B4-BE49-F238E27FC236}">
                  <a16:creationId xmlns:a16="http://schemas.microsoft.com/office/drawing/2014/main" id="{244C65E3-6846-BC7E-DD48-4ABBA613887F}"/>
                </a:ext>
              </a:extLst>
            </p:cNvPr>
            <p:cNvSpPr/>
            <p:nvPr/>
          </p:nvSpPr>
          <p:spPr bwMode="gray">
            <a:xfrm>
              <a:off x="1876485" y="2787548"/>
              <a:ext cx="233113" cy="381071"/>
            </a:xfrm>
            <a:custGeom>
              <a:avLst/>
              <a:gdLst>
                <a:gd name="connsiteX0" fmla="*/ 57935 w 233113"/>
                <a:gd name="connsiteY0" fmla="*/ 252311 h 381071"/>
                <a:gd name="connsiteX1" fmla="*/ 57935 w 233113"/>
                <a:gd name="connsiteY1" fmla="*/ 229411 h 381071"/>
                <a:gd name="connsiteX2" fmla="*/ 101610 w 233113"/>
                <a:gd name="connsiteY2" fmla="*/ 150084 h 381071"/>
                <a:gd name="connsiteX3" fmla="*/ 147410 w 233113"/>
                <a:gd name="connsiteY3" fmla="*/ 97428 h 381071"/>
                <a:gd name="connsiteX4" fmla="*/ 103255 w 233113"/>
                <a:gd name="connsiteY4" fmla="*/ 61226 h 381071"/>
                <a:gd name="connsiteX5" fmla="*/ 22900 w 233113"/>
                <a:gd name="connsiteY5" fmla="*/ 87829 h 381071"/>
                <a:gd name="connsiteX6" fmla="*/ 0 w 233113"/>
                <a:gd name="connsiteY6" fmla="*/ 29825 h 381071"/>
                <a:gd name="connsiteX7" fmla="*/ 115460 w 233113"/>
                <a:gd name="connsiteY7" fmla="*/ 0 h 381071"/>
                <a:gd name="connsiteX8" fmla="*/ 233113 w 233113"/>
                <a:gd name="connsiteY8" fmla="*/ 93657 h 381071"/>
                <a:gd name="connsiteX9" fmla="*/ 172435 w 233113"/>
                <a:gd name="connsiteY9" fmla="*/ 182034 h 381071"/>
                <a:gd name="connsiteX10" fmla="*/ 134657 w 233113"/>
                <a:gd name="connsiteY10" fmla="*/ 241615 h 381071"/>
                <a:gd name="connsiteX11" fmla="*/ 134657 w 233113"/>
                <a:gd name="connsiteY11" fmla="*/ 252242 h 381071"/>
                <a:gd name="connsiteX12" fmla="*/ 58004 w 233113"/>
                <a:gd name="connsiteY12" fmla="*/ 252242 h 381071"/>
                <a:gd name="connsiteX13" fmla="*/ 145764 w 233113"/>
                <a:gd name="connsiteY13" fmla="*/ 332118 h 381071"/>
                <a:gd name="connsiteX14" fmla="*/ 96810 w 233113"/>
                <a:gd name="connsiteY14" fmla="*/ 381071 h 381071"/>
                <a:gd name="connsiteX15" fmla="*/ 47308 w 233113"/>
                <a:gd name="connsiteY15" fmla="*/ 331021 h 381071"/>
                <a:gd name="connsiteX16" fmla="*/ 96810 w 233113"/>
                <a:gd name="connsiteY16" fmla="*/ 282615 h 381071"/>
                <a:gd name="connsiteX17" fmla="*/ 145764 w 233113"/>
                <a:gd name="connsiteY17" fmla="*/ 332118 h 38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113" h="381071">
                  <a:moveTo>
                    <a:pt x="57935" y="252311"/>
                  </a:moveTo>
                  <a:lnTo>
                    <a:pt x="57935" y="229411"/>
                  </a:lnTo>
                  <a:cubicBezTo>
                    <a:pt x="57935" y="183611"/>
                    <a:pt x="60609" y="178880"/>
                    <a:pt x="101610" y="150084"/>
                  </a:cubicBezTo>
                  <a:cubicBezTo>
                    <a:pt x="139936" y="123481"/>
                    <a:pt x="147410" y="114980"/>
                    <a:pt x="147410" y="97428"/>
                  </a:cubicBezTo>
                  <a:cubicBezTo>
                    <a:pt x="147410" y="75076"/>
                    <a:pt x="130406" y="61226"/>
                    <a:pt x="103255" y="61226"/>
                  </a:cubicBezTo>
                  <a:cubicBezTo>
                    <a:pt x="81452" y="61226"/>
                    <a:pt x="54850" y="70277"/>
                    <a:pt x="22900" y="87829"/>
                  </a:cubicBezTo>
                  <a:lnTo>
                    <a:pt x="0" y="29825"/>
                  </a:lnTo>
                  <a:cubicBezTo>
                    <a:pt x="41000" y="9050"/>
                    <a:pt x="75076" y="0"/>
                    <a:pt x="115460" y="0"/>
                  </a:cubicBezTo>
                  <a:cubicBezTo>
                    <a:pt x="189439" y="0"/>
                    <a:pt x="233113" y="35104"/>
                    <a:pt x="233113" y="93657"/>
                  </a:cubicBezTo>
                  <a:cubicBezTo>
                    <a:pt x="233113" y="129858"/>
                    <a:pt x="217687" y="152209"/>
                    <a:pt x="172435" y="182034"/>
                  </a:cubicBezTo>
                  <a:cubicBezTo>
                    <a:pt x="137811" y="204934"/>
                    <a:pt x="134657" y="210213"/>
                    <a:pt x="134657" y="241615"/>
                  </a:cubicBezTo>
                  <a:lnTo>
                    <a:pt x="134657" y="252242"/>
                  </a:lnTo>
                  <a:lnTo>
                    <a:pt x="58004" y="252242"/>
                  </a:lnTo>
                  <a:close/>
                  <a:moveTo>
                    <a:pt x="145764" y="332118"/>
                  </a:moveTo>
                  <a:cubicBezTo>
                    <a:pt x="145764" y="360297"/>
                    <a:pt x="124990" y="381071"/>
                    <a:pt x="96810" y="381071"/>
                  </a:cubicBezTo>
                  <a:cubicBezTo>
                    <a:pt x="68631" y="381071"/>
                    <a:pt x="47308" y="360297"/>
                    <a:pt x="47308" y="331021"/>
                  </a:cubicBezTo>
                  <a:cubicBezTo>
                    <a:pt x="47308" y="303321"/>
                    <a:pt x="68631" y="282615"/>
                    <a:pt x="96810" y="282615"/>
                  </a:cubicBezTo>
                  <a:cubicBezTo>
                    <a:pt x="124990" y="282615"/>
                    <a:pt x="145764" y="303390"/>
                    <a:pt x="145764" y="332118"/>
                  </a:cubicBezTo>
                  <a:close/>
                </a:path>
              </a:pathLst>
            </a:custGeom>
            <a:solidFill>
              <a:schemeClr val="bg2"/>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grpSp>
      <p:sp>
        <p:nvSpPr>
          <p:cNvPr id="11" name="TextBox 10">
            <a:extLst>
              <a:ext uri="{FF2B5EF4-FFF2-40B4-BE49-F238E27FC236}">
                <a16:creationId xmlns:a16="http://schemas.microsoft.com/office/drawing/2014/main" id="{0FAFAC10-C739-2807-FDA1-60B6F4DD6E25}"/>
              </a:ext>
            </a:extLst>
          </p:cNvPr>
          <p:cNvSpPr txBox="1"/>
          <p:nvPr/>
        </p:nvSpPr>
        <p:spPr>
          <a:xfrm>
            <a:off x="1605691" y="3652649"/>
            <a:ext cx="6096000" cy="609398"/>
          </a:xfrm>
          <a:prstGeom prst="rect">
            <a:avLst/>
          </a:prstGeom>
          <a:noFill/>
        </p:spPr>
        <p:txBody>
          <a:bodyPr wrap="square" lIns="0" tIns="0" rIns="0" bIns="0">
            <a:spAutoFit/>
          </a:bodyPr>
          <a:lstStyle/>
          <a:p>
            <a:pPr>
              <a:lnSpc>
                <a:spcPct val="90000"/>
              </a:lnSpc>
            </a:pPr>
            <a:r>
              <a:rPr lang="en-US" sz="4400">
                <a:solidFill>
                  <a:prstClr val="white"/>
                </a:solidFill>
                <a:cs typeface="Arial"/>
              </a:rPr>
              <a:t>is the answer?</a:t>
            </a:r>
            <a:endParaRPr lang="en-US" sz="4400"/>
          </a:p>
        </p:txBody>
      </p:sp>
    </p:spTree>
    <p:extLst>
      <p:ext uri="{BB962C8B-B14F-4D97-AF65-F5344CB8AC3E}">
        <p14:creationId xmlns:p14="http://schemas.microsoft.com/office/powerpoint/2010/main" val="1604721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55CCD-0D9D-3219-82AB-153CBEBB5615}"/>
            </a:ext>
          </a:extLst>
        </p:cNvPr>
        <p:cNvGrpSpPr/>
        <p:nvPr/>
      </p:nvGrpSpPr>
      <p:grpSpPr>
        <a:xfrm>
          <a:off x="0" y="0"/>
          <a:ext cx="0" cy="0"/>
          <a:chOff x="0" y="0"/>
          <a:chExt cx="0" cy="0"/>
        </a:xfrm>
      </p:grpSpPr>
      <p:pic>
        <p:nvPicPr>
          <p:cNvPr id="10" name="Grafik 9" descr="Blau gestrichene Fabrik">
            <a:extLst>
              <a:ext uri="{FF2B5EF4-FFF2-40B4-BE49-F238E27FC236}">
                <a16:creationId xmlns:a16="http://schemas.microsoft.com/office/drawing/2014/main" id="{04430D64-CE21-5847-1F5B-9EC536A28EFF}"/>
              </a:ext>
            </a:extLst>
          </p:cNvPr>
          <p:cNvPicPr>
            <a:picLocks noChangeAspect="1"/>
          </p:cNvPicPr>
          <p:nvPr>
            <p:custDataLst>
              <p:tags r:id="rId1"/>
            </p:custDataLst>
          </p:nvPr>
        </p:nvPicPr>
        <p:blipFill>
          <a:blip r:embed="rId5">
            <a:alphaModFix amt="35000"/>
            <a:extLst>
              <a:ext uri="{BEBA8EAE-BF5A-486C-A8C5-ECC9F3942E4B}">
                <a14:imgProps xmlns:a14="http://schemas.microsoft.com/office/drawing/2010/main">
                  <a14:imgLayer r:embed="rId6">
                    <a14:imgEffect>
                      <a14:saturation sat="0"/>
                    </a14:imgEffect>
                  </a14:imgLayer>
                </a14:imgProps>
              </a:ext>
            </a:extLst>
          </a:blip>
          <a:srcRect l="35338" r="15544"/>
          <a:stretch/>
        </p:blipFill>
        <p:spPr>
          <a:xfrm>
            <a:off x="9624760" y="1727261"/>
            <a:ext cx="2632381" cy="3572915"/>
          </a:xfrm>
          <a:prstGeom prst="rect">
            <a:avLst/>
          </a:prstGeom>
          <a:effectLst>
            <a:softEdge rad="635000"/>
          </a:effectLst>
        </p:spPr>
      </p:pic>
      <p:sp>
        <p:nvSpPr>
          <p:cNvPr id="28" name="Arrow: Pentagon 27">
            <a:extLst>
              <a:ext uri="{FF2B5EF4-FFF2-40B4-BE49-F238E27FC236}">
                <a16:creationId xmlns:a16="http://schemas.microsoft.com/office/drawing/2014/main" id="{3BEFC96E-3E66-B535-1AD8-C7B74A9D5B3B}"/>
              </a:ext>
            </a:extLst>
          </p:cNvPr>
          <p:cNvSpPr/>
          <p:nvPr/>
        </p:nvSpPr>
        <p:spPr>
          <a:xfrm>
            <a:off x="6096376" y="1502070"/>
            <a:ext cx="3456000" cy="4473572"/>
          </a:xfrm>
          <a:prstGeom prst="homePlate">
            <a:avLst>
              <a:gd name="adj" fmla="val 39681"/>
            </a:avLst>
          </a:prstGeom>
          <a:gradFill>
            <a:gsLst>
              <a:gs pos="100000">
                <a:srgbClr val="333353">
                  <a:alpha val="75000"/>
                </a:srgbClr>
              </a:gs>
              <a:gs pos="0">
                <a:srgbClr val="33335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0" name="Arrow: Pentagon 29">
            <a:extLst>
              <a:ext uri="{FF2B5EF4-FFF2-40B4-BE49-F238E27FC236}">
                <a16:creationId xmlns:a16="http://schemas.microsoft.com/office/drawing/2014/main" id="{0530D816-30D2-BDF6-2917-B6FB9B8047DE}"/>
              </a:ext>
            </a:extLst>
          </p:cNvPr>
          <p:cNvSpPr/>
          <p:nvPr/>
        </p:nvSpPr>
        <p:spPr>
          <a:xfrm>
            <a:off x="5701174" y="2558852"/>
            <a:ext cx="3333906" cy="720000"/>
          </a:xfrm>
          <a:prstGeom prst="homePlate">
            <a:avLst>
              <a:gd name="adj" fmla="val 28868"/>
            </a:avLst>
          </a:prstGeom>
          <a:gradFill>
            <a:gsLst>
              <a:gs pos="100000">
                <a:srgbClr val="00FFB9"/>
              </a:gs>
              <a:gs pos="50000">
                <a:srgbClr val="00F2CB">
                  <a:alpha val="85000"/>
                </a:srgbClr>
              </a:gs>
              <a:gs pos="0">
                <a:srgbClr val="00E6D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36000" bIns="72000" rtlCol="0" anchor="ctr" anchorCtr="0">
            <a:noAutofit/>
          </a:bodyPr>
          <a:lstStyle/>
          <a:p>
            <a:pPr>
              <a:spcAft>
                <a:spcPts val="600"/>
              </a:spcAft>
              <a:buClr>
                <a:srgbClr val="009999"/>
              </a:buClr>
              <a:defRPr/>
            </a:pPr>
            <a:r>
              <a:rPr kumimoji="0" lang="en-US" sz="1800" i="0" u="none" strike="noStrike" kern="0" cap="none" spc="0" normalizeH="0" baseline="0" noProof="0">
                <a:ln>
                  <a:noFill/>
                </a:ln>
                <a:solidFill>
                  <a:prstClr val="white"/>
                </a:solidFill>
                <a:effectLst/>
                <a:uLnTx/>
                <a:uFillTx/>
                <a:latin typeface="Arial"/>
                <a:ea typeface="+mn-ea"/>
                <a:cs typeface="+mn-cs"/>
              </a:rPr>
              <a:t>Software-Defined </a:t>
            </a:r>
            <a:br>
              <a:rPr kumimoji="0" lang="en-US" sz="1800" i="0" u="none" strike="noStrike" kern="0" cap="none" spc="0" normalizeH="0" baseline="0" noProof="0">
                <a:ln>
                  <a:noFill/>
                </a:ln>
                <a:solidFill>
                  <a:prstClr val="white"/>
                </a:solidFill>
                <a:effectLst/>
                <a:uLnTx/>
                <a:uFillTx/>
                <a:latin typeface="Arial"/>
                <a:ea typeface="+mn-ea"/>
                <a:cs typeface="+mn-cs"/>
              </a:rPr>
            </a:br>
            <a:r>
              <a:rPr kumimoji="0" lang="en-US" sz="1800" i="0" u="none" strike="noStrike" kern="0" cap="none" spc="0" normalizeH="0" baseline="0" noProof="0">
                <a:ln>
                  <a:noFill/>
                </a:ln>
                <a:solidFill>
                  <a:prstClr val="white"/>
                </a:solidFill>
                <a:effectLst/>
                <a:uLnTx/>
                <a:uFillTx/>
                <a:latin typeface="Arial"/>
                <a:ea typeface="+mn-ea"/>
                <a:cs typeface="+mn-cs"/>
              </a:rPr>
              <a:t>Automation</a:t>
            </a:r>
          </a:p>
        </p:txBody>
      </p:sp>
      <p:sp>
        <p:nvSpPr>
          <p:cNvPr id="31" name="Arrow: Pentagon 30">
            <a:extLst>
              <a:ext uri="{FF2B5EF4-FFF2-40B4-BE49-F238E27FC236}">
                <a16:creationId xmlns:a16="http://schemas.microsoft.com/office/drawing/2014/main" id="{FDD3D157-9B64-B5FF-FA2E-2EC2AE73DA96}"/>
              </a:ext>
            </a:extLst>
          </p:cNvPr>
          <p:cNvSpPr/>
          <p:nvPr/>
        </p:nvSpPr>
        <p:spPr>
          <a:xfrm>
            <a:off x="5723475" y="4160880"/>
            <a:ext cx="3333905" cy="720000"/>
          </a:xfrm>
          <a:prstGeom prst="homePlate">
            <a:avLst>
              <a:gd name="adj" fmla="val 28868"/>
            </a:avLst>
          </a:prstGeom>
          <a:gradFill>
            <a:gsLst>
              <a:gs pos="100000">
                <a:srgbClr val="00FFB9"/>
              </a:gs>
              <a:gs pos="50000">
                <a:srgbClr val="00F2CB">
                  <a:alpha val="85000"/>
                </a:srgbClr>
              </a:gs>
              <a:gs pos="0">
                <a:srgbClr val="00E6D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108000" bIns="72000" rtlCol="0" anchor="ctr" anchorCtr="0">
            <a:noAutofit/>
          </a:bodyPr>
          <a:lstStyle/>
          <a:p>
            <a:pPr marL="0" marR="0" lvl="0" indent="0" algn="l" defTabSz="914400" eaLnBrk="1" fontAlgn="auto" latinLnBrk="0" hangingPunct="1">
              <a:lnSpc>
                <a:spcPct val="100000"/>
              </a:lnSpc>
              <a:spcBef>
                <a:spcPts val="0"/>
              </a:spcBef>
              <a:spcAft>
                <a:spcPts val="600"/>
              </a:spcAft>
              <a:buClr>
                <a:srgbClr val="009999"/>
              </a:buClr>
              <a:buSzTx/>
              <a:buFontTx/>
              <a:buNone/>
              <a:tabLst/>
              <a:defRPr/>
            </a:pPr>
            <a:r>
              <a:rPr kumimoji="0" lang="en-US" sz="1800" i="0" u="none" strike="noStrike" kern="0" cap="none" spc="0" normalizeH="0" baseline="0" noProof="0">
                <a:ln>
                  <a:noFill/>
                </a:ln>
                <a:solidFill>
                  <a:prstClr val="white"/>
                </a:solidFill>
                <a:effectLst/>
                <a:uLnTx/>
                <a:uFillTx/>
                <a:latin typeface="Arial"/>
                <a:ea typeface="+mn-ea"/>
                <a:cs typeface="+mn-cs"/>
              </a:rPr>
              <a:t>Industrial Metaverse &amp; </a:t>
            </a:r>
            <a:r>
              <a:rPr kumimoji="0" lang="en-US" sz="1800" b="1" i="0" u="none" strike="noStrike" kern="0" cap="none" spc="0" normalizeH="0" baseline="0" noProof="0">
                <a:ln>
                  <a:noFill/>
                </a:ln>
                <a:solidFill>
                  <a:prstClr val="white"/>
                </a:solidFill>
                <a:effectLst/>
                <a:uLnTx/>
                <a:uFillTx/>
                <a:latin typeface="Arial"/>
                <a:ea typeface="+mn-ea"/>
                <a:cs typeface="+mn-cs"/>
              </a:rPr>
              <a:t>D</a:t>
            </a:r>
            <a:r>
              <a:rPr lang="en-US" b="1" kern="0">
                <a:solidFill>
                  <a:prstClr val="white"/>
                </a:solidFill>
                <a:latin typeface="Arial"/>
              </a:rPr>
              <a:t>i</a:t>
            </a:r>
            <a:r>
              <a:rPr kumimoji="0" lang="en-US" sz="1800" b="1" i="0" u="none" strike="noStrike" kern="0" cap="none" spc="0" normalizeH="0" baseline="0" noProof="0" err="1">
                <a:ln>
                  <a:noFill/>
                </a:ln>
                <a:solidFill>
                  <a:prstClr val="white"/>
                </a:solidFill>
                <a:effectLst/>
                <a:uLnTx/>
                <a:uFillTx/>
                <a:latin typeface="Arial"/>
                <a:ea typeface="+mn-ea"/>
                <a:cs typeface="+mn-cs"/>
              </a:rPr>
              <a:t>gital</a:t>
            </a:r>
            <a:r>
              <a:rPr kumimoji="0" lang="en-US" sz="1800" b="1" i="0" u="none" strike="noStrike" kern="0" cap="none" spc="0" normalizeH="0" baseline="0" noProof="0">
                <a:ln>
                  <a:noFill/>
                </a:ln>
                <a:solidFill>
                  <a:prstClr val="white"/>
                </a:solidFill>
                <a:effectLst/>
                <a:uLnTx/>
                <a:uFillTx/>
                <a:latin typeface="Arial"/>
                <a:ea typeface="+mn-ea"/>
                <a:cs typeface="+mn-cs"/>
              </a:rPr>
              <a:t> Twins</a:t>
            </a:r>
          </a:p>
        </p:txBody>
      </p:sp>
      <p:sp>
        <p:nvSpPr>
          <p:cNvPr id="32" name="Arrow: Pentagon 31">
            <a:extLst>
              <a:ext uri="{FF2B5EF4-FFF2-40B4-BE49-F238E27FC236}">
                <a16:creationId xmlns:a16="http://schemas.microsoft.com/office/drawing/2014/main" id="{BB5A7EFD-41E5-FEDA-4EB8-B99861F763A5}"/>
              </a:ext>
            </a:extLst>
          </p:cNvPr>
          <p:cNvSpPr/>
          <p:nvPr/>
        </p:nvSpPr>
        <p:spPr>
          <a:xfrm>
            <a:off x="6218469" y="3359866"/>
            <a:ext cx="3533955" cy="720000"/>
          </a:xfrm>
          <a:prstGeom prst="homePlate">
            <a:avLst>
              <a:gd name="adj" fmla="val 28868"/>
            </a:avLst>
          </a:prstGeom>
          <a:gradFill>
            <a:gsLst>
              <a:gs pos="100000">
                <a:srgbClr val="00FFB9"/>
              </a:gs>
              <a:gs pos="50000">
                <a:srgbClr val="00F2CB">
                  <a:alpha val="85000"/>
                </a:srgbClr>
              </a:gs>
              <a:gs pos="0">
                <a:srgbClr val="00E6D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108000" bIns="72000" rtlCol="0" anchor="ctr" anchorCtr="0">
            <a:noAutofit/>
          </a:bodyPr>
          <a:lstStyle/>
          <a:p>
            <a:pPr marL="0" marR="0" lvl="0" indent="0" algn="l" defTabSz="914400" eaLnBrk="1" fontAlgn="auto" latinLnBrk="0" hangingPunct="1">
              <a:lnSpc>
                <a:spcPct val="100000"/>
              </a:lnSpc>
              <a:spcBef>
                <a:spcPts val="0"/>
              </a:spcBef>
              <a:spcAft>
                <a:spcPts val="600"/>
              </a:spcAft>
              <a:buClr>
                <a:srgbClr val="009999"/>
              </a:buClr>
              <a:buSzTx/>
              <a:buFontTx/>
              <a:buNone/>
              <a:tabLst/>
              <a:defRPr/>
            </a:pPr>
            <a:r>
              <a:rPr kumimoji="0" lang="en-US" sz="1800" i="0" u="none" strike="noStrike" kern="0" cap="none" spc="0" normalizeH="0" baseline="0" noProof="0">
                <a:ln>
                  <a:noFill/>
                </a:ln>
                <a:solidFill>
                  <a:prstClr val="white"/>
                </a:solidFill>
                <a:effectLst/>
                <a:uLnTx/>
                <a:uFillTx/>
                <a:latin typeface="Arial"/>
                <a:ea typeface="+mn-ea"/>
                <a:cs typeface="+mn-cs"/>
              </a:rPr>
              <a:t>Data &amp;</a:t>
            </a:r>
            <a:br>
              <a:rPr kumimoji="0" lang="en-US" sz="1800" i="0" u="none" strike="noStrike" kern="0" cap="none" spc="0" normalizeH="0" baseline="0" noProof="0">
                <a:ln>
                  <a:noFill/>
                </a:ln>
                <a:solidFill>
                  <a:prstClr val="white"/>
                </a:solidFill>
                <a:effectLst/>
                <a:uLnTx/>
                <a:uFillTx/>
                <a:latin typeface="Arial"/>
                <a:ea typeface="+mn-ea"/>
                <a:cs typeface="+mn-cs"/>
              </a:rPr>
            </a:br>
            <a:r>
              <a:rPr kumimoji="0" lang="en-US" sz="1800" b="1" i="0" u="none" strike="noStrike" kern="0" cap="none" spc="0" normalizeH="0" baseline="0" noProof="0">
                <a:ln>
                  <a:noFill/>
                </a:ln>
                <a:solidFill>
                  <a:prstClr val="white"/>
                </a:solidFill>
                <a:effectLst/>
                <a:uLnTx/>
                <a:uFillTx/>
                <a:latin typeface="Arial"/>
                <a:ea typeface="+mn-ea"/>
                <a:cs typeface="+mn-cs"/>
              </a:rPr>
              <a:t>Artificial </a:t>
            </a:r>
            <a:r>
              <a:rPr lang="en-US" b="1" kern="0">
                <a:solidFill>
                  <a:prstClr val="white"/>
                </a:solidFill>
                <a:latin typeface="Arial"/>
              </a:rPr>
              <a:t>I</a:t>
            </a:r>
            <a:r>
              <a:rPr kumimoji="0" lang="en-US" sz="1800" b="1" i="0" u="none" strike="noStrike" kern="0" cap="none" spc="0" normalizeH="0" baseline="0" noProof="0" err="1">
                <a:ln>
                  <a:noFill/>
                </a:ln>
                <a:solidFill>
                  <a:prstClr val="white"/>
                </a:solidFill>
                <a:effectLst/>
                <a:uLnTx/>
                <a:uFillTx/>
                <a:latin typeface="Arial"/>
                <a:ea typeface="+mn-ea"/>
                <a:cs typeface="+mn-cs"/>
              </a:rPr>
              <a:t>ntelligence</a:t>
            </a: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26" name="Arrow: Pentagon 25">
            <a:extLst>
              <a:ext uri="{FF2B5EF4-FFF2-40B4-BE49-F238E27FC236}">
                <a16:creationId xmlns:a16="http://schemas.microsoft.com/office/drawing/2014/main" id="{08BCB5A2-7C8F-47EB-25C1-AD64528E8DC9}"/>
              </a:ext>
            </a:extLst>
          </p:cNvPr>
          <p:cNvSpPr/>
          <p:nvPr/>
        </p:nvSpPr>
        <p:spPr>
          <a:xfrm>
            <a:off x="410400" y="1358704"/>
            <a:ext cx="6624000" cy="4750586"/>
          </a:xfrm>
          <a:prstGeom prst="homePlate">
            <a:avLst>
              <a:gd name="adj" fmla="val 28868"/>
            </a:avLst>
          </a:prstGeom>
          <a:gradFill>
            <a:gsLst>
              <a:gs pos="100000">
                <a:srgbClr val="333353">
                  <a:alpha val="75000"/>
                </a:srgbClr>
              </a:gs>
              <a:gs pos="0">
                <a:srgbClr val="33335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F8FB11EC-C023-1069-19EE-7764F9C9E178}"/>
              </a:ext>
            </a:extLst>
          </p:cNvPr>
          <p:cNvSpPr>
            <a:spLocks noGrp="1"/>
          </p:cNvSpPr>
          <p:nvPr>
            <p:ph type="title"/>
          </p:nvPr>
        </p:nvSpPr>
        <p:spPr/>
        <p:txBody>
          <a:bodyPr/>
          <a:lstStyle/>
          <a:p>
            <a:r>
              <a:rPr lang="en-US"/>
              <a:t>Turning key technologies into building blocks on the path to </a:t>
            </a:r>
            <a:br>
              <a:rPr lang="en-US"/>
            </a:br>
            <a:r>
              <a:rPr lang="en-US"/>
              <a:t>autonomous production</a:t>
            </a:r>
            <a:br>
              <a:rPr lang="en-US"/>
            </a:br>
            <a:endParaRPr lang="en-US"/>
          </a:p>
        </p:txBody>
      </p:sp>
      <p:sp>
        <p:nvSpPr>
          <p:cNvPr id="5" name="Rectangle 4">
            <a:extLst>
              <a:ext uri="{FF2B5EF4-FFF2-40B4-BE49-F238E27FC236}">
                <a16:creationId xmlns:a16="http://schemas.microsoft.com/office/drawing/2014/main" id="{47E983B1-A92C-2D75-CF4C-4FDE53733454}"/>
              </a:ext>
            </a:extLst>
          </p:cNvPr>
          <p:cNvSpPr/>
          <p:nvPr/>
        </p:nvSpPr>
        <p:spPr>
          <a:xfrm>
            <a:off x="410400" y="1358704"/>
            <a:ext cx="2520000" cy="2304000"/>
          </a:xfrm>
          <a:prstGeom prst="rect">
            <a:avLst/>
          </a:prstGeom>
          <a:solidFill>
            <a:srgbClr val="333353">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p>
            <a:pPr marL="0" marR="0" lvl="0" indent="0" algn="l" defTabSz="914400" rtl="0" eaLnBrk="1" fontAlgn="auto" latinLnBrk="0" hangingPunct="1">
              <a:lnSpc>
                <a:spcPct val="100000"/>
              </a:lnSpc>
              <a:spcBef>
                <a:spcPts val="0"/>
              </a:spcBef>
              <a:spcAft>
                <a:spcPts val="600"/>
              </a:spcAft>
              <a:buClr>
                <a:srgbClr val="009999"/>
              </a:buClr>
              <a:buSzTx/>
              <a:buFontTx/>
              <a:buNone/>
              <a:tabLst/>
              <a:defRPr/>
            </a:pPr>
            <a:r>
              <a:rPr kumimoji="0" lang="en-US" sz="1100" b="0" i="0" u="none" strike="noStrike" kern="0" cap="all" spc="0" normalizeH="0" baseline="0" noProof="0">
                <a:ln>
                  <a:noFill/>
                </a:ln>
                <a:solidFill>
                  <a:srgbClr val="00C1B6"/>
                </a:solidFill>
                <a:effectLst/>
                <a:uLnTx/>
                <a:uFillTx/>
                <a:latin typeface="Arial"/>
                <a:ea typeface="+mn-ea"/>
                <a:cs typeface="+mn-cs"/>
              </a:rPr>
              <a:t>Digital Enterprise</a:t>
            </a:r>
          </a:p>
          <a:p>
            <a:pPr marL="0" marR="0" lvl="0" indent="0" algn="l" defTabSz="914400" rtl="0" eaLnBrk="1" fontAlgn="auto" latinLnBrk="0" hangingPunct="1">
              <a:lnSpc>
                <a:spcPct val="100000"/>
              </a:lnSpc>
              <a:spcBef>
                <a:spcPts val="0"/>
              </a:spcBef>
              <a:spcAft>
                <a:spcPts val="600"/>
              </a:spcAft>
              <a:buClr>
                <a:srgbClr val="009999"/>
              </a:buClr>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mn-cs"/>
              </a:rPr>
              <a:t>Combining the real and the digital worlds – from product to production</a:t>
            </a:r>
          </a:p>
        </p:txBody>
      </p:sp>
      <p:sp>
        <p:nvSpPr>
          <p:cNvPr id="6" name="Rectangle 5">
            <a:extLst>
              <a:ext uri="{FF2B5EF4-FFF2-40B4-BE49-F238E27FC236}">
                <a16:creationId xmlns:a16="http://schemas.microsoft.com/office/drawing/2014/main" id="{875552E7-CC2F-64DD-5E00-87124C08D5EC}"/>
              </a:ext>
            </a:extLst>
          </p:cNvPr>
          <p:cNvSpPr/>
          <p:nvPr/>
        </p:nvSpPr>
        <p:spPr>
          <a:xfrm>
            <a:off x="3115871" y="1358704"/>
            <a:ext cx="2531670" cy="2304000"/>
          </a:xfrm>
          <a:prstGeom prst="rect">
            <a:avLst/>
          </a:prstGeom>
          <a:gradFill>
            <a:gsLst>
              <a:gs pos="0">
                <a:srgbClr val="333353">
                  <a:alpha val="75000"/>
                </a:srgbClr>
              </a:gs>
              <a:gs pos="100000">
                <a:srgbClr val="33335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p>
            <a:pPr marL="0" marR="0" lvl="0" indent="0" defTabSz="914400" eaLnBrk="1" fontAlgn="auto" latinLnBrk="0" hangingPunct="1">
              <a:lnSpc>
                <a:spcPct val="100000"/>
              </a:lnSpc>
              <a:spcBef>
                <a:spcPts val="0"/>
              </a:spcBef>
              <a:spcAft>
                <a:spcPts val="600"/>
              </a:spcAft>
              <a:buClr>
                <a:srgbClr val="009999"/>
              </a:buClr>
              <a:buSzTx/>
              <a:buFontTx/>
              <a:buNone/>
              <a:tabLst/>
              <a:defRPr/>
            </a:pPr>
            <a:r>
              <a:rPr lang="en-US" sz="1100" kern="0" cap="all">
                <a:solidFill>
                  <a:srgbClr val="00C1B6"/>
                </a:solidFill>
                <a:latin typeface="Arial"/>
              </a:rPr>
              <a:t>IT/OT convergence</a:t>
            </a:r>
            <a:endParaRPr lang="en-US" kern="0">
              <a:solidFill>
                <a:prstClr val="white"/>
              </a:solidFill>
              <a:latin typeface="Arial"/>
            </a:endParaRPr>
          </a:p>
          <a:p>
            <a:pPr marL="0" marR="0" lvl="0" indent="0" defTabSz="914400" eaLnBrk="1" fontAlgn="auto" latinLnBrk="0" hangingPunct="1">
              <a:lnSpc>
                <a:spcPct val="100000"/>
              </a:lnSpc>
              <a:spcBef>
                <a:spcPts val="0"/>
              </a:spcBef>
              <a:spcAft>
                <a:spcPts val="600"/>
              </a:spcAft>
              <a:buClr>
                <a:srgbClr val="009999"/>
              </a:buClr>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mn-cs"/>
              </a:rPr>
              <a:t>…with data-driven </a:t>
            </a:r>
            <a:br>
              <a:rPr kumimoji="0" lang="en-US" sz="1800" b="0" i="0" u="none" strike="noStrike" kern="0" cap="none" spc="0" normalizeH="0" baseline="0" noProof="0">
                <a:ln>
                  <a:noFill/>
                </a:ln>
                <a:solidFill>
                  <a:prstClr val="white"/>
                </a:solidFill>
                <a:effectLst/>
                <a:uLnTx/>
                <a:uFillTx/>
                <a:latin typeface="Arial"/>
                <a:ea typeface="+mn-ea"/>
                <a:cs typeface="+mn-cs"/>
              </a:rPr>
            </a:br>
            <a:r>
              <a:rPr kumimoji="0" lang="en-US" sz="1800" b="0" i="0" u="none" strike="noStrike" kern="0" cap="none" spc="0" normalizeH="0" baseline="0" noProof="0">
                <a:ln>
                  <a:noFill/>
                </a:ln>
                <a:solidFill>
                  <a:prstClr val="white"/>
                </a:solidFill>
                <a:effectLst/>
                <a:uLnTx/>
                <a:uFillTx/>
                <a:latin typeface="Arial"/>
                <a:ea typeface="+mn-ea"/>
                <a:cs typeface="+mn-cs"/>
              </a:rPr>
              <a:t>decision making</a:t>
            </a:r>
            <a:br>
              <a:rPr kumimoji="0" lang="en-US" sz="1800" b="0" i="0" u="none" strike="noStrike" kern="0" cap="none" spc="0" normalizeH="0" baseline="0" noProof="0">
                <a:ln>
                  <a:noFill/>
                </a:ln>
                <a:solidFill>
                  <a:prstClr val="white"/>
                </a:solidFill>
                <a:effectLst/>
                <a:uLnTx/>
                <a:uFillTx/>
                <a:latin typeface="Arial"/>
                <a:ea typeface="+mn-ea"/>
                <a:cs typeface="+mn-cs"/>
              </a:rPr>
            </a:br>
            <a:r>
              <a:rPr kumimoji="0" lang="en-US" sz="1800" b="0" i="0" u="none" strike="noStrike" kern="0" cap="none" spc="0" normalizeH="0" baseline="0" noProof="0">
                <a:ln>
                  <a:noFill/>
                </a:ln>
                <a:solidFill>
                  <a:prstClr val="white"/>
                </a:solidFill>
                <a:effectLst/>
                <a:uLnTx/>
                <a:uFillTx/>
                <a:latin typeface="Arial"/>
                <a:ea typeface="+mn-ea"/>
                <a:cs typeface="+mn-cs"/>
              </a:rPr>
              <a:t>and </a:t>
            </a:r>
            <a:r>
              <a:rPr lang="en-US" kern="0">
                <a:solidFill>
                  <a:prstClr val="white"/>
                </a:solidFill>
                <a:latin typeface="Arial"/>
              </a:rPr>
              <a:t>full data </a:t>
            </a:r>
            <a:r>
              <a:rPr kumimoji="0" lang="en-US" sz="1800" b="0" i="0" u="none" strike="noStrike" kern="0" cap="none" spc="0" normalizeH="0" baseline="0" noProof="0">
                <a:ln>
                  <a:noFill/>
                </a:ln>
                <a:solidFill>
                  <a:prstClr val="white"/>
                </a:solidFill>
                <a:effectLst/>
                <a:uLnTx/>
                <a:uFillTx/>
                <a:latin typeface="Arial"/>
                <a:ea typeface="+mn-ea"/>
                <a:cs typeface="+mn-cs"/>
              </a:rPr>
              <a:t>transparency </a:t>
            </a:r>
            <a:br>
              <a:rPr kumimoji="0" lang="en-US" sz="1800" b="0" i="0" u="none" strike="noStrike" kern="0" cap="none" spc="0" normalizeH="0" baseline="0" noProof="0">
                <a:ln>
                  <a:noFill/>
                </a:ln>
                <a:solidFill>
                  <a:prstClr val="white"/>
                </a:solidFill>
                <a:effectLst/>
                <a:uLnTx/>
                <a:uFillTx/>
                <a:latin typeface="Arial"/>
                <a:ea typeface="+mn-ea"/>
                <a:cs typeface="+mn-cs"/>
              </a:rPr>
            </a:b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2CDEF70D-37DB-755D-BA63-51DC881C798E}"/>
              </a:ext>
            </a:extLst>
          </p:cNvPr>
          <p:cNvSpPr/>
          <p:nvPr/>
        </p:nvSpPr>
        <p:spPr>
          <a:xfrm>
            <a:off x="5754810" y="1942893"/>
            <a:ext cx="3258810" cy="5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32000" tIns="144000" rIns="144000" bIns="144000" rtlCol="0" anchor="b" anchorCtr="0">
            <a:spAutoFit/>
          </a:bodyPr>
          <a:lstStyle/>
          <a:p>
            <a:pPr marL="0" marR="0" lvl="0" indent="0" algn="ctr" defTabSz="914400" eaLnBrk="1" fontAlgn="auto" latinLnBrk="0" hangingPunct="1">
              <a:lnSpc>
                <a:spcPct val="100000"/>
              </a:lnSpc>
              <a:spcBef>
                <a:spcPts val="0"/>
              </a:spcBef>
              <a:spcAft>
                <a:spcPts val="600"/>
              </a:spcAft>
              <a:buClr>
                <a:srgbClr val="009999"/>
              </a:buClr>
              <a:buSzTx/>
              <a:buFontTx/>
              <a:buNone/>
              <a:tabLst/>
              <a:defRPr/>
            </a:pPr>
            <a:r>
              <a:rPr kumimoji="0" lang="en-US" sz="1800" b="1" i="0" u="none" strike="noStrike" kern="0" cap="all" spc="0" normalizeH="0" baseline="0" noProof="0">
                <a:ln>
                  <a:noFill/>
                </a:ln>
                <a:solidFill>
                  <a:prstClr val="white"/>
                </a:solidFill>
                <a:effectLst/>
                <a:uLnTx/>
                <a:uFillTx/>
                <a:latin typeface="Arial"/>
                <a:ea typeface="+mn-ea"/>
                <a:cs typeface="+mn-cs"/>
              </a:rPr>
              <a:t>Building Blocks </a:t>
            </a:r>
            <a:endParaRPr kumimoji="0" lang="en-US" sz="1800" b="1" i="0" u="none" strike="noStrike" kern="0" cap="all" spc="0" normalizeH="0" baseline="0" noProof="0">
              <a:ln>
                <a:noFill/>
              </a:ln>
              <a:solidFill>
                <a:srgbClr val="00C1B6"/>
              </a:solidFill>
              <a:effectLst/>
              <a:uLnTx/>
              <a:uFillTx/>
              <a:latin typeface="Arial"/>
              <a:ea typeface="+mn-ea"/>
              <a:cs typeface="+mn-cs"/>
            </a:endParaRPr>
          </a:p>
        </p:txBody>
      </p:sp>
      <p:sp>
        <p:nvSpPr>
          <p:cNvPr id="8" name="Rectangle 7">
            <a:extLst>
              <a:ext uri="{FF2B5EF4-FFF2-40B4-BE49-F238E27FC236}">
                <a16:creationId xmlns:a16="http://schemas.microsoft.com/office/drawing/2014/main" id="{A2808C19-904A-0A2E-0221-F130A9DB12EB}"/>
              </a:ext>
            </a:extLst>
          </p:cNvPr>
          <p:cNvSpPr/>
          <p:nvPr/>
        </p:nvSpPr>
        <p:spPr>
          <a:xfrm>
            <a:off x="9824807" y="1281557"/>
            <a:ext cx="2354789" cy="4750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marL="0" marR="0" lvl="0" indent="0" algn="l" defTabSz="914400" eaLnBrk="1" fontAlgn="auto" latinLnBrk="0" hangingPunct="1">
              <a:lnSpc>
                <a:spcPct val="100000"/>
              </a:lnSpc>
              <a:spcBef>
                <a:spcPts val="0"/>
              </a:spcBef>
              <a:spcAft>
                <a:spcPts val="1200"/>
              </a:spcAft>
              <a:buClr>
                <a:srgbClr val="009999"/>
              </a:buClr>
              <a:buSzTx/>
              <a:buFontTx/>
              <a:buNone/>
              <a:tabLst/>
              <a:defRPr/>
            </a:pPr>
            <a:r>
              <a:rPr lang="en-US" sz="2400" b="1">
                <a:gradFill>
                  <a:gsLst>
                    <a:gs pos="0">
                      <a:srgbClr val="00D7A0"/>
                    </a:gs>
                    <a:gs pos="100000">
                      <a:srgbClr val="00BEDC"/>
                    </a:gs>
                  </a:gsLst>
                  <a:lin ang="0" scaled="1"/>
                </a:gradFill>
                <a:latin typeface="Arial"/>
              </a:rPr>
              <a:t>Autonomous production</a:t>
            </a:r>
          </a:p>
        </p:txBody>
      </p:sp>
      <p:sp>
        <p:nvSpPr>
          <p:cNvPr id="11" name="Rectangle 10">
            <a:extLst>
              <a:ext uri="{FF2B5EF4-FFF2-40B4-BE49-F238E27FC236}">
                <a16:creationId xmlns:a16="http://schemas.microsoft.com/office/drawing/2014/main" id="{DC163E75-AE71-7979-B96D-51238F26FB7D}"/>
              </a:ext>
            </a:extLst>
          </p:cNvPr>
          <p:cNvSpPr/>
          <p:nvPr/>
        </p:nvSpPr>
        <p:spPr>
          <a:xfrm>
            <a:off x="410400" y="3805290"/>
            <a:ext cx="2520000" cy="2304000"/>
          </a:xfrm>
          <a:prstGeom prst="rect">
            <a:avLst/>
          </a:prstGeom>
          <a:solidFill>
            <a:srgbClr val="333353">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0" bIns="144000" rtlCol="0" anchor="t" anchorCtr="0"/>
          <a:lstStyle/>
          <a:p>
            <a:pPr marL="0" marR="0" lvl="0" indent="0" algn="l" defTabSz="914400" eaLnBrk="1" fontAlgn="auto" latinLnBrk="0" hangingPunct="1">
              <a:lnSpc>
                <a:spcPct val="100000"/>
              </a:lnSpc>
              <a:spcBef>
                <a:spcPts val="0"/>
              </a:spcBef>
              <a:spcAft>
                <a:spcPts val="600"/>
              </a:spcAft>
              <a:buClr>
                <a:srgbClr val="009999"/>
              </a:buClr>
              <a:buSzTx/>
              <a:buFontTx/>
              <a:buNone/>
              <a:tabLst/>
              <a:defRPr/>
            </a:pPr>
            <a:r>
              <a:rPr kumimoji="0" lang="en-US" sz="1100" b="1" i="0" u="none" strike="noStrike" kern="0" cap="all" spc="0" normalizeH="0" baseline="0" noProof="0">
                <a:ln>
                  <a:noFill/>
                </a:ln>
                <a:solidFill>
                  <a:srgbClr val="00C1B6"/>
                </a:solidFill>
                <a:effectLst/>
                <a:uLnTx/>
                <a:uFillTx/>
                <a:latin typeface="Arial"/>
                <a:ea typeface="+mn-ea"/>
                <a:cs typeface="+mn-cs"/>
              </a:rPr>
              <a:t>Digital business platform</a:t>
            </a:r>
          </a:p>
          <a:p>
            <a:pPr marL="0" marR="0" lvl="0" indent="0" algn="l" defTabSz="914400" eaLnBrk="1" fontAlgn="auto" latinLnBrk="0" hangingPunct="1">
              <a:lnSpc>
                <a:spcPct val="100000"/>
              </a:lnSpc>
              <a:spcBef>
                <a:spcPts val="0"/>
              </a:spcBef>
              <a:spcAft>
                <a:spcPts val="0"/>
              </a:spcAft>
              <a:buClr>
                <a:srgbClr val="009999"/>
              </a:buClr>
              <a:buSzTx/>
              <a:buFontTx/>
              <a:buNone/>
              <a:tabLst/>
              <a:defRPr/>
            </a:pPr>
            <a:r>
              <a:rPr kumimoji="0" lang="en-US" sz="1800" b="0" i="0" u="none" strike="noStrike" kern="0" cap="none" spc="0" normalizeH="0" baseline="0" noProof="0">
                <a:ln>
                  <a:noFill/>
                </a:ln>
                <a:solidFill>
                  <a:prstClr val="white"/>
                </a:solidFill>
                <a:effectLst/>
                <a:uLnTx/>
                <a:uFillTx/>
                <a:latin typeface="Arial"/>
                <a:ea typeface="+mn-ea"/>
                <a:cs typeface="+mn-cs"/>
              </a:rPr>
              <a:t>… faster with</a:t>
            </a:r>
          </a:p>
          <a:p>
            <a:pPr marL="0" marR="0" lvl="0" indent="0" algn="l" defTabSz="914400" eaLnBrk="1" fontAlgn="auto" latinLnBrk="0" hangingPunct="1">
              <a:lnSpc>
                <a:spcPct val="100000"/>
              </a:lnSpc>
              <a:spcBef>
                <a:spcPts val="0"/>
              </a:spcBef>
              <a:spcAft>
                <a:spcPts val="0"/>
              </a:spcAft>
              <a:buClr>
                <a:srgbClr val="009999"/>
              </a:buClr>
              <a:buSzTx/>
              <a:buFontTx/>
              <a:buNone/>
              <a:tabLst/>
              <a:defRPr/>
            </a:pPr>
            <a:r>
              <a:rPr kumimoji="0" lang="en-US" sz="1800" b="1" i="0" u="none" strike="noStrike" kern="0" cap="none" spc="0" normalizeH="0" baseline="0" noProof="0">
                <a:ln>
                  <a:noFill/>
                </a:ln>
                <a:solidFill>
                  <a:prstClr val="white"/>
                </a:solidFill>
                <a:effectLst/>
                <a:uLnTx/>
                <a:uFillTx/>
                <a:latin typeface="Arial"/>
                <a:ea typeface="+mn-ea"/>
                <a:cs typeface="+mn-cs"/>
              </a:rPr>
              <a:t>Siemens </a:t>
            </a:r>
            <a:r>
              <a:rPr kumimoji="0" lang="en-US" sz="1800" b="1" i="0" u="none" strike="noStrike" kern="0" cap="none" spc="0" normalizeH="0" baseline="0" noProof="0" err="1">
                <a:ln>
                  <a:noFill/>
                </a:ln>
                <a:solidFill>
                  <a:prstClr val="white"/>
                </a:solidFill>
                <a:effectLst/>
                <a:uLnTx/>
                <a:uFillTx/>
                <a:latin typeface="Arial"/>
                <a:ea typeface="+mn-ea"/>
                <a:cs typeface="+mn-cs"/>
              </a:rPr>
              <a:t>Xcelerator</a:t>
            </a: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pic>
        <p:nvPicPr>
          <p:cNvPr id="25" name="Picture 24">
            <a:extLst>
              <a:ext uri="{FF2B5EF4-FFF2-40B4-BE49-F238E27FC236}">
                <a16:creationId xmlns:a16="http://schemas.microsoft.com/office/drawing/2014/main" id="{FF09CD78-CCE9-9F1E-7B7E-8B39A26656E0}"/>
              </a:ext>
            </a:extLst>
          </p:cNvPr>
          <p:cNvPicPr>
            <a:picLocks noChangeAspect="1"/>
          </p:cNvPicPr>
          <p:nvPr/>
        </p:nvPicPr>
        <p:blipFill>
          <a:blip r:embed="rId7"/>
          <a:srcRect b="20020"/>
          <a:stretch/>
        </p:blipFill>
        <p:spPr>
          <a:xfrm>
            <a:off x="1649255" y="5101434"/>
            <a:ext cx="1231238" cy="1007856"/>
          </a:xfrm>
          <a:prstGeom prst="rect">
            <a:avLst/>
          </a:prstGeom>
        </p:spPr>
      </p:pic>
      <p:pic>
        <p:nvPicPr>
          <p:cNvPr id="13" name="Picture 12">
            <a:extLst>
              <a:ext uri="{FF2B5EF4-FFF2-40B4-BE49-F238E27FC236}">
                <a16:creationId xmlns:a16="http://schemas.microsoft.com/office/drawing/2014/main" id="{AAD5A190-4EE1-D457-3E43-24D3964930AB}"/>
              </a:ext>
            </a:extLst>
          </p:cNvPr>
          <p:cNvPicPr>
            <a:picLocks noChangeAspect="1"/>
          </p:cNvPicPr>
          <p:nvPr/>
        </p:nvPicPr>
        <p:blipFill>
          <a:blip r:embed="rId8"/>
          <a:srcRect b="10328"/>
          <a:stretch/>
        </p:blipFill>
        <p:spPr>
          <a:xfrm>
            <a:off x="1928268" y="2706750"/>
            <a:ext cx="1002131" cy="952788"/>
          </a:xfrm>
          <a:prstGeom prst="rect">
            <a:avLst/>
          </a:prstGeom>
        </p:spPr>
      </p:pic>
      <p:sp>
        <p:nvSpPr>
          <p:cNvPr id="16" name="Fußzeilenplatzhalter 2">
            <a:extLst>
              <a:ext uri="{FF2B5EF4-FFF2-40B4-BE49-F238E27FC236}">
                <a16:creationId xmlns:a16="http://schemas.microsoft.com/office/drawing/2014/main" id="{5171D760-55C5-43FC-B166-50A64A31BA98}"/>
              </a:ext>
            </a:extLst>
          </p:cNvPr>
          <p:cNvSpPr>
            <a:spLocks noGrp="1"/>
          </p:cNvSpPr>
          <p:nvPr>
            <p:ph type="ftr" sz="quarter" idx="10"/>
            <p:custDataLst>
              <p:tags r:id="rId2"/>
            </p:custDataLst>
          </p:nvPr>
        </p:nvSpPr>
        <p:spPr>
          <a:xfrm>
            <a:off x="1059160" y="6310800"/>
            <a:ext cx="9216000" cy="547200"/>
          </a:xfrm>
        </p:spPr>
        <p:txBody>
          <a:bodyPr/>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r>
              <a:rPr kumimoji="0" lang="it-IT" sz="900" b="0" i="0" u="none" strike="noStrike" kern="0" cap="none" spc="0" normalizeH="0" baseline="0" noProof="0">
                <a:ln>
                  <a:noFill/>
                </a:ln>
                <a:solidFill>
                  <a:prstClr val="white"/>
                </a:solidFill>
                <a:effectLst/>
                <a:uLnTx/>
                <a:uFillTx/>
                <a:latin typeface="Arial"/>
              </a:rPr>
              <a:t>Unrestricted | © Siemens 2025 | Raghav Tripathi</a:t>
            </a:r>
            <a:endParaRPr kumimoji="0" lang="en-US" sz="900" b="0" i="0" u="none" strike="noStrike" kern="0" cap="none" spc="0" normalizeH="0" baseline="0" noProof="0">
              <a:ln>
                <a:noFill/>
              </a:ln>
              <a:solidFill>
                <a:prstClr val="white"/>
              </a:solidFill>
              <a:effectLst/>
              <a:uLnTx/>
              <a:uFillTx/>
              <a:latin typeface="Arial"/>
            </a:endParaRPr>
          </a:p>
        </p:txBody>
      </p:sp>
      <p:sp>
        <p:nvSpPr>
          <p:cNvPr id="3" name="Rectangle 15">
            <a:extLst>
              <a:ext uri="{FF2B5EF4-FFF2-40B4-BE49-F238E27FC236}">
                <a16:creationId xmlns:a16="http://schemas.microsoft.com/office/drawing/2014/main" id="{0E403876-9AD3-7533-1D6D-3AF7A9CC6DB2}"/>
              </a:ext>
            </a:extLst>
          </p:cNvPr>
          <p:cNvSpPr>
            <a:spLocks/>
          </p:cNvSpPr>
          <p:nvPr/>
        </p:nvSpPr>
        <p:spPr>
          <a:xfrm>
            <a:off x="3112045" y="3805290"/>
            <a:ext cx="2535495" cy="2313718"/>
          </a:xfrm>
          <a:prstGeom prst="rect">
            <a:avLst/>
          </a:prstGeom>
          <a:gradFill>
            <a:gsLst>
              <a:gs pos="0">
                <a:srgbClr val="333353">
                  <a:alpha val="75000"/>
                </a:srgbClr>
              </a:gs>
              <a:gs pos="100000">
                <a:srgbClr val="33335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p>
            <a:pPr>
              <a:spcAft>
                <a:spcPts val="600"/>
              </a:spcAft>
              <a:buClr>
                <a:srgbClr val="009999"/>
              </a:buClr>
            </a:pPr>
            <a:r>
              <a:rPr lang="en-US" sz="1100" kern="0" cap="all">
                <a:solidFill>
                  <a:srgbClr val="00C1B6"/>
                </a:solidFill>
                <a:latin typeface="Arial"/>
              </a:rPr>
              <a:t>Cybersecurity</a:t>
            </a:r>
          </a:p>
          <a:p>
            <a:pPr>
              <a:spcAft>
                <a:spcPts val="600"/>
              </a:spcAft>
              <a:buClr>
                <a:srgbClr val="009999"/>
              </a:buClr>
            </a:pPr>
            <a:r>
              <a:rPr lang="en-US" kern="0">
                <a:solidFill>
                  <a:prstClr val="white"/>
                </a:solidFill>
                <a:latin typeface="Arial"/>
              </a:rPr>
              <a:t>…protecting data with </a:t>
            </a:r>
            <a:br>
              <a:rPr lang="en-US" kern="0">
                <a:solidFill>
                  <a:prstClr val="white"/>
                </a:solidFill>
                <a:latin typeface="Arial"/>
              </a:rPr>
            </a:br>
            <a:r>
              <a:rPr lang="en-US" kern="0">
                <a:solidFill>
                  <a:prstClr val="white"/>
                </a:solidFill>
                <a:latin typeface="Arial"/>
              </a:rPr>
              <a:t>a multi-layered “Defense in Depth” </a:t>
            </a:r>
            <a:br>
              <a:rPr lang="en-US" kern="0">
                <a:solidFill>
                  <a:prstClr val="white"/>
                </a:solidFill>
                <a:latin typeface="Arial"/>
              </a:rPr>
            </a:br>
            <a:r>
              <a:rPr lang="en-US" kern="0">
                <a:solidFill>
                  <a:prstClr val="white"/>
                </a:solidFill>
                <a:latin typeface="Arial"/>
              </a:rPr>
              <a:t>concept</a:t>
            </a:r>
          </a:p>
        </p:txBody>
      </p:sp>
      <p:pic>
        <p:nvPicPr>
          <p:cNvPr id="15" name="Picture 43">
            <a:extLst>
              <a:ext uri="{FF2B5EF4-FFF2-40B4-BE49-F238E27FC236}">
                <a16:creationId xmlns:a16="http://schemas.microsoft.com/office/drawing/2014/main" id="{301F29BC-6F2D-EB11-3D54-92B1F7E84F46}"/>
              </a:ext>
            </a:extLst>
          </p:cNvPr>
          <p:cNvPicPr>
            <a:picLocks noChangeAspect="1"/>
          </p:cNvPicPr>
          <p:nvPr/>
        </p:nvPicPr>
        <p:blipFill rotWithShape="1">
          <a:blip r:embed="rId9"/>
          <a:srcRect r="7679" b="8312"/>
          <a:stretch/>
        </p:blipFill>
        <p:spPr>
          <a:xfrm>
            <a:off x="4314007" y="5235254"/>
            <a:ext cx="1247210" cy="867841"/>
          </a:xfrm>
          <a:prstGeom prst="rect">
            <a:avLst/>
          </a:prstGeom>
        </p:spPr>
      </p:pic>
      <p:pic>
        <p:nvPicPr>
          <p:cNvPr id="18" name="Picture 1">
            <a:extLst>
              <a:ext uri="{FF2B5EF4-FFF2-40B4-BE49-F238E27FC236}">
                <a16:creationId xmlns:a16="http://schemas.microsoft.com/office/drawing/2014/main" id="{5FB7B3DA-FED2-D282-AE1E-2A6E054EA6DE}"/>
              </a:ext>
            </a:extLst>
          </p:cNvPr>
          <p:cNvPicPr>
            <a:picLocks noChangeAspect="1"/>
          </p:cNvPicPr>
          <p:nvPr/>
        </p:nvPicPr>
        <p:blipFill rotWithShape="1">
          <a:blip r:embed="rId10"/>
          <a:srcRect b="11029"/>
          <a:stretch/>
        </p:blipFill>
        <p:spPr>
          <a:xfrm>
            <a:off x="4645409" y="2714300"/>
            <a:ext cx="1002131" cy="1005566"/>
          </a:xfrm>
          <a:prstGeom prst="rect">
            <a:avLst/>
          </a:prstGeom>
        </p:spPr>
      </p:pic>
      <p:sp>
        <p:nvSpPr>
          <p:cNvPr id="12" name="Arrow: Pentagon 29">
            <a:extLst>
              <a:ext uri="{FF2B5EF4-FFF2-40B4-BE49-F238E27FC236}">
                <a16:creationId xmlns:a16="http://schemas.microsoft.com/office/drawing/2014/main" id="{37F94671-8EAA-11AF-CEFE-81932D61AB34}"/>
              </a:ext>
            </a:extLst>
          </p:cNvPr>
          <p:cNvSpPr/>
          <p:nvPr/>
        </p:nvSpPr>
        <p:spPr>
          <a:xfrm>
            <a:off x="6433020" y="3359866"/>
            <a:ext cx="3333906" cy="721540"/>
          </a:xfrm>
          <a:prstGeom prst="homePlate">
            <a:avLst>
              <a:gd name="adj" fmla="val 28868"/>
            </a:avLst>
          </a:prstGeom>
          <a:solidFill>
            <a:srgbClr val="333353">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36000" bIns="72000" rtlCol="0" anchor="ctr" anchorCtr="0">
            <a:noAutofit/>
          </a:bodyPr>
          <a:lstStyle>
            <a:defPPr>
              <a:defRPr lang="en-US"/>
            </a:defPPr>
            <a:lvl1pPr>
              <a:spcBef>
                <a:spcPts val="0"/>
              </a:spcBef>
              <a:buClr>
                <a:schemeClr val="accent1"/>
              </a:buClr>
              <a:defRPr sz="1800">
                <a:solidFill>
                  <a:schemeClr val="lt1"/>
                </a:solidFill>
                <a:latin typeface="+mn-lt"/>
                <a:ea typeface="+mn-ea"/>
                <a:cs typeface="+mn-cs"/>
              </a:defRPr>
            </a:lvl1pPr>
            <a:lvl2pPr marL="18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2pPr>
            <a:lvl3pPr marL="36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3pPr>
            <a:lvl4pPr marL="54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4pPr>
            <a:lvl5pPr marL="72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5pPr>
            <a:lvl6pPr marL="90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6pPr>
            <a:lvl7pPr marL="108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7pPr>
            <a:lvl8pPr marL="126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8pPr>
            <a:lvl9pPr marL="144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9pPr>
          </a:lstStyle>
          <a:p>
            <a:pPr>
              <a:spcAft>
                <a:spcPts val="600"/>
              </a:spcAft>
              <a:buClr>
                <a:srgbClr val="009999"/>
              </a:buClr>
              <a:defRPr/>
            </a:pPr>
            <a:endParaRPr kumimoji="0" lang="en-US" sz="1800" i="0" u="none" strike="noStrike" kern="0" cap="none" spc="0" normalizeH="0" baseline="0" noProof="0">
              <a:ln>
                <a:noFill/>
              </a:ln>
              <a:solidFill>
                <a:prstClr val="white"/>
              </a:solidFill>
              <a:effectLst/>
              <a:uLnTx/>
              <a:uFillTx/>
              <a:latin typeface="Arial"/>
              <a:ea typeface="+mn-ea"/>
              <a:cs typeface="+mn-cs"/>
            </a:endParaRPr>
          </a:p>
        </p:txBody>
      </p:sp>
      <p:sp>
        <p:nvSpPr>
          <p:cNvPr id="14" name="Arrow: Pentagon 29">
            <a:extLst>
              <a:ext uri="{FF2B5EF4-FFF2-40B4-BE49-F238E27FC236}">
                <a16:creationId xmlns:a16="http://schemas.microsoft.com/office/drawing/2014/main" id="{9E19DD8F-6EF2-2123-C0F6-E73A1ED9823A}"/>
              </a:ext>
            </a:extLst>
          </p:cNvPr>
          <p:cNvSpPr/>
          <p:nvPr/>
        </p:nvSpPr>
        <p:spPr>
          <a:xfrm>
            <a:off x="5729755" y="4161439"/>
            <a:ext cx="3333906" cy="720000"/>
          </a:xfrm>
          <a:prstGeom prst="homePlate">
            <a:avLst>
              <a:gd name="adj" fmla="val 28868"/>
            </a:avLst>
          </a:prstGeom>
          <a:solidFill>
            <a:srgbClr val="333353">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36000" bIns="72000" rtlCol="0" anchor="ctr" anchorCtr="0">
            <a:noAutofit/>
          </a:bodyPr>
          <a:lstStyle>
            <a:defPPr>
              <a:defRPr lang="en-US"/>
            </a:defPPr>
            <a:lvl1pPr>
              <a:spcBef>
                <a:spcPts val="0"/>
              </a:spcBef>
              <a:buClr>
                <a:schemeClr val="accent1"/>
              </a:buClr>
              <a:defRPr sz="1800">
                <a:solidFill>
                  <a:schemeClr val="lt1"/>
                </a:solidFill>
                <a:latin typeface="+mn-lt"/>
                <a:ea typeface="+mn-ea"/>
                <a:cs typeface="+mn-cs"/>
              </a:defRPr>
            </a:lvl1pPr>
            <a:lvl2pPr marL="18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2pPr>
            <a:lvl3pPr marL="36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3pPr>
            <a:lvl4pPr marL="54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4pPr>
            <a:lvl5pPr marL="72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5pPr>
            <a:lvl6pPr marL="90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6pPr>
            <a:lvl7pPr marL="108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7pPr>
            <a:lvl8pPr marL="126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8pPr>
            <a:lvl9pPr marL="1440000" indent="-180000">
              <a:spcBef>
                <a:spcPts val="0"/>
              </a:spcBef>
              <a:buClr>
                <a:schemeClr val="accent1"/>
              </a:buClr>
              <a:buFont typeface="Arial" panose="020B0604020202020204" pitchFamily="34" charset="0"/>
              <a:buChar char="•"/>
              <a:defRPr sz="1800">
                <a:solidFill>
                  <a:schemeClr val="lt1"/>
                </a:solidFill>
                <a:latin typeface="+mn-lt"/>
                <a:ea typeface="+mn-ea"/>
                <a:cs typeface="+mn-cs"/>
              </a:defRPr>
            </a:lvl9pPr>
          </a:lstStyle>
          <a:p>
            <a:pPr>
              <a:spcAft>
                <a:spcPts val="600"/>
              </a:spcAft>
              <a:buClr>
                <a:srgbClr val="009999"/>
              </a:buClr>
              <a:defRPr/>
            </a:pPr>
            <a:endParaRPr kumimoji="0" lang="en-US" sz="180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97342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623A4-B739-BF5D-F175-AE9CD74340D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1012365-8088-2A7C-CF2D-31E61091718E}"/>
              </a:ext>
            </a:extLst>
          </p:cNvPr>
          <p:cNvGraphicFramePr>
            <a:graphicFrameLocks noChangeAspect="1"/>
          </p:cNvGraphicFramePr>
          <p:nvPr>
            <p:custDataLst>
              <p:tags r:id="rId1"/>
            </p:custDataLst>
            <p:extLst>
              <p:ext uri="{D42A27DB-BD31-4B8C-83A1-F6EECF244321}">
                <p14:modId xmlns:p14="http://schemas.microsoft.com/office/powerpoint/2010/main" val="1624190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1" name="think-cell data - do not delete" hidden="1">
                        <a:extLst>
                          <a:ext uri="{FF2B5EF4-FFF2-40B4-BE49-F238E27FC236}">
                            <a16:creationId xmlns:a16="http://schemas.microsoft.com/office/drawing/2014/main" id="{B1012365-8088-2A7C-CF2D-31E6109171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Parallelogramm 34">
            <a:extLst>
              <a:ext uri="{FF2B5EF4-FFF2-40B4-BE49-F238E27FC236}">
                <a16:creationId xmlns:a16="http://schemas.microsoft.com/office/drawing/2014/main" id="{8D5CDFF5-9AED-05E6-F118-5CC98A52A3A2}"/>
              </a:ext>
            </a:extLst>
          </p:cNvPr>
          <p:cNvSpPr>
            <a:spLocks/>
          </p:cNvSpPr>
          <p:nvPr/>
        </p:nvSpPr>
        <p:spPr>
          <a:xfrm>
            <a:off x="4705350" y="2319007"/>
            <a:ext cx="1005114" cy="674724"/>
          </a:xfrm>
          <a:prstGeom prst="parallelogram">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6" name="Parallelogramm 35">
            <a:extLst>
              <a:ext uri="{FF2B5EF4-FFF2-40B4-BE49-F238E27FC236}">
                <a16:creationId xmlns:a16="http://schemas.microsoft.com/office/drawing/2014/main" id="{34C6DE39-F56D-2B6C-71E8-98E8EF961C44}"/>
              </a:ext>
            </a:extLst>
          </p:cNvPr>
          <p:cNvSpPr>
            <a:spLocks/>
          </p:cNvSpPr>
          <p:nvPr/>
        </p:nvSpPr>
        <p:spPr>
          <a:xfrm>
            <a:off x="4469629" y="3175369"/>
            <a:ext cx="1005114" cy="674724"/>
          </a:xfrm>
          <a:prstGeom prst="parallelogram">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1" name="Parallelogramm 40">
            <a:extLst>
              <a:ext uri="{FF2B5EF4-FFF2-40B4-BE49-F238E27FC236}">
                <a16:creationId xmlns:a16="http://schemas.microsoft.com/office/drawing/2014/main" id="{35AFFC56-52AE-C4F8-26CA-9752A94A6EC6}"/>
              </a:ext>
            </a:extLst>
          </p:cNvPr>
          <p:cNvSpPr>
            <a:spLocks/>
          </p:cNvSpPr>
          <p:nvPr/>
        </p:nvSpPr>
        <p:spPr>
          <a:xfrm>
            <a:off x="4248272" y="4031733"/>
            <a:ext cx="1005114" cy="674724"/>
          </a:xfrm>
          <a:prstGeom prst="parallelogram">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2" name="Parallelogramm 41">
            <a:extLst>
              <a:ext uri="{FF2B5EF4-FFF2-40B4-BE49-F238E27FC236}">
                <a16:creationId xmlns:a16="http://schemas.microsoft.com/office/drawing/2014/main" id="{7F8B5159-8CCD-DC79-C606-C9A94B0552AD}"/>
              </a:ext>
            </a:extLst>
          </p:cNvPr>
          <p:cNvSpPr>
            <a:spLocks/>
          </p:cNvSpPr>
          <p:nvPr/>
        </p:nvSpPr>
        <p:spPr>
          <a:xfrm>
            <a:off x="4021636" y="4888092"/>
            <a:ext cx="1005114" cy="674724"/>
          </a:xfrm>
          <a:prstGeom prst="parallelogram">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Parallelogramm 11">
            <a:extLst>
              <a:ext uri="{FF2B5EF4-FFF2-40B4-BE49-F238E27FC236}">
                <a16:creationId xmlns:a16="http://schemas.microsoft.com/office/drawing/2014/main" id="{E3BC8222-4C87-7EA6-08A4-E9A5B2CC3211}"/>
              </a:ext>
            </a:extLst>
          </p:cNvPr>
          <p:cNvSpPr>
            <a:spLocks/>
          </p:cNvSpPr>
          <p:nvPr/>
        </p:nvSpPr>
        <p:spPr>
          <a:xfrm>
            <a:off x="-307994" y="1409367"/>
            <a:ext cx="6264295" cy="674724"/>
          </a:xfrm>
          <a:prstGeom prst="parallelogram">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26" name="Group 57">
            <a:extLst>
              <a:ext uri="{FF2B5EF4-FFF2-40B4-BE49-F238E27FC236}">
                <a16:creationId xmlns:a16="http://schemas.microsoft.com/office/drawing/2014/main" id="{451AF989-E043-4B03-8B7C-7ECDD8B1C0E5}"/>
              </a:ext>
            </a:extLst>
          </p:cNvPr>
          <p:cNvGrpSpPr/>
          <p:nvPr/>
        </p:nvGrpSpPr>
        <p:grpSpPr>
          <a:xfrm>
            <a:off x="330053" y="3084550"/>
            <a:ext cx="5372596" cy="1712726"/>
            <a:chOff x="393205" y="3084550"/>
            <a:chExt cx="5140756" cy="1712726"/>
          </a:xfrm>
        </p:grpSpPr>
        <p:cxnSp>
          <p:nvCxnSpPr>
            <p:cNvPr id="27" name="Straight Connector 26">
              <a:extLst>
                <a:ext uri="{FF2B5EF4-FFF2-40B4-BE49-F238E27FC236}">
                  <a16:creationId xmlns:a16="http://schemas.microsoft.com/office/drawing/2014/main" id="{0D4E880F-AE59-A68C-556E-26B817A628DB}"/>
                </a:ext>
              </a:extLst>
            </p:cNvPr>
            <p:cNvCxnSpPr/>
            <p:nvPr/>
          </p:nvCxnSpPr>
          <p:spPr>
            <a:xfrm>
              <a:off x="393205" y="3084550"/>
              <a:ext cx="5140756"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11FFDC3-33E5-2B6B-A47B-BEA641B38D28}"/>
                </a:ext>
              </a:extLst>
            </p:cNvPr>
            <p:cNvCxnSpPr/>
            <p:nvPr/>
          </p:nvCxnSpPr>
          <p:spPr>
            <a:xfrm>
              <a:off x="393205" y="3940913"/>
              <a:ext cx="5140756"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B8FE858-FDD1-D1FF-1104-823CB2232973}"/>
                </a:ext>
              </a:extLst>
            </p:cNvPr>
            <p:cNvCxnSpPr/>
            <p:nvPr/>
          </p:nvCxnSpPr>
          <p:spPr>
            <a:xfrm>
              <a:off x="393205" y="4797276"/>
              <a:ext cx="5140756"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44" name="Freihandform: Form 43">
            <a:extLst>
              <a:ext uri="{FF2B5EF4-FFF2-40B4-BE49-F238E27FC236}">
                <a16:creationId xmlns:a16="http://schemas.microsoft.com/office/drawing/2014/main" id="{268547D2-194A-C477-3CBB-D5E81D86D832}"/>
              </a:ext>
            </a:extLst>
          </p:cNvPr>
          <p:cNvSpPr>
            <a:spLocks/>
          </p:cNvSpPr>
          <p:nvPr/>
        </p:nvSpPr>
        <p:spPr>
          <a:xfrm>
            <a:off x="5015810" y="1409329"/>
            <a:ext cx="7176191" cy="4397745"/>
          </a:xfrm>
          <a:custGeom>
            <a:avLst/>
            <a:gdLst>
              <a:gd name="connsiteX0" fmla="*/ 1099436 w 7176191"/>
              <a:gd name="connsiteY0" fmla="*/ 0 h 4397745"/>
              <a:gd name="connsiteX1" fmla="*/ 7176191 w 7176191"/>
              <a:gd name="connsiteY1" fmla="*/ 0 h 4397745"/>
              <a:gd name="connsiteX2" fmla="*/ 7176191 w 7176191"/>
              <a:gd name="connsiteY2" fmla="*/ 4397745 h 4397745"/>
              <a:gd name="connsiteX3" fmla="*/ 0 w 7176191"/>
              <a:gd name="connsiteY3" fmla="*/ 4397745 h 4397745"/>
            </a:gdLst>
            <a:ahLst/>
            <a:cxnLst>
              <a:cxn ang="0">
                <a:pos x="connsiteX0" y="connsiteY0"/>
              </a:cxn>
              <a:cxn ang="0">
                <a:pos x="connsiteX1" y="connsiteY1"/>
              </a:cxn>
              <a:cxn ang="0">
                <a:pos x="connsiteX2" y="connsiteY2"/>
              </a:cxn>
              <a:cxn ang="0">
                <a:pos x="connsiteX3" y="connsiteY3"/>
              </a:cxn>
            </a:cxnLst>
            <a:rect l="l" t="t" r="r" b="b"/>
            <a:pathLst>
              <a:path w="7176191" h="4397745">
                <a:moveTo>
                  <a:pt x="1099436" y="0"/>
                </a:moveTo>
                <a:lnTo>
                  <a:pt x="7176191" y="0"/>
                </a:lnTo>
                <a:lnTo>
                  <a:pt x="7176191" y="4397745"/>
                </a:lnTo>
                <a:lnTo>
                  <a:pt x="0" y="4397745"/>
                </a:lnTo>
                <a:close/>
              </a:path>
            </a:pathLst>
          </a:cu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t" anchorCtr="0">
            <a:noAutofit/>
          </a:bodyPr>
          <a:lstStyle/>
          <a:p>
            <a:pPr algn="l"/>
            <a:endParaRPr lang="en-US"/>
          </a:p>
        </p:txBody>
      </p:sp>
      <p:sp>
        <p:nvSpPr>
          <p:cNvPr id="46" name="Freihandform: Form 45">
            <a:extLst>
              <a:ext uri="{FF2B5EF4-FFF2-40B4-BE49-F238E27FC236}">
                <a16:creationId xmlns:a16="http://schemas.microsoft.com/office/drawing/2014/main" id="{16677E53-E7D4-5CF1-BC86-567E6BEE302A}"/>
              </a:ext>
            </a:extLst>
          </p:cNvPr>
          <p:cNvSpPr/>
          <p:nvPr/>
        </p:nvSpPr>
        <p:spPr>
          <a:xfrm>
            <a:off x="5956302" y="1409367"/>
            <a:ext cx="6235699" cy="674724"/>
          </a:xfrm>
          <a:custGeom>
            <a:avLst/>
            <a:gdLst>
              <a:gd name="connsiteX0" fmla="*/ 168681 w 6235699"/>
              <a:gd name="connsiteY0" fmla="*/ 0 h 674724"/>
              <a:gd name="connsiteX1" fmla="*/ 6235699 w 6235699"/>
              <a:gd name="connsiteY1" fmla="*/ 0 h 674724"/>
              <a:gd name="connsiteX2" fmla="*/ 6235699 w 6235699"/>
              <a:gd name="connsiteY2" fmla="*/ 674724 h 674724"/>
              <a:gd name="connsiteX3" fmla="*/ 0 w 6235699"/>
              <a:gd name="connsiteY3" fmla="*/ 674724 h 674724"/>
            </a:gdLst>
            <a:ahLst/>
            <a:cxnLst>
              <a:cxn ang="0">
                <a:pos x="connsiteX0" y="connsiteY0"/>
              </a:cxn>
              <a:cxn ang="0">
                <a:pos x="connsiteX1" y="connsiteY1"/>
              </a:cxn>
              <a:cxn ang="0">
                <a:pos x="connsiteX2" y="connsiteY2"/>
              </a:cxn>
              <a:cxn ang="0">
                <a:pos x="connsiteX3" y="connsiteY3"/>
              </a:cxn>
            </a:cxnLst>
            <a:rect l="l" t="t" r="r" b="b"/>
            <a:pathLst>
              <a:path w="6235699" h="674724">
                <a:moveTo>
                  <a:pt x="168681" y="0"/>
                </a:moveTo>
                <a:lnTo>
                  <a:pt x="6235699" y="0"/>
                </a:lnTo>
                <a:lnTo>
                  <a:pt x="6235699" y="674724"/>
                </a:lnTo>
                <a:lnTo>
                  <a:pt x="0" y="674724"/>
                </a:lnTo>
                <a:close/>
              </a:path>
            </a:pathLst>
          </a:cu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t" anchorCtr="0">
            <a:noAutofit/>
          </a:bodyPr>
          <a:lstStyle/>
          <a:p>
            <a:pPr algn="l"/>
            <a:endParaRPr lang="en-US">
              <a:solidFill>
                <a:schemeClr val="accent6"/>
              </a:solidFill>
            </a:endParaRPr>
          </a:p>
        </p:txBody>
      </p:sp>
      <p:sp>
        <p:nvSpPr>
          <p:cNvPr id="2" name="Titel 1">
            <a:extLst>
              <a:ext uri="{FF2B5EF4-FFF2-40B4-BE49-F238E27FC236}">
                <a16:creationId xmlns:a16="http://schemas.microsoft.com/office/drawing/2014/main" id="{1246D6DD-304F-A59E-A889-A2AACCC1786C}"/>
              </a:ext>
            </a:extLst>
          </p:cNvPr>
          <p:cNvSpPr>
            <a:spLocks noGrp="1"/>
          </p:cNvSpPr>
          <p:nvPr>
            <p:ph type="title"/>
          </p:nvPr>
        </p:nvSpPr>
        <p:spPr>
          <a:xfrm>
            <a:off x="410400" y="478800"/>
            <a:ext cx="11376788" cy="576000"/>
          </a:xfrm>
        </p:spPr>
        <p:txBody>
          <a:bodyPr vert="horz"/>
          <a:lstStyle/>
          <a:p>
            <a:r>
              <a:rPr lang="en-US"/>
              <a:t>Driving the shift from HW-Based to SW-Defined Automation</a:t>
            </a:r>
            <a:endParaRPr lang="en-US" b="0"/>
          </a:p>
        </p:txBody>
      </p:sp>
      <p:sp>
        <p:nvSpPr>
          <p:cNvPr id="6" name="Fußzeilenplatzhalter 2">
            <a:extLst>
              <a:ext uri="{FF2B5EF4-FFF2-40B4-BE49-F238E27FC236}">
                <a16:creationId xmlns:a16="http://schemas.microsoft.com/office/drawing/2014/main" id="{4D8FC5A7-A8F5-AA47-B85A-2EC296E24C89}"/>
              </a:ext>
            </a:extLst>
          </p:cNvPr>
          <p:cNvSpPr>
            <a:spLocks noGrp="1"/>
          </p:cNvSpPr>
          <p:nvPr>
            <p:ph type="ftr" sz="quarter" idx="10"/>
          </p:nvPr>
        </p:nvSpPr>
        <p:spPr>
          <a:xfrm>
            <a:off x="1059160" y="6310800"/>
            <a:ext cx="9216000" cy="547200"/>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prstClr val="white"/>
                </a:solidFill>
                <a:effectLst/>
                <a:uLnTx/>
                <a:uFillTx/>
                <a:latin typeface="Arial"/>
                <a:ea typeface="+mn-ea"/>
                <a:cs typeface="+mn-cs"/>
              </a:rPr>
              <a:t>Unrestricted | © Siemens 2025 | Raghav Tripathi</a:t>
            </a: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4" name="Rectangle 11">
            <a:extLst>
              <a:ext uri="{FF2B5EF4-FFF2-40B4-BE49-F238E27FC236}">
                <a16:creationId xmlns:a16="http://schemas.microsoft.com/office/drawing/2014/main" id="{E20F2BD9-49CB-4846-C533-CD73975603D0}"/>
              </a:ext>
            </a:extLst>
          </p:cNvPr>
          <p:cNvSpPr>
            <a:spLocks/>
          </p:cNvSpPr>
          <p:nvPr/>
        </p:nvSpPr>
        <p:spPr>
          <a:xfrm>
            <a:off x="411162" y="1608230"/>
            <a:ext cx="458593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Arial"/>
                <a:ea typeface="+mn-ea"/>
                <a:cs typeface="+mn-cs"/>
              </a:rPr>
              <a:t>Hardware-Based Automation …</a:t>
            </a:r>
          </a:p>
        </p:txBody>
      </p:sp>
      <p:sp>
        <p:nvSpPr>
          <p:cNvPr id="5" name="Rectangle 14">
            <a:extLst>
              <a:ext uri="{FF2B5EF4-FFF2-40B4-BE49-F238E27FC236}">
                <a16:creationId xmlns:a16="http://schemas.microsoft.com/office/drawing/2014/main" id="{C6A87105-38FA-8A81-7D3F-A7F64AB6B16B}"/>
              </a:ext>
            </a:extLst>
          </p:cNvPr>
          <p:cNvSpPr>
            <a:spLocks/>
          </p:cNvSpPr>
          <p:nvPr/>
        </p:nvSpPr>
        <p:spPr>
          <a:xfrm>
            <a:off x="6310323" y="1608230"/>
            <a:ext cx="5147105"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6"/>
                </a:solidFill>
                <a:effectLst/>
                <a:uLnTx/>
                <a:uFillTx/>
                <a:latin typeface="Arial"/>
                <a:ea typeface="+mn-ea"/>
                <a:cs typeface="+mn-cs"/>
              </a:rPr>
              <a:t>… and Software-Defined Automation</a:t>
            </a:r>
          </a:p>
        </p:txBody>
      </p:sp>
      <p:sp>
        <p:nvSpPr>
          <p:cNvPr id="7" name="Rectangle 7">
            <a:extLst>
              <a:ext uri="{FF2B5EF4-FFF2-40B4-BE49-F238E27FC236}">
                <a16:creationId xmlns:a16="http://schemas.microsoft.com/office/drawing/2014/main" id="{DE6780C2-20E9-088C-8E1C-7F5188659CCC}"/>
              </a:ext>
            </a:extLst>
          </p:cNvPr>
          <p:cNvSpPr>
            <a:spLocks/>
          </p:cNvSpPr>
          <p:nvPr/>
        </p:nvSpPr>
        <p:spPr>
          <a:xfrm>
            <a:off x="416419" y="2410147"/>
            <a:ext cx="370631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mn-ea"/>
                <a:cs typeface="+mn-cs"/>
              </a:rPr>
              <a:t>OT-like</a:t>
            </a:r>
            <a:r>
              <a:rPr kumimoji="0" lang="en-US" sz="1600" b="0" i="0" u="none" strike="noStrike" kern="1200" cap="none" spc="0" normalizeH="0" baseline="0" noProof="0">
                <a:ln>
                  <a:noFill/>
                </a:ln>
                <a:solidFill>
                  <a:schemeClr val="tx1"/>
                </a:solidFill>
                <a:effectLst/>
                <a:uLnTx/>
                <a:uFillTx/>
                <a:latin typeface="Arial"/>
                <a:ea typeface="+mn-ea"/>
                <a:cs typeface="+mn-cs"/>
              </a:rPr>
              <a:t> graphical enginee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mn-ea"/>
                <a:cs typeface="+mn-cs"/>
              </a:rPr>
              <a:t>programming</a:t>
            </a:r>
            <a:r>
              <a:rPr kumimoji="0" lang="en-US" sz="1600" b="0" i="0" u="none" strike="noStrike" kern="1200" cap="none" spc="0" normalizeH="0" baseline="0" noProof="0">
                <a:ln>
                  <a:noFill/>
                </a:ln>
                <a:solidFill>
                  <a:schemeClr val="tx1"/>
                </a:solidFill>
                <a:effectLst/>
                <a:uLnTx/>
                <a:uFillTx/>
                <a:latin typeface="Arial"/>
                <a:ea typeface="+mn-ea"/>
                <a:cs typeface="+mn-cs"/>
              </a:rPr>
              <a:t> of devices</a:t>
            </a:r>
          </a:p>
        </p:txBody>
      </p:sp>
      <p:sp>
        <p:nvSpPr>
          <p:cNvPr id="8" name="Freeform 5">
            <a:extLst>
              <a:ext uri="{FF2B5EF4-FFF2-40B4-BE49-F238E27FC236}">
                <a16:creationId xmlns:a16="http://schemas.microsoft.com/office/drawing/2014/main" id="{91165533-95E8-4567-8AC4-2287AEDA4D02}"/>
              </a:ext>
            </a:extLst>
          </p:cNvPr>
          <p:cNvSpPr>
            <a:spLocks/>
          </p:cNvSpPr>
          <p:nvPr/>
        </p:nvSpPr>
        <p:spPr bwMode="auto">
          <a:xfrm>
            <a:off x="4983275" y="2471702"/>
            <a:ext cx="449263" cy="369332"/>
          </a:xfrm>
          <a:custGeom>
            <a:avLst/>
            <a:gdLst>
              <a:gd name="T0" fmla="*/ 48 w 84"/>
              <a:gd name="T1" fmla="*/ 0 h 72"/>
              <a:gd name="T2" fmla="*/ 12 w 84"/>
              <a:gd name="T3" fmla="*/ 36 h 72"/>
              <a:gd name="T4" fmla="*/ 0 w 84"/>
              <a:gd name="T5" fmla="*/ 36 h 72"/>
              <a:gd name="T6" fmla="*/ 16 w 84"/>
              <a:gd name="T7" fmla="*/ 56 h 72"/>
              <a:gd name="T8" fmla="*/ 32 w 84"/>
              <a:gd name="T9" fmla="*/ 36 h 72"/>
              <a:gd name="T10" fmla="*/ 20 w 84"/>
              <a:gd name="T11" fmla="*/ 36 h 72"/>
              <a:gd name="T12" fmla="*/ 48 w 84"/>
              <a:gd name="T13" fmla="*/ 8 h 72"/>
              <a:gd name="T14" fmla="*/ 76 w 84"/>
              <a:gd name="T15" fmla="*/ 36 h 72"/>
              <a:gd name="T16" fmla="*/ 48 w 84"/>
              <a:gd name="T17" fmla="*/ 64 h 72"/>
              <a:gd name="T18" fmla="*/ 33 w 84"/>
              <a:gd name="T19" fmla="*/ 60 h 72"/>
              <a:gd name="T20" fmla="*/ 28 w 84"/>
              <a:gd name="T21" fmla="*/ 66 h 72"/>
              <a:gd name="T22" fmla="*/ 48 w 84"/>
              <a:gd name="T23" fmla="*/ 72 h 72"/>
              <a:gd name="T24" fmla="*/ 84 w 84"/>
              <a:gd name="T25" fmla="*/ 36 h 72"/>
              <a:gd name="T26" fmla="*/ 48 w 84"/>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2">
                <a:moveTo>
                  <a:pt x="48" y="0"/>
                </a:moveTo>
                <a:cubicBezTo>
                  <a:pt x="28" y="0"/>
                  <a:pt x="12" y="16"/>
                  <a:pt x="12" y="36"/>
                </a:cubicBezTo>
                <a:cubicBezTo>
                  <a:pt x="0" y="36"/>
                  <a:pt x="0" y="36"/>
                  <a:pt x="0" y="36"/>
                </a:cubicBezTo>
                <a:cubicBezTo>
                  <a:pt x="16" y="56"/>
                  <a:pt x="16" y="56"/>
                  <a:pt x="16" y="56"/>
                </a:cubicBezTo>
                <a:cubicBezTo>
                  <a:pt x="32" y="36"/>
                  <a:pt x="32" y="36"/>
                  <a:pt x="32" y="36"/>
                </a:cubicBezTo>
                <a:cubicBezTo>
                  <a:pt x="20" y="36"/>
                  <a:pt x="20" y="36"/>
                  <a:pt x="20" y="36"/>
                </a:cubicBezTo>
                <a:cubicBezTo>
                  <a:pt x="20" y="21"/>
                  <a:pt x="33" y="8"/>
                  <a:pt x="48" y="8"/>
                </a:cubicBezTo>
                <a:cubicBezTo>
                  <a:pt x="63" y="8"/>
                  <a:pt x="76" y="21"/>
                  <a:pt x="76" y="36"/>
                </a:cubicBezTo>
                <a:cubicBezTo>
                  <a:pt x="76" y="51"/>
                  <a:pt x="63" y="64"/>
                  <a:pt x="48" y="64"/>
                </a:cubicBezTo>
                <a:cubicBezTo>
                  <a:pt x="43" y="64"/>
                  <a:pt x="38" y="62"/>
                  <a:pt x="33" y="60"/>
                </a:cubicBezTo>
                <a:cubicBezTo>
                  <a:pt x="28" y="66"/>
                  <a:pt x="28" y="66"/>
                  <a:pt x="28" y="66"/>
                </a:cubicBezTo>
                <a:cubicBezTo>
                  <a:pt x="34" y="70"/>
                  <a:pt x="41" y="72"/>
                  <a:pt x="48" y="72"/>
                </a:cubicBezTo>
                <a:cubicBezTo>
                  <a:pt x="68" y="72"/>
                  <a:pt x="84" y="56"/>
                  <a:pt x="84" y="36"/>
                </a:cubicBezTo>
                <a:cubicBezTo>
                  <a:pt x="84" y="16"/>
                  <a:pt x="68" y="0"/>
                  <a:pt x="48" y="0"/>
                </a:cubicBezTo>
                <a:close/>
              </a:path>
            </a:pathLst>
          </a:custGeom>
          <a:solidFill>
            <a:srgbClr val="00C1B6"/>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8">
            <a:extLst>
              <a:ext uri="{FF2B5EF4-FFF2-40B4-BE49-F238E27FC236}">
                <a16:creationId xmlns:a16="http://schemas.microsoft.com/office/drawing/2014/main" id="{8B62D9C8-7A11-5232-8C1C-F24B41176EBB}"/>
              </a:ext>
            </a:extLst>
          </p:cNvPr>
          <p:cNvSpPr/>
          <p:nvPr/>
        </p:nvSpPr>
        <p:spPr>
          <a:xfrm>
            <a:off x="6310323" y="2410147"/>
            <a:ext cx="474622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a:ea typeface="+mn-ea"/>
                <a:cs typeface="+mn-cs"/>
              </a:rPr>
              <a:t>IT-like workflows</a:t>
            </a:r>
            <a:r>
              <a:rPr kumimoji="0" lang="en-US" sz="1600" b="0" i="0" u="none" strike="noStrike" kern="1200" cap="none" spc="0" normalizeH="0" baseline="0" noProof="0" dirty="0">
                <a:ln>
                  <a:noFill/>
                </a:ln>
                <a:solidFill>
                  <a:schemeClr val="tx1"/>
                </a:solidFill>
                <a:effectLst/>
                <a:uLnTx/>
                <a:uFillTx/>
                <a:latin typeface="Arial"/>
                <a:ea typeface="+mn-ea"/>
                <a:cs typeface="+mn-cs"/>
              </a:rPr>
              <a:t>, high-level programming languages for engineering/programming of apps</a:t>
            </a:r>
          </a:p>
        </p:txBody>
      </p:sp>
      <p:sp>
        <p:nvSpPr>
          <p:cNvPr id="17" name="Rectangle 10">
            <a:extLst>
              <a:ext uri="{FF2B5EF4-FFF2-40B4-BE49-F238E27FC236}">
                <a16:creationId xmlns:a16="http://schemas.microsoft.com/office/drawing/2014/main" id="{13AD97F9-3AB4-18EE-2F4C-87230F593AD4}"/>
              </a:ext>
            </a:extLst>
          </p:cNvPr>
          <p:cNvSpPr>
            <a:spLocks/>
          </p:cNvSpPr>
          <p:nvPr/>
        </p:nvSpPr>
        <p:spPr>
          <a:xfrm>
            <a:off x="416419" y="4979233"/>
            <a:ext cx="3347770"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a:ea typeface="+mn-ea"/>
                <a:cs typeface="+mn-cs"/>
              </a:rPr>
              <a:t>One time configuration with</a:t>
            </a:r>
            <a:br>
              <a:rPr kumimoji="0" lang="en-US" sz="1600" b="0" i="0" u="none" strike="noStrike" kern="1200" cap="none" spc="0" normalizeH="0" baseline="0" noProof="0">
                <a:ln>
                  <a:noFill/>
                </a:ln>
                <a:solidFill>
                  <a:schemeClr val="tx1"/>
                </a:solidFill>
                <a:effectLst/>
                <a:uLnTx/>
                <a:uFillTx/>
                <a:latin typeface="Arial"/>
                <a:ea typeface="+mn-ea"/>
                <a:cs typeface="+mn-cs"/>
              </a:rPr>
            </a:br>
            <a:r>
              <a:rPr kumimoji="0" lang="en-US" sz="1600" b="1" i="0" u="none" strike="noStrike" kern="1200" cap="none" spc="0" normalizeH="0" baseline="0" noProof="0">
                <a:ln>
                  <a:noFill/>
                </a:ln>
                <a:solidFill>
                  <a:schemeClr val="tx1"/>
                </a:solidFill>
                <a:effectLst/>
                <a:uLnTx/>
                <a:uFillTx/>
                <a:latin typeface="Arial"/>
                <a:ea typeface="+mn-ea"/>
                <a:cs typeface="+mn-cs"/>
              </a:rPr>
              <a:t>simple installation </a:t>
            </a:r>
            <a:r>
              <a:rPr kumimoji="0" lang="en-US" sz="1600" b="0" i="0" u="none" strike="noStrike" kern="1200" cap="none" spc="0" normalizeH="0" baseline="0" noProof="0">
                <a:ln>
                  <a:noFill/>
                </a:ln>
                <a:solidFill>
                  <a:schemeClr val="tx1"/>
                </a:solidFill>
                <a:effectLst/>
                <a:uLnTx/>
                <a:uFillTx/>
                <a:latin typeface="Arial"/>
                <a:ea typeface="+mn-ea"/>
                <a:cs typeface="+mn-cs"/>
              </a:rPr>
              <a:t>&amp; </a:t>
            </a:r>
            <a:r>
              <a:rPr kumimoji="0" lang="en-US" sz="1600" b="1" i="0" u="none" strike="noStrike" kern="1200" cap="none" spc="0" normalizeH="0" baseline="0" noProof="0">
                <a:ln>
                  <a:noFill/>
                </a:ln>
                <a:solidFill>
                  <a:schemeClr val="tx1"/>
                </a:solidFill>
                <a:effectLst/>
                <a:uLnTx/>
                <a:uFillTx/>
                <a:latin typeface="Arial"/>
                <a:ea typeface="+mn-ea"/>
                <a:cs typeface="+mn-cs"/>
              </a:rPr>
              <a:t>replacement</a:t>
            </a:r>
          </a:p>
        </p:txBody>
      </p:sp>
      <p:sp>
        <p:nvSpPr>
          <p:cNvPr id="18" name="Freeform 6">
            <a:extLst>
              <a:ext uri="{FF2B5EF4-FFF2-40B4-BE49-F238E27FC236}">
                <a16:creationId xmlns:a16="http://schemas.microsoft.com/office/drawing/2014/main" id="{DACCF92B-A645-3B13-B101-3FC2EA53DD93}"/>
              </a:ext>
            </a:extLst>
          </p:cNvPr>
          <p:cNvSpPr>
            <a:spLocks noChangeAspect="1" noEditPoints="1"/>
          </p:cNvSpPr>
          <p:nvPr/>
        </p:nvSpPr>
        <p:spPr bwMode="auto">
          <a:xfrm>
            <a:off x="4360145" y="5002238"/>
            <a:ext cx="317325" cy="431775"/>
          </a:xfrm>
          <a:custGeom>
            <a:avLst/>
            <a:gdLst>
              <a:gd name="T0" fmla="*/ 1892 w 2362"/>
              <a:gd name="T1" fmla="*/ 0 h 3213"/>
              <a:gd name="T2" fmla="*/ 1892 w 2362"/>
              <a:gd name="T3" fmla="*/ 475 h 3213"/>
              <a:gd name="T4" fmla="*/ 470 w 2362"/>
              <a:gd name="T5" fmla="*/ 475 h 3213"/>
              <a:gd name="T6" fmla="*/ 470 w 2362"/>
              <a:gd name="T7" fmla="*/ 0 h 3213"/>
              <a:gd name="T8" fmla="*/ 0 w 2362"/>
              <a:gd name="T9" fmla="*/ 0 h 3213"/>
              <a:gd name="T10" fmla="*/ 0 w 2362"/>
              <a:gd name="T11" fmla="*/ 3213 h 3213"/>
              <a:gd name="T12" fmla="*/ 2362 w 2362"/>
              <a:gd name="T13" fmla="*/ 3213 h 3213"/>
              <a:gd name="T14" fmla="*/ 2362 w 2362"/>
              <a:gd name="T15" fmla="*/ 0 h 3213"/>
              <a:gd name="T16" fmla="*/ 1892 w 2362"/>
              <a:gd name="T17" fmla="*/ 0 h 3213"/>
              <a:gd name="T18" fmla="*/ 756 w 2362"/>
              <a:gd name="T19" fmla="*/ 2646 h 3213"/>
              <a:gd name="T20" fmla="*/ 378 w 2362"/>
              <a:gd name="T21" fmla="*/ 2646 h 3213"/>
              <a:gd name="T22" fmla="*/ 378 w 2362"/>
              <a:gd name="T23" fmla="*/ 2268 h 3213"/>
              <a:gd name="T24" fmla="*/ 756 w 2362"/>
              <a:gd name="T25" fmla="*/ 2268 h 3213"/>
              <a:gd name="T26" fmla="*/ 756 w 2362"/>
              <a:gd name="T27" fmla="*/ 2646 h 3213"/>
              <a:gd name="T28" fmla="*/ 756 w 2362"/>
              <a:gd name="T29" fmla="*/ 1607 h 3213"/>
              <a:gd name="T30" fmla="*/ 378 w 2362"/>
              <a:gd name="T31" fmla="*/ 1607 h 3213"/>
              <a:gd name="T32" fmla="*/ 378 w 2362"/>
              <a:gd name="T33" fmla="*/ 1229 h 3213"/>
              <a:gd name="T34" fmla="*/ 756 w 2362"/>
              <a:gd name="T35" fmla="*/ 1229 h 3213"/>
              <a:gd name="T36" fmla="*/ 756 w 2362"/>
              <a:gd name="T37" fmla="*/ 1607 h 3213"/>
              <a:gd name="T38" fmla="*/ 1423 w 2362"/>
              <a:gd name="T39" fmla="*/ 2786 h 3213"/>
              <a:gd name="T40" fmla="*/ 1067 w 2362"/>
              <a:gd name="T41" fmla="*/ 2430 h 3213"/>
              <a:gd name="T42" fmla="*/ 1172 w 2362"/>
              <a:gd name="T43" fmla="*/ 2324 h 3213"/>
              <a:gd name="T44" fmla="*/ 1400 w 2362"/>
              <a:gd name="T45" fmla="*/ 2522 h 3213"/>
              <a:gd name="T46" fmla="*/ 1980 w 2362"/>
              <a:gd name="T47" fmla="*/ 2019 h 3213"/>
              <a:gd name="T48" fmla="*/ 2085 w 2362"/>
              <a:gd name="T49" fmla="*/ 2124 h 3213"/>
              <a:gd name="T50" fmla="*/ 1423 w 2362"/>
              <a:gd name="T51" fmla="*/ 2786 h 3213"/>
              <a:gd name="T52" fmla="*/ 1423 w 2362"/>
              <a:gd name="T53" fmla="*/ 1747 h 3213"/>
              <a:gd name="T54" fmla="*/ 1067 w 2362"/>
              <a:gd name="T55" fmla="*/ 1390 h 3213"/>
              <a:gd name="T56" fmla="*/ 1172 w 2362"/>
              <a:gd name="T57" fmla="*/ 1285 h 3213"/>
              <a:gd name="T58" fmla="*/ 1400 w 2362"/>
              <a:gd name="T59" fmla="*/ 1483 h 3213"/>
              <a:gd name="T60" fmla="*/ 1980 w 2362"/>
              <a:gd name="T61" fmla="*/ 979 h 3213"/>
              <a:gd name="T62" fmla="*/ 2085 w 2362"/>
              <a:gd name="T63" fmla="*/ 1085 h 3213"/>
              <a:gd name="T64" fmla="*/ 1423 w 2362"/>
              <a:gd name="T65" fmla="*/ 1747 h 3213"/>
              <a:gd name="T66" fmla="*/ 1698 w 2362"/>
              <a:gd name="T67" fmla="*/ 281 h 3213"/>
              <a:gd name="T68" fmla="*/ 664 w 2362"/>
              <a:gd name="T69" fmla="*/ 281 h 3213"/>
              <a:gd name="T70" fmla="*/ 664 w 2362"/>
              <a:gd name="T71" fmla="*/ 0 h 3213"/>
              <a:gd name="T72" fmla="*/ 1698 w 2362"/>
              <a:gd name="T73" fmla="*/ 0 h 3213"/>
              <a:gd name="T74" fmla="*/ 1698 w 2362"/>
              <a:gd name="T75" fmla="*/ 281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2" h="3213">
                <a:moveTo>
                  <a:pt x="1892" y="0"/>
                </a:moveTo>
                <a:lnTo>
                  <a:pt x="1892" y="475"/>
                </a:lnTo>
                <a:lnTo>
                  <a:pt x="470" y="475"/>
                </a:lnTo>
                <a:lnTo>
                  <a:pt x="470" y="0"/>
                </a:lnTo>
                <a:lnTo>
                  <a:pt x="0" y="0"/>
                </a:lnTo>
                <a:lnTo>
                  <a:pt x="0" y="3213"/>
                </a:lnTo>
                <a:lnTo>
                  <a:pt x="2362" y="3213"/>
                </a:lnTo>
                <a:lnTo>
                  <a:pt x="2362" y="0"/>
                </a:lnTo>
                <a:lnTo>
                  <a:pt x="1892" y="0"/>
                </a:lnTo>
                <a:close/>
                <a:moveTo>
                  <a:pt x="756" y="2646"/>
                </a:moveTo>
                <a:lnTo>
                  <a:pt x="378" y="2646"/>
                </a:lnTo>
                <a:lnTo>
                  <a:pt x="378" y="2268"/>
                </a:lnTo>
                <a:lnTo>
                  <a:pt x="756" y="2268"/>
                </a:lnTo>
                <a:lnTo>
                  <a:pt x="756" y="2646"/>
                </a:lnTo>
                <a:close/>
                <a:moveTo>
                  <a:pt x="756" y="1607"/>
                </a:moveTo>
                <a:lnTo>
                  <a:pt x="378" y="1607"/>
                </a:lnTo>
                <a:lnTo>
                  <a:pt x="378" y="1229"/>
                </a:lnTo>
                <a:lnTo>
                  <a:pt x="756" y="1229"/>
                </a:lnTo>
                <a:lnTo>
                  <a:pt x="756" y="1607"/>
                </a:lnTo>
                <a:close/>
                <a:moveTo>
                  <a:pt x="1423" y="2786"/>
                </a:moveTo>
                <a:lnTo>
                  <a:pt x="1067" y="2430"/>
                </a:lnTo>
                <a:lnTo>
                  <a:pt x="1172" y="2324"/>
                </a:lnTo>
                <a:lnTo>
                  <a:pt x="1400" y="2522"/>
                </a:lnTo>
                <a:lnTo>
                  <a:pt x="1980" y="2019"/>
                </a:lnTo>
                <a:lnTo>
                  <a:pt x="2085" y="2124"/>
                </a:lnTo>
                <a:lnTo>
                  <a:pt x="1423" y="2786"/>
                </a:lnTo>
                <a:close/>
                <a:moveTo>
                  <a:pt x="1423" y="1747"/>
                </a:moveTo>
                <a:lnTo>
                  <a:pt x="1067" y="1390"/>
                </a:lnTo>
                <a:lnTo>
                  <a:pt x="1172" y="1285"/>
                </a:lnTo>
                <a:lnTo>
                  <a:pt x="1400" y="1483"/>
                </a:lnTo>
                <a:lnTo>
                  <a:pt x="1980" y="979"/>
                </a:lnTo>
                <a:lnTo>
                  <a:pt x="2085" y="1085"/>
                </a:lnTo>
                <a:lnTo>
                  <a:pt x="1423" y="1747"/>
                </a:lnTo>
                <a:close/>
                <a:moveTo>
                  <a:pt x="1698" y="281"/>
                </a:moveTo>
                <a:lnTo>
                  <a:pt x="664" y="281"/>
                </a:lnTo>
                <a:lnTo>
                  <a:pt x="664" y="0"/>
                </a:lnTo>
                <a:lnTo>
                  <a:pt x="1698" y="0"/>
                </a:lnTo>
                <a:lnTo>
                  <a:pt x="1698" y="281"/>
                </a:ln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21">
            <a:extLst>
              <a:ext uri="{FF2B5EF4-FFF2-40B4-BE49-F238E27FC236}">
                <a16:creationId xmlns:a16="http://schemas.microsoft.com/office/drawing/2014/main" id="{B8A543E4-1F7A-70BE-9DAD-25EB05718BBF}"/>
              </a:ext>
            </a:extLst>
          </p:cNvPr>
          <p:cNvSpPr/>
          <p:nvPr/>
        </p:nvSpPr>
        <p:spPr>
          <a:xfrm>
            <a:off x="6310323" y="4979233"/>
            <a:ext cx="3799783"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mn-ea"/>
                <a:cs typeface="+mn-cs"/>
              </a:rPr>
              <a:t>Continuous</a:t>
            </a:r>
            <a:r>
              <a:rPr kumimoji="0" lang="en-US" sz="1600" b="0" i="0" u="none" strike="noStrike" kern="1200" cap="none" spc="0" normalizeH="0" baseline="0" noProof="0">
                <a:ln>
                  <a:noFill/>
                </a:ln>
                <a:solidFill>
                  <a:schemeClr val="tx1"/>
                </a:solidFill>
                <a:effectLst/>
                <a:uLnTx/>
                <a:uFillTx/>
                <a:latin typeface="Arial"/>
                <a:ea typeface="+mn-ea"/>
                <a:cs typeface="+mn-cs"/>
              </a:rPr>
              <a:t> </a:t>
            </a:r>
            <a:r>
              <a:rPr kumimoji="0" lang="en-US" sz="1600" b="1" i="0" u="none" strike="noStrike" kern="1200" cap="none" spc="0" normalizeH="0" baseline="0" noProof="0">
                <a:ln>
                  <a:noFill/>
                </a:ln>
                <a:solidFill>
                  <a:schemeClr val="tx1"/>
                </a:solidFill>
                <a:effectLst/>
                <a:uLnTx/>
                <a:uFillTx/>
                <a:latin typeface="Arial"/>
                <a:ea typeface="+mn-ea"/>
                <a:cs typeface="+mn-cs"/>
              </a:rPr>
              <a:t>software updates</a:t>
            </a:r>
            <a:r>
              <a:rPr kumimoji="0" lang="en-US" sz="1600" b="0" i="0" u="none" strike="noStrike" kern="1200" cap="none" spc="0" normalizeH="0" baseline="0" noProof="0">
                <a:ln>
                  <a:noFill/>
                </a:ln>
                <a:solidFill>
                  <a:schemeClr val="tx1"/>
                </a:solidFill>
                <a:effectLst/>
                <a:uLnTx/>
                <a:uFillTx/>
                <a:latin typeface="Arial"/>
                <a:ea typeface="+mn-ea"/>
                <a:cs typeface="+mn-cs"/>
              </a:rPr>
              <a:t>, </a:t>
            </a:r>
            <a:r>
              <a:rPr kumimoji="0" lang="en-US" sz="1600" i="0" u="none" strike="noStrike" kern="1200" cap="none" spc="0" normalizeH="0" baseline="0" noProof="0">
                <a:ln>
                  <a:noFill/>
                </a:ln>
                <a:solidFill>
                  <a:schemeClr val="tx1"/>
                </a:solidFill>
                <a:effectLst/>
                <a:uLnTx/>
                <a:uFillTx/>
                <a:latin typeface="Arial"/>
                <a:ea typeface="+mn-ea"/>
                <a:cs typeface="+mn-cs"/>
              </a:rPr>
              <a:t>application lifecycle management</a:t>
            </a:r>
          </a:p>
        </p:txBody>
      </p:sp>
      <p:sp>
        <p:nvSpPr>
          <p:cNvPr id="20" name="Rectangle 8">
            <a:extLst>
              <a:ext uri="{FF2B5EF4-FFF2-40B4-BE49-F238E27FC236}">
                <a16:creationId xmlns:a16="http://schemas.microsoft.com/office/drawing/2014/main" id="{7BD850F2-A4BE-63E7-7C0F-ECC9D311E38C}"/>
              </a:ext>
            </a:extLst>
          </p:cNvPr>
          <p:cNvSpPr>
            <a:spLocks/>
          </p:cNvSpPr>
          <p:nvPr/>
        </p:nvSpPr>
        <p:spPr>
          <a:xfrm>
            <a:off x="416419" y="3266510"/>
            <a:ext cx="358603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mn-ea"/>
                <a:cs typeface="+mn-cs"/>
              </a:rPr>
              <a:t>Hardware/software coupled </a:t>
            </a:r>
            <a:br>
              <a:rPr kumimoji="0" lang="en-US" sz="1600" b="1" i="0" u="none" strike="noStrike" kern="1200" cap="none" spc="0" normalizeH="0" baseline="0" noProof="0">
                <a:ln>
                  <a:noFill/>
                </a:ln>
                <a:solidFill>
                  <a:schemeClr val="tx1"/>
                </a:solidFill>
                <a:effectLst/>
                <a:uLnTx/>
                <a:uFillTx/>
                <a:latin typeface="Arial"/>
                <a:ea typeface="+mn-ea"/>
                <a:cs typeface="+mn-cs"/>
              </a:rPr>
            </a:br>
            <a:r>
              <a:rPr kumimoji="0" lang="en-US" sz="1600" b="0" i="0" u="none" strike="noStrike" kern="1200" cap="none" spc="0" normalizeH="0" baseline="0" noProof="0">
                <a:ln>
                  <a:noFill/>
                </a:ln>
                <a:solidFill>
                  <a:schemeClr val="tx1"/>
                </a:solidFill>
                <a:effectLst/>
                <a:uLnTx/>
                <a:uFillTx/>
                <a:latin typeface="Arial"/>
                <a:ea typeface="+mn-ea"/>
                <a:cs typeface="+mn-cs"/>
              </a:rPr>
              <a:t>devices as “one box”</a:t>
            </a:r>
          </a:p>
        </p:txBody>
      </p:sp>
      <p:sp>
        <p:nvSpPr>
          <p:cNvPr id="21" name="Rectangle 19">
            <a:extLst>
              <a:ext uri="{FF2B5EF4-FFF2-40B4-BE49-F238E27FC236}">
                <a16:creationId xmlns:a16="http://schemas.microsoft.com/office/drawing/2014/main" id="{D4106E6E-37E2-649E-9DDA-3B02CBF559B6}"/>
              </a:ext>
            </a:extLst>
          </p:cNvPr>
          <p:cNvSpPr/>
          <p:nvPr/>
        </p:nvSpPr>
        <p:spPr>
          <a:xfrm>
            <a:off x="6310323" y="3266510"/>
            <a:ext cx="497813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rtl="0">
              <a:buClrTx/>
              <a:defRPr/>
            </a:pPr>
            <a:r>
              <a:rPr kumimoji="0" lang="en-US" sz="1600" b="1" i="0" u="none" strike="noStrike" kern="1200" cap="none" spc="0" normalizeH="0" baseline="0" noProof="0">
                <a:ln>
                  <a:noFill/>
                </a:ln>
                <a:solidFill>
                  <a:schemeClr val="tx1"/>
                </a:solidFill>
                <a:effectLst/>
                <a:uLnTx/>
                <a:uFillTx/>
                <a:latin typeface="Arial"/>
                <a:ea typeface="+mn-ea"/>
                <a:cs typeface="+mn-cs"/>
              </a:rPr>
              <a:t>Hardware/software decoupling </a:t>
            </a:r>
            <a:r>
              <a:rPr kumimoji="0" lang="en-US" sz="1600" b="0" i="0" u="none" strike="noStrike" kern="1200" cap="none" spc="0" normalizeH="0" baseline="0" noProof="0">
                <a:ln>
                  <a:noFill/>
                </a:ln>
                <a:solidFill>
                  <a:schemeClr val="tx1"/>
                </a:solidFill>
                <a:effectLst/>
                <a:uLnTx/>
                <a:uFillTx/>
                <a:latin typeface="Arial"/>
                <a:ea typeface="+mn-ea"/>
                <a:cs typeface="+mn-cs"/>
              </a:rPr>
              <a:t>leads to </a:t>
            </a:r>
            <a:r>
              <a:rPr kumimoji="0" lang="en-US" sz="1600" b="1" i="0" u="none" strike="noStrike" kern="1200" cap="none" spc="0" normalizeH="0" baseline="0" noProof="0">
                <a:ln>
                  <a:noFill/>
                </a:ln>
                <a:solidFill>
                  <a:schemeClr val="tx1"/>
                </a:solidFill>
                <a:effectLst/>
                <a:uLnTx/>
                <a:uFillTx/>
                <a:latin typeface="Arial"/>
                <a:ea typeface="+mn-ea"/>
                <a:cs typeface="+mn-cs"/>
              </a:rPr>
              <a:t>independence </a:t>
            </a:r>
            <a:r>
              <a:rPr lang="en-US" sz="1600" b="1" kern="1200">
                <a:solidFill>
                  <a:schemeClr val="tx1"/>
                </a:solidFill>
                <a:latin typeface="Arial"/>
              </a:rPr>
              <a:t>&amp; various (OT/IT) deployments</a:t>
            </a:r>
            <a:r>
              <a:rPr kumimoji="0" lang="en-US" sz="1600" b="1" i="0" u="none" strike="noStrike" kern="1200" cap="none" spc="0" normalizeH="0" baseline="0" noProof="0">
                <a:ln>
                  <a:noFill/>
                </a:ln>
                <a:solidFill>
                  <a:schemeClr val="tx1"/>
                </a:solidFill>
                <a:effectLst/>
                <a:uLnTx/>
                <a:uFillTx/>
                <a:latin typeface="Arial"/>
                <a:ea typeface="+mn-ea"/>
                <a:cs typeface="+mn-cs"/>
              </a:rPr>
              <a:t> </a:t>
            </a:r>
            <a:endParaRPr lang="en-US" sz="1600" b="0" i="0" u="none" strike="noStrike" kern="1200" cap="none" spc="0" normalizeH="0" baseline="0" noProof="0">
              <a:ln>
                <a:noFill/>
              </a:ln>
              <a:solidFill>
                <a:schemeClr val="tx1"/>
              </a:solidFill>
              <a:effectLst/>
              <a:uLnTx/>
              <a:uFillTx/>
              <a:latin typeface="Arial"/>
              <a:cs typeface="Arial"/>
            </a:endParaRPr>
          </a:p>
        </p:txBody>
      </p:sp>
      <p:sp>
        <p:nvSpPr>
          <p:cNvPr id="22" name="Freeform 6">
            <a:extLst>
              <a:ext uri="{FF2B5EF4-FFF2-40B4-BE49-F238E27FC236}">
                <a16:creationId xmlns:a16="http://schemas.microsoft.com/office/drawing/2014/main" id="{38592318-8183-2942-D074-D9AFECA141CB}"/>
              </a:ext>
            </a:extLst>
          </p:cNvPr>
          <p:cNvSpPr>
            <a:spLocks noChangeAspect="1" noEditPoints="1"/>
          </p:cNvSpPr>
          <p:nvPr/>
        </p:nvSpPr>
        <p:spPr bwMode="auto">
          <a:xfrm>
            <a:off x="4747554" y="3289978"/>
            <a:ext cx="449263" cy="445507"/>
          </a:xfrm>
          <a:custGeom>
            <a:avLst/>
            <a:gdLst>
              <a:gd name="T0" fmla="*/ 1319 w 3239"/>
              <a:gd name="T1" fmla="*/ 2759 h 3212"/>
              <a:gd name="T2" fmla="*/ 1181 w 3239"/>
              <a:gd name="T3" fmla="*/ 3212 h 3212"/>
              <a:gd name="T4" fmla="*/ 0 w 3239"/>
              <a:gd name="T5" fmla="*/ 2031 h 3212"/>
              <a:gd name="T6" fmla="*/ 591 w 3239"/>
              <a:gd name="T7" fmla="*/ 2409 h 3212"/>
              <a:gd name="T8" fmla="*/ 1181 w 3239"/>
              <a:gd name="T9" fmla="*/ 2031 h 3212"/>
              <a:gd name="T10" fmla="*/ 1319 w 3239"/>
              <a:gd name="T11" fmla="*/ 2484 h 3212"/>
              <a:gd name="T12" fmla="*/ 1559 w 3239"/>
              <a:gd name="T13" fmla="*/ 2622 h 3212"/>
              <a:gd name="T14" fmla="*/ 453 w 3239"/>
              <a:gd name="T15" fmla="*/ 1980 h 3212"/>
              <a:gd name="T16" fmla="*/ 590 w 3239"/>
              <a:gd name="T17" fmla="*/ 2220 h 3212"/>
              <a:gd name="T18" fmla="*/ 728 w 3239"/>
              <a:gd name="T19" fmla="*/ 1980 h 3212"/>
              <a:gd name="T20" fmla="*/ 1181 w 3239"/>
              <a:gd name="T21" fmla="*/ 1842 h 3212"/>
              <a:gd name="T22" fmla="*/ 1043 w 3239"/>
              <a:gd name="T23" fmla="*/ 1366 h 3212"/>
              <a:gd name="T24" fmla="*/ 803 w 3239"/>
              <a:gd name="T25" fmla="*/ 1228 h 3212"/>
              <a:gd name="T26" fmla="*/ 1043 w 3239"/>
              <a:gd name="T27" fmla="*/ 1091 h 3212"/>
              <a:gd name="T28" fmla="*/ 1181 w 3239"/>
              <a:gd name="T29" fmla="*/ 661 h 3212"/>
              <a:gd name="T30" fmla="*/ 0 w 3239"/>
              <a:gd name="T31" fmla="*/ 1842 h 3212"/>
              <a:gd name="T32" fmla="*/ 453 w 3239"/>
              <a:gd name="T33" fmla="*/ 1980 h 3212"/>
              <a:gd name="T34" fmla="*/ 2815 w 3239"/>
              <a:gd name="T35" fmla="*/ 1264 h 3212"/>
              <a:gd name="T36" fmla="*/ 3076 w 3239"/>
              <a:gd name="T37" fmla="*/ 664 h 3212"/>
              <a:gd name="T38" fmla="*/ 2873 w 3239"/>
              <a:gd name="T39" fmla="*/ 761 h 3212"/>
              <a:gd name="T40" fmla="*/ 2762 w 3239"/>
              <a:gd name="T41" fmla="*/ 457 h 3212"/>
              <a:gd name="T42" fmla="*/ 2981 w 3239"/>
              <a:gd name="T43" fmla="*/ 401 h 3212"/>
              <a:gd name="T44" fmla="*/ 1725 w 3239"/>
              <a:gd name="T45" fmla="*/ 404 h 3212"/>
              <a:gd name="T46" fmla="*/ 2553 w 3239"/>
              <a:gd name="T47" fmla="*/ 1359 h 3212"/>
              <a:gd name="T48" fmla="*/ 2608 w 3239"/>
              <a:gd name="T49" fmla="*/ 1578 h 3212"/>
              <a:gd name="T50" fmla="*/ 2913 w 3239"/>
              <a:gd name="T51" fmla="*/ 1467 h 3212"/>
              <a:gd name="T52" fmla="*/ 2098 w 3239"/>
              <a:gd name="T53" fmla="*/ 1893 h 3212"/>
              <a:gd name="T54" fmla="*/ 1961 w 3239"/>
              <a:gd name="T55" fmla="*/ 1653 h 3212"/>
              <a:gd name="T56" fmla="*/ 1823 w 3239"/>
              <a:gd name="T57" fmla="*/ 1893 h 3212"/>
              <a:gd name="T58" fmla="*/ 1370 w 3239"/>
              <a:gd name="T59" fmla="*/ 2031 h 3212"/>
              <a:gd name="T60" fmla="*/ 1748 w 3239"/>
              <a:gd name="T61" fmla="*/ 2622 h 3212"/>
              <a:gd name="T62" fmla="*/ 1370 w 3239"/>
              <a:gd name="T63" fmla="*/ 3212 h 3212"/>
              <a:gd name="T64" fmla="*/ 2551 w 3239"/>
              <a:gd name="T65" fmla="*/ 2031 h 3212"/>
              <a:gd name="T66" fmla="*/ 2098 w 3239"/>
              <a:gd name="T67" fmla="*/ 1893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39" h="3212">
                <a:moveTo>
                  <a:pt x="1406" y="2784"/>
                </a:moveTo>
                <a:cubicBezTo>
                  <a:pt x="1376" y="2784"/>
                  <a:pt x="1346" y="2771"/>
                  <a:pt x="1319" y="2759"/>
                </a:cubicBezTo>
                <a:cubicBezTo>
                  <a:pt x="1262" y="2735"/>
                  <a:pt x="1197" y="2690"/>
                  <a:pt x="1181" y="2761"/>
                </a:cubicBezTo>
                <a:lnTo>
                  <a:pt x="1181" y="3212"/>
                </a:lnTo>
                <a:lnTo>
                  <a:pt x="0" y="3212"/>
                </a:lnTo>
                <a:lnTo>
                  <a:pt x="0" y="2031"/>
                </a:lnTo>
                <a:lnTo>
                  <a:pt x="213" y="2031"/>
                </a:lnTo>
                <a:cubicBezTo>
                  <a:pt x="213" y="2240"/>
                  <a:pt x="382" y="2409"/>
                  <a:pt x="591" y="2409"/>
                </a:cubicBezTo>
                <a:cubicBezTo>
                  <a:pt x="799" y="2409"/>
                  <a:pt x="969" y="2240"/>
                  <a:pt x="969" y="2031"/>
                </a:cubicBezTo>
                <a:lnTo>
                  <a:pt x="1181" y="2031"/>
                </a:lnTo>
                <a:lnTo>
                  <a:pt x="1181" y="2482"/>
                </a:lnTo>
                <a:cubicBezTo>
                  <a:pt x="1197" y="2554"/>
                  <a:pt x="1262" y="2509"/>
                  <a:pt x="1319" y="2484"/>
                </a:cubicBezTo>
                <a:cubicBezTo>
                  <a:pt x="1346" y="2473"/>
                  <a:pt x="1376" y="2460"/>
                  <a:pt x="1406" y="2460"/>
                </a:cubicBezTo>
                <a:cubicBezTo>
                  <a:pt x="1491" y="2460"/>
                  <a:pt x="1559" y="2532"/>
                  <a:pt x="1559" y="2622"/>
                </a:cubicBezTo>
                <a:cubicBezTo>
                  <a:pt x="1559" y="2712"/>
                  <a:pt x="1491" y="2784"/>
                  <a:pt x="1406" y="2784"/>
                </a:cubicBezTo>
                <a:close/>
                <a:moveTo>
                  <a:pt x="453" y="1980"/>
                </a:moveTo>
                <a:cubicBezTo>
                  <a:pt x="442" y="2007"/>
                  <a:pt x="429" y="2037"/>
                  <a:pt x="429" y="2067"/>
                </a:cubicBezTo>
                <a:cubicBezTo>
                  <a:pt x="429" y="2152"/>
                  <a:pt x="501" y="2220"/>
                  <a:pt x="590" y="2220"/>
                </a:cubicBezTo>
                <a:cubicBezTo>
                  <a:pt x="680" y="2220"/>
                  <a:pt x="753" y="2152"/>
                  <a:pt x="753" y="2067"/>
                </a:cubicBezTo>
                <a:cubicBezTo>
                  <a:pt x="753" y="2037"/>
                  <a:pt x="740" y="2007"/>
                  <a:pt x="728" y="1980"/>
                </a:cubicBezTo>
                <a:cubicBezTo>
                  <a:pt x="704" y="1923"/>
                  <a:pt x="659" y="1858"/>
                  <a:pt x="730" y="1842"/>
                </a:cubicBezTo>
                <a:lnTo>
                  <a:pt x="1181" y="1842"/>
                </a:lnTo>
                <a:lnTo>
                  <a:pt x="1181" y="1368"/>
                </a:lnTo>
                <a:cubicBezTo>
                  <a:pt x="1166" y="1296"/>
                  <a:pt x="1100" y="1341"/>
                  <a:pt x="1043" y="1366"/>
                </a:cubicBezTo>
                <a:cubicBezTo>
                  <a:pt x="1016" y="1377"/>
                  <a:pt x="987" y="1390"/>
                  <a:pt x="957" y="1390"/>
                </a:cubicBezTo>
                <a:cubicBezTo>
                  <a:pt x="872" y="1390"/>
                  <a:pt x="803" y="1318"/>
                  <a:pt x="803" y="1228"/>
                </a:cubicBezTo>
                <a:cubicBezTo>
                  <a:pt x="803" y="1138"/>
                  <a:pt x="872" y="1066"/>
                  <a:pt x="957" y="1066"/>
                </a:cubicBezTo>
                <a:cubicBezTo>
                  <a:pt x="987" y="1066"/>
                  <a:pt x="1016" y="1079"/>
                  <a:pt x="1043" y="1091"/>
                </a:cubicBezTo>
                <a:cubicBezTo>
                  <a:pt x="1100" y="1115"/>
                  <a:pt x="1166" y="1160"/>
                  <a:pt x="1181" y="1089"/>
                </a:cubicBezTo>
                <a:lnTo>
                  <a:pt x="1181" y="661"/>
                </a:lnTo>
                <a:lnTo>
                  <a:pt x="0" y="661"/>
                </a:lnTo>
                <a:lnTo>
                  <a:pt x="0" y="1842"/>
                </a:lnTo>
                <a:lnTo>
                  <a:pt x="451" y="1842"/>
                </a:lnTo>
                <a:cubicBezTo>
                  <a:pt x="522" y="1858"/>
                  <a:pt x="477" y="1923"/>
                  <a:pt x="453" y="1980"/>
                </a:cubicBezTo>
                <a:close/>
                <a:moveTo>
                  <a:pt x="2860" y="1394"/>
                </a:moveTo>
                <a:cubicBezTo>
                  <a:pt x="2818" y="1349"/>
                  <a:pt x="2753" y="1303"/>
                  <a:pt x="2815" y="1264"/>
                </a:cubicBezTo>
                <a:lnTo>
                  <a:pt x="3239" y="1110"/>
                </a:lnTo>
                <a:lnTo>
                  <a:pt x="3076" y="664"/>
                </a:lnTo>
                <a:cubicBezTo>
                  <a:pt x="3037" y="602"/>
                  <a:pt x="2991" y="667"/>
                  <a:pt x="2946" y="709"/>
                </a:cubicBezTo>
                <a:cubicBezTo>
                  <a:pt x="2924" y="729"/>
                  <a:pt x="2901" y="751"/>
                  <a:pt x="2873" y="761"/>
                </a:cubicBezTo>
                <a:cubicBezTo>
                  <a:pt x="2793" y="791"/>
                  <a:pt x="2704" y="746"/>
                  <a:pt x="2673" y="661"/>
                </a:cubicBezTo>
                <a:cubicBezTo>
                  <a:pt x="2643" y="577"/>
                  <a:pt x="2682" y="486"/>
                  <a:pt x="2762" y="457"/>
                </a:cubicBezTo>
                <a:cubicBezTo>
                  <a:pt x="2790" y="447"/>
                  <a:pt x="2822" y="449"/>
                  <a:pt x="2852" y="451"/>
                </a:cubicBezTo>
                <a:cubicBezTo>
                  <a:pt x="2914" y="454"/>
                  <a:pt x="2991" y="474"/>
                  <a:pt x="2981" y="401"/>
                </a:cubicBezTo>
                <a:lnTo>
                  <a:pt x="2835" y="0"/>
                </a:lnTo>
                <a:lnTo>
                  <a:pt x="1725" y="404"/>
                </a:lnTo>
                <a:lnTo>
                  <a:pt x="2129" y="1514"/>
                </a:lnTo>
                <a:lnTo>
                  <a:pt x="2553" y="1359"/>
                </a:lnTo>
                <a:cubicBezTo>
                  <a:pt x="2625" y="1350"/>
                  <a:pt x="2605" y="1426"/>
                  <a:pt x="2602" y="1488"/>
                </a:cubicBezTo>
                <a:cubicBezTo>
                  <a:pt x="2600" y="1518"/>
                  <a:pt x="2598" y="1550"/>
                  <a:pt x="2608" y="1578"/>
                </a:cubicBezTo>
                <a:cubicBezTo>
                  <a:pt x="2637" y="1658"/>
                  <a:pt x="2728" y="1697"/>
                  <a:pt x="2813" y="1667"/>
                </a:cubicBezTo>
                <a:cubicBezTo>
                  <a:pt x="2897" y="1636"/>
                  <a:pt x="2942" y="1547"/>
                  <a:pt x="2913" y="1467"/>
                </a:cubicBezTo>
                <a:cubicBezTo>
                  <a:pt x="2902" y="1439"/>
                  <a:pt x="2880" y="1416"/>
                  <a:pt x="2860" y="1394"/>
                </a:cubicBezTo>
                <a:close/>
                <a:moveTo>
                  <a:pt x="2098" y="1893"/>
                </a:moveTo>
                <a:cubicBezTo>
                  <a:pt x="2110" y="1866"/>
                  <a:pt x="2123" y="1837"/>
                  <a:pt x="2123" y="1807"/>
                </a:cubicBezTo>
                <a:cubicBezTo>
                  <a:pt x="2123" y="1722"/>
                  <a:pt x="2051" y="1654"/>
                  <a:pt x="1961" y="1653"/>
                </a:cubicBezTo>
                <a:cubicBezTo>
                  <a:pt x="1871" y="1654"/>
                  <a:pt x="1799" y="1722"/>
                  <a:pt x="1799" y="1807"/>
                </a:cubicBezTo>
                <a:cubicBezTo>
                  <a:pt x="1799" y="1837"/>
                  <a:pt x="1812" y="1866"/>
                  <a:pt x="1823" y="1893"/>
                </a:cubicBezTo>
                <a:cubicBezTo>
                  <a:pt x="1847" y="1950"/>
                  <a:pt x="1892" y="2016"/>
                  <a:pt x="1821" y="2031"/>
                </a:cubicBezTo>
                <a:lnTo>
                  <a:pt x="1370" y="2031"/>
                </a:lnTo>
                <a:lnTo>
                  <a:pt x="1370" y="2244"/>
                </a:lnTo>
                <a:cubicBezTo>
                  <a:pt x="1579" y="2244"/>
                  <a:pt x="1748" y="2413"/>
                  <a:pt x="1748" y="2622"/>
                </a:cubicBezTo>
                <a:cubicBezTo>
                  <a:pt x="1748" y="2831"/>
                  <a:pt x="1579" y="3000"/>
                  <a:pt x="1370" y="3000"/>
                </a:cubicBezTo>
                <a:lnTo>
                  <a:pt x="1370" y="3212"/>
                </a:lnTo>
                <a:lnTo>
                  <a:pt x="2551" y="3212"/>
                </a:lnTo>
                <a:lnTo>
                  <a:pt x="2551" y="2031"/>
                </a:lnTo>
                <a:lnTo>
                  <a:pt x="2100" y="2031"/>
                </a:lnTo>
                <a:cubicBezTo>
                  <a:pt x="2029" y="2016"/>
                  <a:pt x="2074" y="1950"/>
                  <a:pt x="2098" y="1893"/>
                </a:cubicBez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ectangle 9">
            <a:extLst>
              <a:ext uri="{FF2B5EF4-FFF2-40B4-BE49-F238E27FC236}">
                <a16:creationId xmlns:a16="http://schemas.microsoft.com/office/drawing/2014/main" id="{E1B3BDF0-DA21-78F0-52B9-29B74A0BABDF}"/>
              </a:ext>
            </a:extLst>
          </p:cNvPr>
          <p:cNvSpPr>
            <a:spLocks/>
          </p:cNvSpPr>
          <p:nvPr/>
        </p:nvSpPr>
        <p:spPr>
          <a:xfrm>
            <a:off x="416419" y="4122873"/>
            <a:ext cx="3467646"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a:ea typeface="+mn-ea"/>
                <a:cs typeface="+mn-cs"/>
              </a:rPr>
              <a:t>Limited </a:t>
            </a:r>
            <a:r>
              <a:rPr kumimoji="0" lang="en-US" sz="1600" b="1" i="0" u="none" strike="noStrike" kern="1200" cap="none" spc="0" normalizeH="0" baseline="0" noProof="0">
                <a:ln>
                  <a:noFill/>
                </a:ln>
                <a:solidFill>
                  <a:schemeClr val="tx1"/>
                </a:solidFill>
                <a:effectLst/>
                <a:uLnTx/>
                <a:uFillTx/>
                <a:latin typeface="Arial"/>
                <a:ea typeface="+mn-ea"/>
                <a:cs typeface="+mn-cs"/>
              </a:rPr>
              <a:t>interoperability</a:t>
            </a:r>
            <a:r>
              <a:rPr kumimoji="0" lang="en-US" sz="1600" b="0" i="0" u="none" strike="noStrike" kern="1200" cap="none" spc="0" normalizeH="0" baseline="0" noProof="0">
                <a:ln>
                  <a:noFill/>
                </a:ln>
                <a:solidFill>
                  <a:schemeClr val="tx1"/>
                </a:solidFill>
                <a:effectLst/>
                <a:uLnTx/>
                <a:uFillTx/>
                <a:latin typeface="Arial"/>
                <a:ea typeface="+mn-ea"/>
                <a:cs typeface="+mn-cs"/>
              </a:rPr>
              <a:t> &amp; dominance of domain-specific comm. </a:t>
            </a:r>
            <a:r>
              <a:rPr kumimoji="0" lang="en-US" sz="1600" b="1" i="0" u="none" strike="noStrike" kern="1200" cap="none" spc="0" normalizeH="0" baseline="0" noProof="0">
                <a:ln>
                  <a:noFill/>
                </a:ln>
                <a:solidFill>
                  <a:schemeClr val="tx1"/>
                </a:solidFill>
                <a:effectLst/>
                <a:uLnTx/>
                <a:uFillTx/>
                <a:latin typeface="Arial"/>
                <a:ea typeface="+mn-ea"/>
                <a:cs typeface="+mn-cs"/>
              </a:rPr>
              <a:t>protocols</a:t>
            </a:r>
          </a:p>
        </p:txBody>
      </p:sp>
      <p:sp>
        <p:nvSpPr>
          <p:cNvPr id="24" name="Rectangle 20">
            <a:extLst>
              <a:ext uri="{FF2B5EF4-FFF2-40B4-BE49-F238E27FC236}">
                <a16:creationId xmlns:a16="http://schemas.microsoft.com/office/drawing/2014/main" id="{0B6A473F-34E1-13F8-B82C-1CB0B990F97D}"/>
              </a:ext>
            </a:extLst>
          </p:cNvPr>
          <p:cNvSpPr/>
          <p:nvPr/>
        </p:nvSpPr>
        <p:spPr>
          <a:xfrm>
            <a:off x="6310323" y="4122873"/>
            <a:ext cx="4374818"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rtl="0">
              <a:buClrTx/>
              <a:defRPr/>
            </a:pPr>
            <a:r>
              <a:rPr kumimoji="0" lang="en-US" sz="1600" b="0" i="0" u="none" strike="noStrike" kern="1200" cap="none" spc="0" normalizeH="0" baseline="0" noProof="0">
                <a:ln>
                  <a:noFill/>
                </a:ln>
                <a:solidFill>
                  <a:schemeClr val="tx1"/>
                </a:solidFill>
                <a:effectLst/>
                <a:uLnTx/>
                <a:uFillTx/>
                <a:latin typeface="Arial"/>
                <a:ea typeface="+mn-ea"/>
                <a:cs typeface="+mn-cs"/>
              </a:rPr>
              <a:t>Designed for </a:t>
            </a:r>
            <a:r>
              <a:rPr lang="en-US" sz="1600" b="1" kern="1200">
                <a:solidFill>
                  <a:schemeClr val="tx1"/>
                </a:solidFill>
                <a:latin typeface="Arial"/>
              </a:rPr>
              <a:t>easier integration </a:t>
            </a:r>
            <a:r>
              <a:rPr lang="en-US" sz="1600" kern="1200">
                <a:solidFill>
                  <a:schemeClr val="tx1"/>
                </a:solidFill>
                <a:latin typeface="Arial"/>
              </a:rPr>
              <a:t>with digital technologies (e.g., Digital Twins, AI co-pilots, …)</a:t>
            </a:r>
            <a:endParaRPr kumimoji="0" lang="en-US" sz="1600" i="0" u="none" strike="noStrike" kern="1200" cap="none" spc="0" normalizeH="0" baseline="0" noProof="0">
              <a:ln>
                <a:noFill/>
              </a:ln>
              <a:solidFill>
                <a:schemeClr val="tx1"/>
              </a:solidFill>
              <a:effectLst/>
              <a:uLnTx/>
              <a:uFillTx/>
              <a:latin typeface="Arial"/>
              <a:ea typeface="+mn-ea"/>
              <a:cs typeface="+mn-cs"/>
            </a:endParaRPr>
          </a:p>
        </p:txBody>
      </p:sp>
      <p:sp>
        <p:nvSpPr>
          <p:cNvPr id="25" name="Freihandform: Form 74">
            <a:extLst>
              <a:ext uri="{FF2B5EF4-FFF2-40B4-BE49-F238E27FC236}">
                <a16:creationId xmlns:a16="http://schemas.microsoft.com/office/drawing/2014/main" id="{6BD53CCD-4A67-9247-11F7-69AD45A6B75F}"/>
              </a:ext>
            </a:extLst>
          </p:cNvPr>
          <p:cNvSpPr>
            <a:spLocks/>
          </p:cNvSpPr>
          <p:nvPr/>
        </p:nvSpPr>
        <p:spPr bwMode="gray">
          <a:xfrm>
            <a:off x="4461370" y="4149938"/>
            <a:ext cx="578919" cy="438313"/>
          </a:xfrm>
          <a:custGeom>
            <a:avLst/>
            <a:gdLst>
              <a:gd name="connsiteX0" fmla="*/ 224748 w 648997"/>
              <a:gd name="connsiteY0" fmla="*/ 325810 h 491371"/>
              <a:gd name="connsiteX1" fmla="*/ 253408 w 648997"/>
              <a:gd name="connsiteY1" fmla="*/ 309286 h 491371"/>
              <a:gd name="connsiteX2" fmla="*/ 232839 w 648997"/>
              <a:gd name="connsiteY2" fmla="*/ 273634 h 491371"/>
              <a:gd name="connsiteX3" fmla="*/ 204111 w 648997"/>
              <a:gd name="connsiteY3" fmla="*/ 290226 h 491371"/>
              <a:gd name="connsiteX4" fmla="*/ 196638 w 648997"/>
              <a:gd name="connsiteY4" fmla="*/ 282752 h 491371"/>
              <a:gd name="connsiteX5" fmla="*/ 213230 w 648997"/>
              <a:gd name="connsiteY5" fmla="*/ 254025 h 491371"/>
              <a:gd name="connsiteX6" fmla="*/ 177577 w 648997"/>
              <a:gd name="connsiteY6" fmla="*/ 233456 h 491371"/>
              <a:gd name="connsiteX7" fmla="*/ 161054 w 648997"/>
              <a:gd name="connsiteY7" fmla="*/ 262115 h 491371"/>
              <a:gd name="connsiteX8" fmla="*/ 150838 w 648997"/>
              <a:gd name="connsiteY8" fmla="*/ 259373 h 491371"/>
              <a:gd name="connsiteX9" fmla="*/ 150838 w 648997"/>
              <a:gd name="connsiteY9" fmla="*/ 226325 h 491371"/>
              <a:gd name="connsiteX10" fmla="*/ 109700 w 648997"/>
              <a:gd name="connsiteY10" fmla="*/ 226325 h 491371"/>
              <a:gd name="connsiteX11" fmla="*/ 109700 w 648997"/>
              <a:gd name="connsiteY11" fmla="*/ 259373 h 491371"/>
              <a:gd name="connsiteX12" fmla="*/ 99484 w 648997"/>
              <a:gd name="connsiteY12" fmla="*/ 262115 h 491371"/>
              <a:gd name="connsiteX13" fmla="*/ 82961 w 648997"/>
              <a:gd name="connsiteY13" fmla="*/ 233456 h 491371"/>
              <a:gd name="connsiteX14" fmla="*/ 47308 w 648997"/>
              <a:gd name="connsiteY14" fmla="*/ 254025 h 491371"/>
              <a:gd name="connsiteX15" fmla="*/ 63900 w 648997"/>
              <a:gd name="connsiteY15" fmla="*/ 282752 h 491371"/>
              <a:gd name="connsiteX16" fmla="*/ 56427 w 648997"/>
              <a:gd name="connsiteY16" fmla="*/ 290226 h 491371"/>
              <a:gd name="connsiteX17" fmla="*/ 27699 w 648997"/>
              <a:gd name="connsiteY17" fmla="*/ 273634 h 491371"/>
              <a:gd name="connsiteX18" fmla="*/ 7131 w 648997"/>
              <a:gd name="connsiteY18" fmla="*/ 309286 h 491371"/>
              <a:gd name="connsiteX19" fmla="*/ 35790 w 648997"/>
              <a:gd name="connsiteY19" fmla="*/ 325810 h 491371"/>
              <a:gd name="connsiteX20" fmla="*/ 33047 w 648997"/>
              <a:gd name="connsiteY20" fmla="*/ 336026 h 491371"/>
              <a:gd name="connsiteX21" fmla="*/ 0 w 648997"/>
              <a:gd name="connsiteY21" fmla="*/ 336026 h 491371"/>
              <a:gd name="connsiteX22" fmla="*/ 0 w 648997"/>
              <a:gd name="connsiteY22" fmla="*/ 377163 h 491371"/>
              <a:gd name="connsiteX23" fmla="*/ 33047 w 648997"/>
              <a:gd name="connsiteY23" fmla="*/ 377163 h 491371"/>
              <a:gd name="connsiteX24" fmla="*/ 35790 w 648997"/>
              <a:gd name="connsiteY24" fmla="*/ 387379 h 491371"/>
              <a:gd name="connsiteX25" fmla="*/ 7131 w 648997"/>
              <a:gd name="connsiteY25" fmla="*/ 403903 h 491371"/>
              <a:gd name="connsiteX26" fmla="*/ 27699 w 648997"/>
              <a:gd name="connsiteY26" fmla="*/ 439555 h 491371"/>
              <a:gd name="connsiteX27" fmla="*/ 56427 w 648997"/>
              <a:gd name="connsiteY27" fmla="*/ 422963 h 491371"/>
              <a:gd name="connsiteX28" fmla="*/ 63900 w 648997"/>
              <a:gd name="connsiteY28" fmla="*/ 430436 h 491371"/>
              <a:gd name="connsiteX29" fmla="*/ 47308 w 648997"/>
              <a:gd name="connsiteY29" fmla="*/ 459164 h 491371"/>
              <a:gd name="connsiteX30" fmla="*/ 82961 w 648997"/>
              <a:gd name="connsiteY30" fmla="*/ 479733 h 491371"/>
              <a:gd name="connsiteX31" fmla="*/ 99484 w 648997"/>
              <a:gd name="connsiteY31" fmla="*/ 451074 h 491371"/>
              <a:gd name="connsiteX32" fmla="*/ 109700 w 648997"/>
              <a:gd name="connsiteY32" fmla="*/ 453816 h 491371"/>
              <a:gd name="connsiteX33" fmla="*/ 109700 w 648997"/>
              <a:gd name="connsiteY33" fmla="*/ 486864 h 491371"/>
              <a:gd name="connsiteX34" fmla="*/ 150838 w 648997"/>
              <a:gd name="connsiteY34" fmla="*/ 486864 h 491371"/>
              <a:gd name="connsiteX35" fmla="*/ 150838 w 648997"/>
              <a:gd name="connsiteY35" fmla="*/ 453816 h 491371"/>
              <a:gd name="connsiteX36" fmla="*/ 161054 w 648997"/>
              <a:gd name="connsiteY36" fmla="*/ 451074 h 491371"/>
              <a:gd name="connsiteX37" fmla="*/ 177577 w 648997"/>
              <a:gd name="connsiteY37" fmla="*/ 479733 h 491371"/>
              <a:gd name="connsiteX38" fmla="*/ 213230 w 648997"/>
              <a:gd name="connsiteY38" fmla="*/ 459164 h 491371"/>
              <a:gd name="connsiteX39" fmla="*/ 196638 w 648997"/>
              <a:gd name="connsiteY39" fmla="*/ 430436 h 491371"/>
              <a:gd name="connsiteX40" fmla="*/ 204111 w 648997"/>
              <a:gd name="connsiteY40" fmla="*/ 422963 h 491371"/>
              <a:gd name="connsiteX41" fmla="*/ 232839 w 648997"/>
              <a:gd name="connsiteY41" fmla="*/ 439555 h 491371"/>
              <a:gd name="connsiteX42" fmla="*/ 253408 w 648997"/>
              <a:gd name="connsiteY42" fmla="*/ 403903 h 491371"/>
              <a:gd name="connsiteX43" fmla="*/ 224748 w 648997"/>
              <a:gd name="connsiteY43" fmla="*/ 387379 h 491371"/>
              <a:gd name="connsiteX44" fmla="*/ 227491 w 648997"/>
              <a:gd name="connsiteY44" fmla="*/ 377163 h 491371"/>
              <a:gd name="connsiteX45" fmla="*/ 260538 w 648997"/>
              <a:gd name="connsiteY45" fmla="*/ 377163 h 491371"/>
              <a:gd name="connsiteX46" fmla="*/ 260538 w 648997"/>
              <a:gd name="connsiteY46" fmla="*/ 336026 h 491371"/>
              <a:gd name="connsiteX47" fmla="*/ 227491 w 648997"/>
              <a:gd name="connsiteY47" fmla="*/ 336026 h 491371"/>
              <a:gd name="connsiteX48" fmla="*/ 224748 w 648997"/>
              <a:gd name="connsiteY48" fmla="*/ 325810 h 491371"/>
              <a:gd name="connsiteX49" fmla="*/ 202260 w 648997"/>
              <a:gd name="connsiteY49" fmla="*/ 356594 h 491371"/>
              <a:gd name="connsiteX50" fmla="*/ 130269 w 648997"/>
              <a:gd name="connsiteY50" fmla="*/ 428585 h 491371"/>
              <a:gd name="connsiteX51" fmla="*/ 58278 w 648997"/>
              <a:gd name="connsiteY51" fmla="*/ 356594 h 491371"/>
              <a:gd name="connsiteX52" fmla="*/ 130269 w 648997"/>
              <a:gd name="connsiteY52" fmla="*/ 284604 h 491371"/>
              <a:gd name="connsiteX53" fmla="*/ 202260 w 648997"/>
              <a:gd name="connsiteY53" fmla="*/ 356594 h 491371"/>
              <a:gd name="connsiteX54" fmla="*/ 164550 w 648997"/>
              <a:gd name="connsiteY54" fmla="*/ 356594 h 491371"/>
              <a:gd name="connsiteX55" fmla="*/ 130269 w 648997"/>
              <a:gd name="connsiteY55" fmla="*/ 390876 h 491371"/>
              <a:gd name="connsiteX56" fmla="*/ 95988 w 648997"/>
              <a:gd name="connsiteY56" fmla="*/ 356594 h 491371"/>
              <a:gd name="connsiteX57" fmla="*/ 130269 w 648997"/>
              <a:gd name="connsiteY57" fmla="*/ 322313 h 491371"/>
              <a:gd name="connsiteX58" fmla="*/ 164550 w 648997"/>
              <a:gd name="connsiteY58" fmla="*/ 356594 h 491371"/>
              <a:gd name="connsiteX59" fmla="*/ 307778 w 648997"/>
              <a:gd name="connsiteY59" fmla="*/ 105655 h 491371"/>
              <a:gd name="connsiteX60" fmla="*/ 286866 w 648997"/>
              <a:gd name="connsiteY60" fmla="*/ 93588 h 491371"/>
              <a:gd name="connsiteX61" fmla="*/ 286866 w 648997"/>
              <a:gd name="connsiteY61" fmla="*/ 71099 h 491371"/>
              <a:gd name="connsiteX62" fmla="*/ 307778 w 648997"/>
              <a:gd name="connsiteY62" fmla="*/ 59032 h 491371"/>
              <a:gd name="connsiteX63" fmla="*/ 287209 w 648997"/>
              <a:gd name="connsiteY63" fmla="*/ 23380 h 491371"/>
              <a:gd name="connsiteX64" fmla="*/ 266297 w 648997"/>
              <a:gd name="connsiteY64" fmla="*/ 35447 h 491371"/>
              <a:gd name="connsiteX65" fmla="*/ 246826 w 648997"/>
              <a:gd name="connsiteY65" fmla="*/ 24203 h 491371"/>
              <a:gd name="connsiteX66" fmla="*/ 246826 w 648997"/>
              <a:gd name="connsiteY66" fmla="*/ 0 h 491371"/>
              <a:gd name="connsiteX67" fmla="*/ 205688 w 648997"/>
              <a:gd name="connsiteY67" fmla="*/ 0 h 491371"/>
              <a:gd name="connsiteX68" fmla="*/ 205688 w 648997"/>
              <a:gd name="connsiteY68" fmla="*/ 24203 h 491371"/>
              <a:gd name="connsiteX69" fmla="*/ 186216 w 648997"/>
              <a:gd name="connsiteY69" fmla="*/ 35447 h 491371"/>
              <a:gd name="connsiteX70" fmla="*/ 165305 w 648997"/>
              <a:gd name="connsiteY70" fmla="*/ 23380 h 491371"/>
              <a:gd name="connsiteX71" fmla="*/ 144736 w 648997"/>
              <a:gd name="connsiteY71" fmla="*/ 59032 h 491371"/>
              <a:gd name="connsiteX72" fmla="*/ 165647 w 648997"/>
              <a:gd name="connsiteY72" fmla="*/ 71099 h 491371"/>
              <a:gd name="connsiteX73" fmla="*/ 165647 w 648997"/>
              <a:gd name="connsiteY73" fmla="*/ 93588 h 491371"/>
              <a:gd name="connsiteX74" fmla="*/ 144736 w 648997"/>
              <a:gd name="connsiteY74" fmla="*/ 105655 h 491371"/>
              <a:gd name="connsiteX75" fmla="*/ 165305 w 648997"/>
              <a:gd name="connsiteY75" fmla="*/ 141308 h 491371"/>
              <a:gd name="connsiteX76" fmla="*/ 186216 w 648997"/>
              <a:gd name="connsiteY76" fmla="*/ 129241 h 491371"/>
              <a:gd name="connsiteX77" fmla="*/ 205688 w 648997"/>
              <a:gd name="connsiteY77" fmla="*/ 140485 h 491371"/>
              <a:gd name="connsiteX78" fmla="*/ 205688 w 648997"/>
              <a:gd name="connsiteY78" fmla="*/ 164688 h 491371"/>
              <a:gd name="connsiteX79" fmla="*/ 246826 w 648997"/>
              <a:gd name="connsiteY79" fmla="*/ 164688 h 491371"/>
              <a:gd name="connsiteX80" fmla="*/ 246826 w 648997"/>
              <a:gd name="connsiteY80" fmla="*/ 140485 h 491371"/>
              <a:gd name="connsiteX81" fmla="*/ 266297 w 648997"/>
              <a:gd name="connsiteY81" fmla="*/ 129241 h 491371"/>
              <a:gd name="connsiteX82" fmla="*/ 287209 w 648997"/>
              <a:gd name="connsiteY82" fmla="*/ 141308 h 491371"/>
              <a:gd name="connsiteX83" fmla="*/ 307778 w 648997"/>
              <a:gd name="connsiteY83" fmla="*/ 105655 h 491371"/>
              <a:gd name="connsiteX84" fmla="*/ 226257 w 648997"/>
              <a:gd name="connsiteY84" fmla="*/ 116625 h 491371"/>
              <a:gd name="connsiteX85" fmla="*/ 191975 w 648997"/>
              <a:gd name="connsiteY85" fmla="*/ 82344 h 491371"/>
              <a:gd name="connsiteX86" fmla="*/ 226257 w 648997"/>
              <a:gd name="connsiteY86" fmla="*/ 48062 h 491371"/>
              <a:gd name="connsiteX87" fmla="*/ 260538 w 648997"/>
              <a:gd name="connsiteY87" fmla="*/ 82344 h 491371"/>
              <a:gd name="connsiteX88" fmla="*/ 226257 w 648997"/>
              <a:gd name="connsiteY88" fmla="*/ 116625 h 491371"/>
              <a:gd name="connsiteX89" fmla="*/ 637633 w 648997"/>
              <a:gd name="connsiteY89" fmla="*/ 425157 h 491371"/>
              <a:gd name="connsiteX90" fmla="*/ 466226 w 648997"/>
              <a:gd name="connsiteY90" fmla="*/ 253750 h 491371"/>
              <a:gd name="connsiteX91" fmla="*/ 466226 w 648997"/>
              <a:gd name="connsiteY91" fmla="*/ 192250 h 491371"/>
              <a:gd name="connsiteX92" fmla="*/ 427420 w 648997"/>
              <a:gd name="connsiteY92" fmla="*/ 153443 h 491371"/>
              <a:gd name="connsiteX93" fmla="*/ 378946 w 648997"/>
              <a:gd name="connsiteY93" fmla="*/ 153443 h 491371"/>
              <a:gd name="connsiteX94" fmla="*/ 365576 w 648997"/>
              <a:gd name="connsiteY94" fmla="*/ 166813 h 491371"/>
              <a:gd name="connsiteX95" fmla="*/ 418232 w 648997"/>
              <a:gd name="connsiteY95" fmla="*/ 219469 h 491371"/>
              <a:gd name="connsiteX96" fmla="*/ 377095 w 648997"/>
              <a:gd name="connsiteY96" fmla="*/ 260607 h 491371"/>
              <a:gd name="connsiteX97" fmla="*/ 324439 w 648997"/>
              <a:gd name="connsiteY97" fmla="*/ 207951 h 491371"/>
              <a:gd name="connsiteX98" fmla="*/ 311069 w 648997"/>
              <a:gd name="connsiteY98" fmla="*/ 221320 h 491371"/>
              <a:gd name="connsiteX99" fmla="*/ 311069 w 648997"/>
              <a:gd name="connsiteY99" fmla="*/ 269794 h 491371"/>
              <a:gd name="connsiteX100" fmla="*/ 349875 w 648997"/>
              <a:gd name="connsiteY100" fmla="*/ 308601 h 491371"/>
              <a:gd name="connsiteX101" fmla="*/ 411376 w 648997"/>
              <a:gd name="connsiteY101" fmla="*/ 308601 h 491371"/>
              <a:gd name="connsiteX102" fmla="*/ 582783 w 648997"/>
              <a:gd name="connsiteY102" fmla="*/ 480007 h 491371"/>
              <a:gd name="connsiteX103" fmla="*/ 637633 w 648997"/>
              <a:gd name="connsiteY103" fmla="*/ 480007 h 491371"/>
              <a:gd name="connsiteX104" fmla="*/ 637633 w 648997"/>
              <a:gd name="connsiteY104" fmla="*/ 425157 h 491371"/>
              <a:gd name="connsiteX105" fmla="*/ 610208 w 648997"/>
              <a:gd name="connsiteY105" fmla="*/ 466295 h 491371"/>
              <a:gd name="connsiteX106" fmla="*/ 596495 w 648997"/>
              <a:gd name="connsiteY106" fmla="*/ 452582 h 491371"/>
              <a:gd name="connsiteX107" fmla="*/ 610208 w 648997"/>
              <a:gd name="connsiteY107" fmla="*/ 438870 h 491371"/>
              <a:gd name="connsiteX108" fmla="*/ 623920 w 648997"/>
              <a:gd name="connsiteY108" fmla="*/ 452582 h 491371"/>
              <a:gd name="connsiteX109" fmla="*/ 610208 w 648997"/>
              <a:gd name="connsiteY109" fmla="*/ 466295 h 49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648997" h="491371">
                <a:moveTo>
                  <a:pt x="224748" y="325810"/>
                </a:moveTo>
                <a:lnTo>
                  <a:pt x="253408" y="309286"/>
                </a:lnTo>
                <a:lnTo>
                  <a:pt x="232839" y="273634"/>
                </a:lnTo>
                <a:lnTo>
                  <a:pt x="204111" y="290226"/>
                </a:lnTo>
                <a:cubicBezTo>
                  <a:pt x="201780" y="287620"/>
                  <a:pt x="199312" y="285152"/>
                  <a:pt x="196638" y="282752"/>
                </a:cubicBezTo>
                <a:lnTo>
                  <a:pt x="213230" y="254025"/>
                </a:lnTo>
                <a:lnTo>
                  <a:pt x="177577" y="233456"/>
                </a:lnTo>
                <a:lnTo>
                  <a:pt x="161054" y="262115"/>
                </a:lnTo>
                <a:cubicBezTo>
                  <a:pt x="157694" y="261018"/>
                  <a:pt x="154266" y="260058"/>
                  <a:pt x="150838" y="259373"/>
                </a:cubicBezTo>
                <a:lnTo>
                  <a:pt x="150838" y="226325"/>
                </a:lnTo>
                <a:lnTo>
                  <a:pt x="109700" y="226325"/>
                </a:lnTo>
                <a:lnTo>
                  <a:pt x="109700" y="259373"/>
                </a:lnTo>
                <a:cubicBezTo>
                  <a:pt x="106272" y="260127"/>
                  <a:pt x="102844" y="261018"/>
                  <a:pt x="99484" y="262115"/>
                </a:cubicBezTo>
                <a:lnTo>
                  <a:pt x="82961" y="233456"/>
                </a:lnTo>
                <a:lnTo>
                  <a:pt x="47308" y="254025"/>
                </a:lnTo>
                <a:lnTo>
                  <a:pt x="63900" y="282752"/>
                </a:lnTo>
                <a:cubicBezTo>
                  <a:pt x="61295" y="285084"/>
                  <a:pt x="58827" y="287552"/>
                  <a:pt x="56427" y="290226"/>
                </a:cubicBezTo>
                <a:lnTo>
                  <a:pt x="27699" y="273634"/>
                </a:lnTo>
                <a:lnTo>
                  <a:pt x="7131" y="309286"/>
                </a:lnTo>
                <a:lnTo>
                  <a:pt x="35790" y="325810"/>
                </a:lnTo>
                <a:cubicBezTo>
                  <a:pt x="34693" y="329169"/>
                  <a:pt x="33733" y="332598"/>
                  <a:pt x="33047" y="336026"/>
                </a:cubicBezTo>
                <a:lnTo>
                  <a:pt x="0" y="336026"/>
                </a:lnTo>
                <a:lnTo>
                  <a:pt x="0" y="377163"/>
                </a:lnTo>
                <a:lnTo>
                  <a:pt x="33047" y="377163"/>
                </a:lnTo>
                <a:cubicBezTo>
                  <a:pt x="33801" y="380591"/>
                  <a:pt x="34693" y="384020"/>
                  <a:pt x="35790" y="387379"/>
                </a:cubicBezTo>
                <a:lnTo>
                  <a:pt x="7131" y="403903"/>
                </a:lnTo>
                <a:lnTo>
                  <a:pt x="27699" y="439555"/>
                </a:lnTo>
                <a:lnTo>
                  <a:pt x="56427" y="422963"/>
                </a:lnTo>
                <a:cubicBezTo>
                  <a:pt x="58758" y="425568"/>
                  <a:pt x="61226" y="428037"/>
                  <a:pt x="63900" y="430436"/>
                </a:cubicBezTo>
                <a:lnTo>
                  <a:pt x="47308" y="459164"/>
                </a:lnTo>
                <a:lnTo>
                  <a:pt x="82961" y="479733"/>
                </a:lnTo>
                <a:lnTo>
                  <a:pt x="99484" y="451074"/>
                </a:lnTo>
                <a:cubicBezTo>
                  <a:pt x="102844" y="452171"/>
                  <a:pt x="106272" y="453131"/>
                  <a:pt x="109700" y="453816"/>
                </a:cubicBezTo>
                <a:lnTo>
                  <a:pt x="109700" y="486864"/>
                </a:lnTo>
                <a:lnTo>
                  <a:pt x="150838" y="486864"/>
                </a:lnTo>
                <a:lnTo>
                  <a:pt x="150838" y="453816"/>
                </a:lnTo>
                <a:cubicBezTo>
                  <a:pt x="154266" y="453062"/>
                  <a:pt x="157694" y="452171"/>
                  <a:pt x="161054" y="451074"/>
                </a:cubicBezTo>
                <a:lnTo>
                  <a:pt x="177577" y="479733"/>
                </a:lnTo>
                <a:lnTo>
                  <a:pt x="213230" y="459164"/>
                </a:lnTo>
                <a:lnTo>
                  <a:pt x="196638" y="430436"/>
                </a:lnTo>
                <a:cubicBezTo>
                  <a:pt x="199243" y="428105"/>
                  <a:pt x="201711" y="425637"/>
                  <a:pt x="204111" y="422963"/>
                </a:cubicBezTo>
                <a:lnTo>
                  <a:pt x="232839" y="439555"/>
                </a:lnTo>
                <a:lnTo>
                  <a:pt x="253408" y="403903"/>
                </a:lnTo>
                <a:lnTo>
                  <a:pt x="224748" y="387379"/>
                </a:lnTo>
                <a:cubicBezTo>
                  <a:pt x="225845" y="384020"/>
                  <a:pt x="226805" y="380591"/>
                  <a:pt x="227491" y="377163"/>
                </a:cubicBezTo>
                <a:lnTo>
                  <a:pt x="260538" y="377163"/>
                </a:lnTo>
                <a:lnTo>
                  <a:pt x="260538" y="336026"/>
                </a:lnTo>
                <a:lnTo>
                  <a:pt x="227491" y="336026"/>
                </a:lnTo>
                <a:cubicBezTo>
                  <a:pt x="226737" y="332598"/>
                  <a:pt x="225845" y="329169"/>
                  <a:pt x="224748" y="325810"/>
                </a:cubicBezTo>
                <a:close/>
                <a:moveTo>
                  <a:pt x="202260" y="356594"/>
                </a:moveTo>
                <a:cubicBezTo>
                  <a:pt x="202260" y="396361"/>
                  <a:pt x="170035" y="428585"/>
                  <a:pt x="130269" y="428585"/>
                </a:cubicBezTo>
                <a:cubicBezTo>
                  <a:pt x="90503" y="428585"/>
                  <a:pt x="58278" y="396361"/>
                  <a:pt x="58278" y="356594"/>
                </a:cubicBezTo>
                <a:cubicBezTo>
                  <a:pt x="58278" y="316828"/>
                  <a:pt x="90503" y="284604"/>
                  <a:pt x="130269" y="284604"/>
                </a:cubicBezTo>
                <a:cubicBezTo>
                  <a:pt x="170035" y="284604"/>
                  <a:pt x="202191" y="316828"/>
                  <a:pt x="202260" y="356594"/>
                </a:cubicBezTo>
                <a:close/>
                <a:moveTo>
                  <a:pt x="164550" y="356594"/>
                </a:moveTo>
                <a:cubicBezTo>
                  <a:pt x="164550" y="375518"/>
                  <a:pt x="149192" y="390876"/>
                  <a:pt x="130269" y="390876"/>
                </a:cubicBezTo>
                <a:cubicBezTo>
                  <a:pt x="111346" y="390876"/>
                  <a:pt x="95988" y="375518"/>
                  <a:pt x="95988" y="356594"/>
                </a:cubicBezTo>
                <a:cubicBezTo>
                  <a:pt x="95988" y="337671"/>
                  <a:pt x="111346" y="322313"/>
                  <a:pt x="130269" y="322313"/>
                </a:cubicBezTo>
                <a:cubicBezTo>
                  <a:pt x="149192" y="322313"/>
                  <a:pt x="164550" y="337671"/>
                  <a:pt x="164550" y="356594"/>
                </a:cubicBezTo>
                <a:close/>
                <a:moveTo>
                  <a:pt x="307778" y="105655"/>
                </a:moveTo>
                <a:lnTo>
                  <a:pt x="286866" y="93588"/>
                </a:lnTo>
                <a:cubicBezTo>
                  <a:pt x="288306" y="86183"/>
                  <a:pt x="288306" y="78504"/>
                  <a:pt x="286866" y="71099"/>
                </a:cubicBezTo>
                <a:lnTo>
                  <a:pt x="307778" y="59032"/>
                </a:lnTo>
                <a:lnTo>
                  <a:pt x="287209" y="23380"/>
                </a:lnTo>
                <a:lnTo>
                  <a:pt x="266297" y="35447"/>
                </a:lnTo>
                <a:cubicBezTo>
                  <a:pt x="260538" y="30510"/>
                  <a:pt x="253956" y="26739"/>
                  <a:pt x="246826" y="24203"/>
                </a:cubicBezTo>
                <a:lnTo>
                  <a:pt x="246826" y="0"/>
                </a:lnTo>
                <a:lnTo>
                  <a:pt x="205688" y="0"/>
                </a:lnTo>
                <a:lnTo>
                  <a:pt x="205688" y="24203"/>
                </a:lnTo>
                <a:cubicBezTo>
                  <a:pt x="198557" y="26739"/>
                  <a:pt x="191975" y="30510"/>
                  <a:pt x="186216" y="35447"/>
                </a:cubicBezTo>
                <a:lnTo>
                  <a:pt x="165305" y="23380"/>
                </a:lnTo>
                <a:lnTo>
                  <a:pt x="144736" y="59032"/>
                </a:lnTo>
                <a:lnTo>
                  <a:pt x="165647" y="71099"/>
                </a:lnTo>
                <a:cubicBezTo>
                  <a:pt x="164208" y="78504"/>
                  <a:pt x="164208" y="86183"/>
                  <a:pt x="165647" y="93588"/>
                </a:cubicBezTo>
                <a:lnTo>
                  <a:pt x="144736" y="105655"/>
                </a:lnTo>
                <a:lnTo>
                  <a:pt x="165305" y="141308"/>
                </a:lnTo>
                <a:lnTo>
                  <a:pt x="186216" y="129241"/>
                </a:lnTo>
                <a:cubicBezTo>
                  <a:pt x="191975" y="134177"/>
                  <a:pt x="198557" y="137948"/>
                  <a:pt x="205688" y="140485"/>
                </a:cubicBezTo>
                <a:lnTo>
                  <a:pt x="205688" y="164688"/>
                </a:lnTo>
                <a:lnTo>
                  <a:pt x="246826" y="164688"/>
                </a:lnTo>
                <a:lnTo>
                  <a:pt x="246826" y="140485"/>
                </a:lnTo>
                <a:cubicBezTo>
                  <a:pt x="253956" y="137948"/>
                  <a:pt x="260538" y="134177"/>
                  <a:pt x="266297" y="129241"/>
                </a:cubicBezTo>
                <a:lnTo>
                  <a:pt x="287209" y="141308"/>
                </a:lnTo>
                <a:lnTo>
                  <a:pt x="307778" y="105655"/>
                </a:lnTo>
                <a:close/>
                <a:moveTo>
                  <a:pt x="226257" y="116625"/>
                </a:moveTo>
                <a:cubicBezTo>
                  <a:pt x="207334" y="116625"/>
                  <a:pt x="191975" y="101267"/>
                  <a:pt x="191975" y="82344"/>
                </a:cubicBezTo>
                <a:cubicBezTo>
                  <a:pt x="191975" y="63420"/>
                  <a:pt x="207334" y="48062"/>
                  <a:pt x="226257" y="48062"/>
                </a:cubicBezTo>
                <a:cubicBezTo>
                  <a:pt x="245180" y="48062"/>
                  <a:pt x="260538" y="63420"/>
                  <a:pt x="260538" y="82344"/>
                </a:cubicBezTo>
                <a:cubicBezTo>
                  <a:pt x="260538" y="101267"/>
                  <a:pt x="245180" y="116625"/>
                  <a:pt x="226257" y="116625"/>
                </a:cubicBezTo>
                <a:close/>
                <a:moveTo>
                  <a:pt x="637633" y="425157"/>
                </a:moveTo>
                <a:lnTo>
                  <a:pt x="466226" y="253750"/>
                </a:lnTo>
                <a:lnTo>
                  <a:pt x="466226" y="192250"/>
                </a:lnTo>
                <a:lnTo>
                  <a:pt x="427420" y="153443"/>
                </a:lnTo>
                <a:cubicBezTo>
                  <a:pt x="414050" y="140074"/>
                  <a:pt x="392316" y="140074"/>
                  <a:pt x="378946" y="153443"/>
                </a:cubicBezTo>
                <a:lnTo>
                  <a:pt x="365576" y="166813"/>
                </a:lnTo>
                <a:lnTo>
                  <a:pt x="418232" y="219469"/>
                </a:lnTo>
                <a:lnTo>
                  <a:pt x="377095" y="260607"/>
                </a:lnTo>
                <a:lnTo>
                  <a:pt x="324439" y="207951"/>
                </a:lnTo>
                <a:lnTo>
                  <a:pt x="311069" y="221320"/>
                </a:lnTo>
                <a:cubicBezTo>
                  <a:pt x="297699" y="234690"/>
                  <a:pt x="297699" y="256424"/>
                  <a:pt x="311069" y="269794"/>
                </a:cubicBezTo>
                <a:lnTo>
                  <a:pt x="349875" y="308601"/>
                </a:lnTo>
                <a:lnTo>
                  <a:pt x="411376" y="308601"/>
                </a:lnTo>
                <a:lnTo>
                  <a:pt x="582783" y="480007"/>
                </a:lnTo>
                <a:cubicBezTo>
                  <a:pt x="597935" y="495160"/>
                  <a:pt x="622480" y="495160"/>
                  <a:pt x="637633" y="480007"/>
                </a:cubicBezTo>
                <a:cubicBezTo>
                  <a:pt x="652785" y="464855"/>
                  <a:pt x="652785" y="440309"/>
                  <a:pt x="637633" y="425157"/>
                </a:cubicBezTo>
                <a:close/>
                <a:moveTo>
                  <a:pt x="610208" y="466295"/>
                </a:moveTo>
                <a:cubicBezTo>
                  <a:pt x="602666" y="466295"/>
                  <a:pt x="596495" y="460124"/>
                  <a:pt x="596495" y="452582"/>
                </a:cubicBezTo>
                <a:cubicBezTo>
                  <a:pt x="596495" y="445040"/>
                  <a:pt x="602666" y="438870"/>
                  <a:pt x="610208" y="438870"/>
                </a:cubicBezTo>
                <a:cubicBezTo>
                  <a:pt x="617750" y="438870"/>
                  <a:pt x="623920" y="445040"/>
                  <a:pt x="623920" y="452582"/>
                </a:cubicBezTo>
                <a:cubicBezTo>
                  <a:pt x="623920" y="460124"/>
                  <a:pt x="617750" y="466295"/>
                  <a:pt x="610208" y="466295"/>
                </a:cubicBezTo>
                <a:close/>
              </a:path>
            </a:pathLst>
          </a:custGeom>
          <a:solidFill>
            <a:srgbClr val="00C1B6"/>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grpSp>
        <p:nvGrpSpPr>
          <p:cNvPr id="30" name="Group 58">
            <a:extLst>
              <a:ext uri="{FF2B5EF4-FFF2-40B4-BE49-F238E27FC236}">
                <a16:creationId xmlns:a16="http://schemas.microsoft.com/office/drawing/2014/main" id="{3F0D2E32-65EE-509B-4BCA-4E5E29AB4AA0}"/>
              </a:ext>
            </a:extLst>
          </p:cNvPr>
          <p:cNvGrpSpPr/>
          <p:nvPr/>
        </p:nvGrpSpPr>
        <p:grpSpPr>
          <a:xfrm>
            <a:off x="6310323" y="3084550"/>
            <a:ext cx="5452558" cy="1712726"/>
            <a:chOff x="6622125" y="3084550"/>
            <a:chExt cx="5140756" cy="1712726"/>
          </a:xfrm>
        </p:grpSpPr>
        <p:cxnSp>
          <p:nvCxnSpPr>
            <p:cNvPr id="31" name="Straight Connector 42">
              <a:extLst>
                <a:ext uri="{FF2B5EF4-FFF2-40B4-BE49-F238E27FC236}">
                  <a16:creationId xmlns:a16="http://schemas.microsoft.com/office/drawing/2014/main" id="{46203555-3959-E0A1-22BE-05E7FFD2FCE5}"/>
                </a:ext>
              </a:extLst>
            </p:cNvPr>
            <p:cNvCxnSpPr/>
            <p:nvPr/>
          </p:nvCxnSpPr>
          <p:spPr>
            <a:xfrm>
              <a:off x="6622125" y="3084550"/>
              <a:ext cx="5140756"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2" name="Straight Connector 43">
              <a:extLst>
                <a:ext uri="{FF2B5EF4-FFF2-40B4-BE49-F238E27FC236}">
                  <a16:creationId xmlns:a16="http://schemas.microsoft.com/office/drawing/2014/main" id="{36DCCC78-FD32-6BFC-3F3C-CBB6BF95A918}"/>
                </a:ext>
              </a:extLst>
            </p:cNvPr>
            <p:cNvCxnSpPr/>
            <p:nvPr/>
          </p:nvCxnSpPr>
          <p:spPr>
            <a:xfrm>
              <a:off x="6622125" y="3940913"/>
              <a:ext cx="5140756"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3" name="Straight Connector 44">
              <a:extLst>
                <a:ext uri="{FF2B5EF4-FFF2-40B4-BE49-F238E27FC236}">
                  <a16:creationId xmlns:a16="http://schemas.microsoft.com/office/drawing/2014/main" id="{AE035EDD-3334-F962-191B-6329280755D3}"/>
                </a:ext>
              </a:extLst>
            </p:cNvPr>
            <p:cNvCxnSpPr/>
            <p:nvPr/>
          </p:nvCxnSpPr>
          <p:spPr>
            <a:xfrm>
              <a:off x="6622125" y="4797276"/>
              <a:ext cx="5140756"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241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8B60A74-B35A-92C3-FEB5-C3AEF8260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1" imgH="340" progId="TCLayout.ActiveDocument.1">
                  <p:embed/>
                </p:oleObj>
              </mc:Choice>
              <mc:Fallback>
                <p:oleObj name="think-cell Slide" r:id="rId4" imgW="341" imgH="340" progId="TCLayout.ActiveDocument.1">
                  <p:embed/>
                  <p:pic>
                    <p:nvPicPr>
                      <p:cNvPr id="14" name="think-cell data - do not delete" hidden="1">
                        <a:extLst>
                          <a:ext uri="{FF2B5EF4-FFF2-40B4-BE49-F238E27FC236}">
                            <a16:creationId xmlns:a16="http://schemas.microsoft.com/office/drawing/2014/main" id="{F8B60A74-B35A-92C3-FEB5-C3AEF8260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 name="Gruppieren 7">
            <a:extLst>
              <a:ext uri="{FF2B5EF4-FFF2-40B4-BE49-F238E27FC236}">
                <a16:creationId xmlns:a16="http://schemas.microsoft.com/office/drawing/2014/main" id="{2E7ECDB6-B830-521B-E8BF-CB24DEB5CA7B}"/>
              </a:ext>
            </a:extLst>
          </p:cNvPr>
          <p:cNvGrpSpPr/>
          <p:nvPr/>
        </p:nvGrpSpPr>
        <p:grpSpPr>
          <a:xfrm>
            <a:off x="387311" y="683599"/>
            <a:ext cx="11621065" cy="5879734"/>
            <a:chOff x="387311" y="480399"/>
            <a:chExt cx="11621065" cy="5879734"/>
          </a:xfrm>
        </p:grpSpPr>
        <p:sp>
          <p:nvSpPr>
            <p:cNvPr id="74" name="Rectangle 12" descr="Curvy line">
              <a:extLst>
                <a:ext uri="{FF2B5EF4-FFF2-40B4-BE49-F238E27FC236}">
                  <a16:creationId xmlns:a16="http://schemas.microsoft.com/office/drawing/2014/main" id="{011C6FB2-A85C-1BCF-C224-A0DE26A9BC72}"/>
                </a:ext>
              </a:extLst>
            </p:cNvPr>
            <p:cNvSpPr/>
            <p:nvPr/>
          </p:nvSpPr>
          <p:spPr>
            <a:xfrm>
              <a:off x="549726" y="1440738"/>
              <a:ext cx="9463600" cy="4919395"/>
            </a:xfrm>
            <a:custGeom>
              <a:avLst/>
              <a:gdLst>
                <a:gd name="connsiteX0" fmla="*/ 0 w 685800"/>
                <a:gd name="connsiteY0" fmla="*/ 0 h 3781425"/>
                <a:gd name="connsiteX1" fmla="*/ 685800 w 685800"/>
                <a:gd name="connsiteY1" fmla="*/ 0 h 3781425"/>
                <a:gd name="connsiteX2" fmla="*/ 685800 w 685800"/>
                <a:gd name="connsiteY2" fmla="*/ 3781425 h 3781425"/>
                <a:gd name="connsiteX3" fmla="*/ 0 w 685800"/>
                <a:gd name="connsiteY3" fmla="*/ 3781425 h 3781425"/>
                <a:gd name="connsiteX4" fmla="*/ 0 w 685800"/>
                <a:gd name="connsiteY4" fmla="*/ 0 h 3781425"/>
                <a:gd name="connsiteX0" fmla="*/ 0 w 705125"/>
                <a:gd name="connsiteY0" fmla="*/ 0 h 3781425"/>
                <a:gd name="connsiteX1" fmla="*/ 685800 w 705125"/>
                <a:gd name="connsiteY1" fmla="*/ 0 h 3781425"/>
                <a:gd name="connsiteX2" fmla="*/ 704850 w 705125"/>
                <a:gd name="connsiteY2" fmla="*/ 809625 h 3781425"/>
                <a:gd name="connsiteX3" fmla="*/ 685800 w 705125"/>
                <a:gd name="connsiteY3" fmla="*/ 3781425 h 3781425"/>
                <a:gd name="connsiteX4" fmla="*/ 0 w 705125"/>
                <a:gd name="connsiteY4" fmla="*/ 3781425 h 3781425"/>
                <a:gd name="connsiteX5" fmla="*/ 0 w 705125"/>
                <a:gd name="connsiteY5" fmla="*/ 0 h 3781425"/>
                <a:gd name="connsiteX0" fmla="*/ 104775 w 809900"/>
                <a:gd name="connsiteY0" fmla="*/ 0 h 3781425"/>
                <a:gd name="connsiteX1" fmla="*/ 790575 w 809900"/>
                <a:gd name="connsiteY1" fmla="*/ 0 h 3781425"/>
                <a:gd name="connsiteX2" fmla="*/ 809625 w 809900"/>
                <a:gd name="connsiteY2" fmla="*/ 809625 h 3781425"/>
                <a:gd name="connsiteX3" fmla="*/ 790575 w 809900"/>
                <a:gd name="connsiteY3" fmla="*/ 3781425 h 3781425"/>
                <a:gd name="connsiteX4" fmla="*/ 104775 w 809900"/>
                <a:gd name="connsiteY4" fmla="*/ 3781425 h 3781425"/>
                <a:gd name="connsiteX5" fmla="*/ 0 w 809900"/>
                <a:gd name="connsiteY5" fmla="*/ 809625 h 3781425"/>
                <a:gd name="connsiteX6" fmla="*/ 104775 w 809900"/>
                <a:gd name="connsiteY6" fmla="*/ 0 h 3781425"/>
                <a:gd name="connsiteX0" fmla="*/ 104775 w 866775"/>
                <a:gd name="connsiteY0" fmla="*/ 0 h 3781425"/>
                <a:gd name="connsiteX1" fmla="*/ 790575 w 866775"/>
                <a:gd name="connsiteY1" fmla="*/ 0 h 3781425"/>
                <a:gd name="connsiteX2" fmla="*/ 809625 w 866775"/>
                <a:gd name="connsiteY2" fmla="*/ 809625 h 3781425"/>
                <a:gd name="connsiteX3" fmla="*/ 866775 w 866775"/>
                <a:gd name="connsiteY3" fmla="*/ 2171700 h 3781425"/>
                <a:gd name="connsiteX4" fmla="*/ 790575 w 866775"/>
                <a:gd name="connsiteY4" fmla="*/ 3781425 h 3781425"/>
                <a:gd name="connsiteX5" fmla="*/ 104775 w 866775"/>
                <a:gd name="connsiteY5" fmla="*/ 3781425 h 3781425"/>
                <a:gd name="connsiteX6" fmla="*/ 0 w 866775"/>
                <a:gd name="connsiteY6" fmla="*/ 809625 h 3781425"/>
                <a:gd name="connsiteX7" fmla="*/ 104775 w 866775"/>
                <a:gd name="connsiteY7" fmla="*/ 0 h 3781425"/>
                <a:gd name="connsiteX0" fmla="*/ 107604 w 869604"/>
                <a:gd name="connsiteY0" fmla="*/ 0 h 3781425"/>
                <a:gd name="connsiteX1" fmla="*/ 793404 w 869604"/>
                <a:gd name="connsiteY1" fmla="*/ 0 h 3781425"/>
                <a:gd name="connsiteX2" fmla="*/ 812454 w 869604"/>
                <a:gd name="connsiteY2" fmla="*/ 809625 h 3781425"/>
                <a:gd name="connsiteX3" fmla="*/ 869604 w 869604"/>
                <a:gd name="connsiteY3" fmla="*/ 2171700 h 3781425"/>
                <a:gd name="connsiteX4" fmla="*/ 793404 w 869604"/>
                <a:gd name="connsiteY4" fmla="*/ 3781425 h 3781425"/>
                <a:gd name="connsiteX5" fmla="*/ 107604 w 869604"/>
                <a:gd name="connsiteY5" fmla="*/ 3781425 h 3781425"/>
                <a:gd name="connsiteX6" fmla="*/ 21879 w 869604"/>
                <a:gd name="connsiteY6" fmla="*/ 2219325 h 3781425"/>
                <a:gd name="connsiteX7" fmla="*/ 2829 w 869604"/>
                <a:gd name="connsiteY7" fmla="*/ 809625 h 3781425"/>
                <a:gd name="connsiteX8" fmla="*/ 107604 w 869604"/>
                <a:gd name="connsiteY8" fmla="*/ 0 h 3781425"/>
                <a:gd name="connsiteX0" fmla="*/ 107604 w 2222159"/>
                <a:gd name="connsiteY0" fmla="*/ 0 h 3781425"/>
                <a:gd name="connsiteX1" fmla="*/ 793404 w 2222159"/>
                <a:gd name="connsiteY1" fmla="*/ 0 h 3781425"/>
                <a:gd name="connsiteX2" fmla="*/ 2222154 w 2222159"/>
                <a:gd name="connsiteY2" fmla="*/ 1009650 h 3781425"/>
                <a:gd name="connsiteX3" fmla="*/ 869604 w 2222159"/>
                <a:gd name="connsiteY3" fmla="*/ 2171700 h 3781425"/>
                <a:gd name="connsiteX4" fmla="*/ 793404 w 2222159"/>
                <a:gd name="connsiteY4" fmla="*/ 3781425 h 3781425"/>
                <a:gd name="connsiteX5" fmla="*/ 107604 w 2222159"/>
                <a:gd name="connsiteY5" fmla="*/ 3781425 h 3781425"/>
                <a:gd name="connsiteX6" fmla="*/ 21879 w 2222159"/>
                <a:gd name="connsiteY6" fmla="*/ 2219325 h 3781425"/>
                <a:gd name="connsiteX7" fmla="*/ 2829 w 2222159"/>
                <a:gd name="connsiteY7" fmla="*/ 809625 h 3781425"/>
                <a:gd name="connsiteX8" fmla="*/ 107604 w 2222159"/>
                <a:gd name="connsiteY8" fmla="*/ 0 h 3781425"/>
                <a:gd name="connsiteX0" fmla="*/ 85837 w 2200392"/>
                <a:gd name="connsiteY0" fmla="*/ 0 h 3781425"/>
                <a:gd name="connsiteX1" fmla="*/ 771637 w 2200392"/>
                <a:gd name="connsiteY1" fmla="*/ 0 h 3781425"/>
                <a:gd name="connsiteX2" fmla="*/ 2200387 w 2200392"/>
                <a:gd name="connsiteY2" fmla="*/ 1009650 h 3781425"/>
                <a:gd name="connsiteX3" fmla="*/ 847837 w 2200392"/>
                <a:gd name="connsiteY3" fmla="*/ 2171700 h 3781425"/>
                <a:gd name="connsiteX4" fmla="*/ 771637 w 2200392"/>
                <a:gd name="connsiteY4" fmla="*/ 3781425 h 3781425"/>
                <a:gd name="connsiteX5" fmla="*/ 85837 w 2200392"/>
                <a:gd name="connsiteY5" fmla="*/ 3781425 h 3781425"/>
                <a:gd name="connsiteX6" fmla="*/ 112 w 2200392"/>
                <a:gd name="connsiteY6" fmla="*/ 2219325 h 3781425"/>
                <a:gd name="connsiteX7" fmla="*/ 2038462 w 2200392"/>
                <a:gd name="connsiteY7" fmla="*/ 1000125 h 3781425"/>
                <a:gd name="connsiteX8" fmla="*/ 85837 w 2200392"/>
                <a:gd name="connsiteY8" fmla="*/ 0 h 3781425"/>
                <a:gd name="connsiteX0" fmla="*/ 266812 w 2200392"/>
                <a:gd name="connsiteY0" fmla="*/ 800100 h 3781425"/>
                <a:gd name="connsiteX1" fmla="*/ 771637 w 2200392"/>
                <a:gd name="connsiteY1" fmla="*/ 0 h 3781425"/>
                <a:gd name="connsiteX2" fmla="*/ 2200387 w 2200392"/>
                <a:gd name="connsiteY2" fmla="*/ 1009650 h 3781425"/>
                <a:gd name="connsiteX3" fmla="*/ 847837 w 2200392"/>
                <a:gd name="connsiteY3" fmla="*/ 2171700 h 3781425"/>
                <a:gd name="connsiteX4" fmla="*/ 771637 w 2200392"/>
                <a:gd name="connsiteY4" fmla="*/ 3781425 h 3781425"/>
                <a:gd name="connsiteX5" fmla="*/ 85837 w 2200392"/>
                <a:gd name="connsiteY5" fmla="*/ 3781425 h 3781425"/>
                <a:gd name="connsiteX6" fmla="*/ 112 w 2200392"/>
                <a:gd name="connsiteY6" fmla="*/ 2219325 h 3781425"/>
                <a:gd name="connsiteX7" fmla="*/ 2038462 w 2200392"/>
                <a:gd name="connsiteY7" fmla="*/ 1000125 h 3781425"/>
                <a:gd name="connsiteX8" fmla="*/ 266812 w 2200392"/>
                <a:gd name="connsiteY8" fmla="*/ 800100 h 3781425"/>
                <a:gd name="connsiteX0" fmla="*/ 266812 w 2200392"/>
                <a:gd name="connsiteY0" fmla="*/ 657225 h 3638550"/>
                <a:gd name="connsiteX1" fmla="*/ 704962 w 2200392"/>
                <a:gd name="connsiteY1" fmla="*/ 0 h 3638550"/>
                <a:gd name="connsiteX2" fmla="*/ 2200387 w 2200392"/>
                <a:gd name="connsiteY2" fmla="*/ 866775 h 3638550"/>
                <a:gd name="connsiteX3" fmla="*/ 847837 w 2200392"/>
                <a:gd name="connsiteY3" fmla="*/ 2028825 h 3638550"/>
                <a:gd name="connsiteX4" fmla="*/ 771637 w 2200392"/>
                <a:gd name="connsiteY4" fmla="*/ 3638550 h 3638550"/>
                <a:gd name="connsiteX5" fmla="*/ 85837 w 2200392"/>
                <a:gd name="connsiteY5" fmla="*/ 3638550 h 3638550"/>
                <a:gd name="connsiteX6" fmla="*/ 112 w 2200392"/>
                <a:gd name="connsiteY6" fmla="*/ 2076450 h 3638550"/>
                <a:gd name="connsiteX7" fmla="*/ 2038462 w 2200392"/>
                <a:gd name="connsiteY7" fmla="*/ 857250 h 3638550"/>
                <a:gd name="connsiteX8" fmla="*/ 266812 w 2200392"/>
                <a:gd name="connsiteY8" fmla="*/ 657225 h 3638550"/>
                <a:gd name="connsiteX0" fmla="*/ 266812 w 2200392"/>
                <a:gd name="connsiteY0" fmla="*/ 590550 h 3571875"/>
                <a:gd name="connsiteX1" fmla="*/ 704962 w 2200392"/>
                <a:gd name="connsiteY1" fmla="*/ 0 h 3571875"/>
                <a:gd name="connsiteX2" fmla="*/ 2200387 w 2200392"/>
                <a:gd name="connsiteY2" fmla="*/ 800100 h 3571875"/>
                <a:gd name="connsiteX3" fmla="*/ 847837 w 2200392"/>
                <a:gd name="connsiteY3" fmla="*/ 1962150 h 3571875"/>
                <a:gd name="connsiteX4" fmla="*/ 771637 w 2200392"/>
                <a:gd name="connsiteY4" fmla="*/ 3571875 h 3571875"/>
                <a:gd name="connsiteX5" fmla="*/ 85837 w 2200392"/>
                <a:gd name="connsiteY5" fmla="*/ 3571875 h 3571875"/>
                <a:gd name="connsiteX6" fmla="*/ 112 w 2200392"/>
                <a:gd name="connsiteY6" fmla="*/ 2009775 h 3571875"/>
                <a:gd name="connsiteX7" fmla="*/ 2038462 w 2200392"/>
                <a:gd name="connsiteY7" fmla="*/ 790575 h 3571875"/>
                <a:gd name="connsiteX8" fmla="*/ 266812 w 2200392"/>
                <a:gd name="connsiteY8" fmla="*/ 590550 h 3571875"/>
                <a:gd name="connsiteX0" fmla="*/ 266812 w 2200393"/>
                <a:gd name="connsiteY0" fmla="*/ 590550 h 3571875"/>
                <a:gd name="connsiteX1" fmla="*/ 704962 w 2200393"/>
                <a:gd name="connsiteY1" fmla="*/ 0 h 3571875"/>
                <a:gd name="connsiteX2" fmla="*/ 2200387 w 2200393"/>
                <a:gd name="connsiteY2" fmla="*/ 800100 h 3571875"/>
                <a:gd name="connsiteX3" fmla="*/ 847837 w 2200393"/>
                <a:gd name="connsiteY3" fmla="*/ 1962150 h 3571875"/>
                <a:gd name="connsiteX4" fmla="*/ 771637 w 2200393"/>
                <a:gd name="connsiteY4" fmla="*/ 3571875 h 3571875"/>
                <a:gd name="connsiteX5" fmla="*/ 85837 w 2200393"/>
                <a:gd name="connsiteY5" fmla="*/ 3571875 h 3571875"/>
                <a:gd name="connsiteX6" fmla="*/ 112 w 2200393"/>
                <a:gd name="connsiteY6" fmla="*/ 2009775 h 3571875"/>
                <a:gd name="connsiteX7" fmla="*/ 2038462 w 2200393"/>
                <a:gd name="connsiteY7" fmla="*/ 790575 h 3571875"/>
                <a:gd name="connsiteX8" fmla="*/ 266812 w 2200393"/>
                <a:gd name="connsiteY8" fmla="*/ 590550 h 3571875"/>
                <a:gd name="connsiteX0" fmla="*/ 266812 w 2200392"/>
                <a:gd name="connsiteY0" fmla="*/ 123825 h 3105150"/>
                <a:gd name="connsiteX1" fmla="*/ 390637 w 2200392"/>
                <a:gd name="connsiteY1" fmla="*/ 0 h 3105150"/>
                <a:gd name="connsiteX2" fmla="*/ 2200387 w 2200392"/>
                <a:gd name="connsiteY2" fmla="*/ 333375 h 3105150"/>
                <a:gd name="connsiteX3" fmla="*/ 847837 w 2200392"/>
                <a:gd name="connsiteY3" fmla="*/ 1495425 h 3105150"/>
                <a:gd name="connsiteX4" fmla="*/ 771637 w 2200392"/>
                <a:gd name="connsiteY4" fmla="*/ 3105150 h 3105150"/>
                <a:gd name="connsiteX5" fmla="*/ 85837 w 2200392"/>
                <a:gd name="connsiteY5" fmla="*/ 3105150 h 3105150"/>
                <a:gd name="connsiteX6" fmla="*/ 112 w 2200392"/>
                <a:gd name="connsiteY6" fmla="*/ 1543050 h 3105150"/>
                <a:gd name="connsiteX7" fmla="*/ 2038462 w 2200392"/>
                <a:gd name="connsiteY7" fmla="*/ 323850 h 3105150"/>
                <a:gd name="connsiteX8" fmla="*/ 266812 w 2200392"/>
                <a:gd name="connsiteY8" fmla="*/ 123825 h 3105150"/>
                <a:gd name="connsiteX0" fmla="*/ 266812 w 2200392"/>
                <a:gd name="connsiteY0" fmla="*/ 123825 h 3105150"/>
                <a:gd name="connsiteX1" fmla="*/ 238237 w 2200392"/>
                <a:gd name="connsiteY1" fmla="*/ 0 h 3105150"/>
                <a:gd name="connsiteX2" fmla="*/ 2200387 w 2200392"/>
                <a:gd name="connsiteY2" fmla="*/ 333375 h 3105150"/>
                <a:gd name="connsiteX3" fmla="*/ 847837 w 2200392"/>
                <a:gd name="connsiteY3" fmla="*/ 1495425 h 3105150"/>
                <a:gd name="connsiteX4" fmla="*/ 771637 w 2200392"/>
                <a:gd name="connsiteY4" fmla="*/ 3105150 h 3105150"/>
                <a:gd name="connsiteX5" fmla="*/ 85837 w 2200392"/>
                <a:gd name="connsiteY5" fmla="*/ 3105150 h 3105150"/>
                <a:gd name="connsiteX6" fmla="*/ 112 w 2200392"/>
                <a:gd name="connsiteY6" fmla="*/ 1543050 h 3105150"/>
                <a:gd name="connsiteX7" fmla="*/ 2038462 w 2200392"/>
                <a:gd name="connsiteY7" fmla="*/ 323850 h 3105150"/>
                <a:gd name="connsiteX8" fmla="*/ 266812 w 2200392"/>
                <a:gd name="connsiteY8" fmla="*/ 123825 h 3105150"/>
                <a:gd name="connsiteX0" fmla="*/ 266812 w 2200392"/>
                <a:gd name="connsiteY0" fmla="*/ 133350 h 3114675"/>
                <a:gd name="connsiteX1" fmla="*/ 266812 w 2200392"/>
                <a:gd name="connsiteY1" fmla="*/ 0 h 3114675"/>
                <a:gd name="connsiteX2" fmla="*/ 2200387 w 2200392"/>
                <a:gd name="connsiteY2" fmla="*/ 342900 h 3114675"/>
                <a:gd name="connsiteX3" fmla="*/ 847837 w 2200392"/>
                <a:gd name="connsiteY3" fmla="*/ 1504950 h 3114675"/>
                <a:gd name="connsiteX4" fmla="*/ 771637 w 2200392"/>
                <a:gd name="connsiteY4" fmla="*/ 3114675 h 3114675"/>
                <a:gd name="connsiteX5" fmla="*/ 85837 w 2200392"/>
                <a:gd name="connsiteY5" fmla="*/ 3114675 h 3114675"/>
                <a:gd name="connsiteX6" fmla="*/ 112 w 2200392"/>
                <a:gd name="connsiteY6" fmla="*/ 1552575 h 3114675"/>
                <a:gd name="connsiteX7" fmla="*/ 2038462 w 2200392"/>
                <a:gd name="connsiteY7" fmla="*/ 333375 h 3114675"/>
                <a:gd name="connsiteX8" fmla="*/ 266812 w 2200392"/>
                <a:gd name="connsiteY8" fmla="*/ 133350 h 3114675"/>
                <a:gd name="connsiteX0" fmla="*/ 266812 w 2200392"/>
                <a:gd name="connsiteY0" fmla="*/ 76200 h 3057525"/>
                <a:gd name="connsiteX1" fmla="*/ 276337 w 2200392"/>
                <a:gd name="connsiteY1" fmla="*/ 0 h 3057525"/>
                <a:gd name="connsiteX2" fmla="*/ 2200387 w 2200392"/>
                <a:gd name="connsiteY2" fmla="*/ 285750 h 3057525"/>
                <a:gd name="connsiteX3" fmla="*/ 847837 w 2200392"/>
                <a:gd name="connsiteY3" fmla="*/ 1447800 h 3057525"/>
                <a:gd name="connsiteX4" fmla="*/ 771637 w 2200392"/>
                <a:gd name="connsiteY4" fmla="*/ 3057525 h 3057525"/>
                <a:gd name="connsiteX5" fmla="*/ 85837 w 2200392"/>
                <a:gd name="connsiteY5" fmla="*/ 3057525 h 3057525"/>
                <a:gd name="connsiteX6" fmla="*/ 112 w 2200392"/>
                <a:gd name="connsiteY6" fmla="*/ 1495425 h 3057525"/>
                <a:gd name="connsiteX7" fmla="*/ 2038462 w 2200392"/>
                <a:gd name="connsiteY7" fmla="*/ 276225 h 3057525"/>
                <a:gd name="connsiteX8" fmla="*/ 266812 w 2200392"/>
                <a:gd name="connsiteY8" fmla="*/ 76200 h 3057525"/>
                <a:gd name="connsiteX0" fmla="*/ 266812 w 2200392"/>
                <a:gd name="connsiteY0" fmla="*/ 76200 h 3057525"/>
                <a:gd name="connsiteX1" fmla="*/ 276337 w 2200392"/>
                <a:gd name="connsiteY1" fmla="*/ 0 h 3057525"/>
                <a:gd name="connsiteX2" fmla="*/ 2200387 w 2200392"/>
                <a:gd name="connsiteY2" fmla="*/ 285750 h 3057525"/>
                <a:gd name="connsiteX3" fmla="*/ 847837 w 2200392"/>
                <a:gd name="connsiteY3" fmla="*/ 1447800 h 3057525"/>
                <a:gd name="connsiteX4" fmla="*/ 771637 w 2200392"/>
                <a:gd name="connsiteY4" fmla="*/ 3057525 h 3057525"/>
                <a:gd name="connsiteX5" fmla="*/ 85837 w 2200392"/>
                <a:gd name="connsiteY5" fmla="*/ 3057525 h 3057525"/>
                <a:gd name="connsiteX6" fmla="*/ 112 w 2200392"/>
                <a:gd name="connsiteY6" fmla="*/ 1495425 h 3057525"/>
                <a:gd name="connsiteX7" fmla="*/ 2038462 w 2200392"/>
                <a:gd name="connsiteY7" fmla="*/ 276225 h 3057525"/>
                <a:gd name="connsiteX8" fmla="*/ 266812 w 2200392"/>
                <a:gd name="connsiteY8" fmla="*/ 76200 h 3057525"/>
                <a:gd name="connsiteX0" fmla="*/ 266812 w 2200392"/>
                <a:gd name="connsiteY0" fmla="*/ 76200 h 3057525"/>
                <a:gd name="connsiteX1" fmla="*/ 276337 w 2200392"/>
                <a:gd name="connsiteY1" fmla="*/ 0 h 3057525"/>
                <a:gd name="connsiteX2" fmla="*/ 2200387 w 2200392"/>
                <a:gd name="connsiteY2" fmla="*/ 285750 h 3057525"/>
                <a:gd name="connsiteX3" fmla="*/ 847837 w 2200392"/>
                <a:gd name="connsiteY3" fmla="*/ 1447800 h 3057525"/>
                <a:gd name="connsiteX4" fmla="*/ 771637 w 2200392"/>
                <a:gd name="connsiteY4" fmla="*/ 3057525 h 3057525"/>
                <a:gd name="connsiteX5" fmla="*/ 85837 w 2200392"/>
                <a:gd name="connsiteY5" fmla="*/ 3057525 h 3057525"/>
                <a:gd name="connsiteX6" fmla="*/ 112 w 2200392"/>
                <a:gd name="connsiteY6" fmla="*/ 1495425 h 3057525"/>
                <a:gd name="connsiteX7" fmla="*/ 2038462 w 2200392"/>
                <a:gd name="connsiteY7" fmla="*/ 276225 h 3057525"/>
                <a:gd name="connsiteX8" fmla="*/ 266812 w 2200392"/>
                <a:gd name="connsiteY8" fmla="*/ 76200 h 3057525"/>
                <a:gd name="connsiteX0" fmla="*/ 266811 w 2200391"/>
                <a:gd name="connsiteY0" fmla="*/ 76200 h 3057525"/>
                <a:gd name="connsiteX1" fmla="*/ 276336 w 2200391"/>
                <a:gd name="connsiteY1" fmla="*/ 0 h 3057525"/>
                <a:gd name="connsiteX2" fmla="*/ 2200386 w 2200391"/>
                <a:gd name="connsiteY2" fmla="*/ 285750 h 3057525"/>
                <a:gd name="connsiteX3" fmla="*/ 847836 w 2200391"/>
                <a:gd name="connsiteY3" fmla="*/ 1447800 h 3057525"/>
                <a:gd name="connsiteX4" fmla="*/ 771636 w 2200391"/>
                <a:gd name="connsiteY4" fmla="*/ 3057525 h 3057525"/>
                <a:gd name="connsiteX5" fmla="*/ 85836 w 2200391"/>
                <a:gd name="connsiteY5" fmla="*/ 3057525 h 3057525"/>
                <a:gd name="connsiteX6" fmla="*/ 111 w 2200391"/>
                <a:gd name="connsiteY6" fmla="*/ 1495425 h 3057525"/>
                <a:gd name="connsiteX7" fmla="*/ 2042090 w 2200391"/>
                <a:gd name="connsiteY7" fmla="*/ 272588 h 3057525"/>
                <a:gd name="connsiteX8" fmla="*/ 266811 w 2200391"/>
                <a:gd name="connsiteY8" fmla="*/ 76200 h 3057525"/>
                <a:gd name="connsiteX0" fmla="*/ 266811 w 2200391"/>
                <a:gd name="connsiteY0" fmla="*/ 76200 h 3057525"/>
                <a:gd name="connsiteX1" fmla="*/ 276336 w 2200391"/>
                <a:gd name="connsiteY1" fmla="*/ 0 h 3057525"/>
                <a:gd name="connsiteX2" fmla="*/ 2200386 w 2200391"/>
                <a:gd name="connsiteY2" fmla="*/ 285750 h 3057525"/>
                <a:gd name="connsiteX3" fmla="*/ 847836 w 2200391"/>
                <a:gd name="connsiteY3" fmla="*/ 1447800 h 3057525"/>
                <a:gd name="connsiteX4" fmla="*/ 771636 w 2200391"/>
                <a:gd name="connsiteY4" fmla="*/ 3057525 h 3057525"/>
                <a:gd name="connsiteX5" fmla="*/ 85836 w 2200391"/>
                <a:gd name="connsiteY5" fmla="*/ 3057525 h 3057525"/>
                <a:gd name="connsiteX6" fmla="*/ 111 w 2200391"/>
                <a:gd name="connsiteY6" fmla="*/ 1495425 h 3057525"/>
                <a:gd name="connsiteX7" fmla="*/ 2042090 w 2200391"/>
                <a:gd name="connsiteY7" fmla="*/ 272588 h 3057525"/>
                <a:gd name="connsiteX8" fmla="*/ 266811 w 2200391"/>
                <a:gd name="connsiteY8" fmla="*/ 76200 h 3057525"/>
                <a:gd name="connsiteX0" fmla="*/ 364775 w 2200391"/>
                <a:gd name="connsiteY0" fmla="*/ 76200 h 3057525"/>
                <a:gd name="connsiteX1" fmla="*/ 276336 w 2200391"/>
                <a:gd name="connsiteY1" fmla="*/ 0 h 3057525"/>
                <a:gd name="connsiteX2" fmla="*/ 2200386 w 2200391"/>
                <a:gd name="connsiteY2" fmla="*/ 285750 h 3057525"/>
                <a:gd name="connsiteX3" fmla="*/ 847836 w 2200391"/>
                <a:gd name="connsiteY3" fmla="*/ 1447800 h 3057525"/>
                <a:gd name="connsiteX4" fmla="*/ 771636 w 2200391"/>
                <a:gd name="connsiteY4" fmla="*/ 3057525 h 3057525"/>
                <a:gd name="connsiteX5" fmla="*/ 85836 w 2200391"/>
                <a:gd name="connsiteY5" fmla="*/ 3057525 h 3057525"/>
                <a:gd name="connsiteX6" fmla="*/ 111 w 2200391"/>
                <a:gd name="connsiteY6" fmla="*/ 1495425 h 3057525"/>
                <a:gd name="connsiteX7" fmla="*/ 2042090 w 2200391"/>
                <a:gd name="connsiteY7" fmla="*/ 272588 h 3057525"/>
                <a:gd name="connsiteX8" fmla="*/ 364775 w 2200391"/>
                <a:gd name="connsiteY8" fmla="*/ 76200 h 3057525"/>
                <a:gd name="connsiteX0" fmla="*/ 364775 w 2200391"/>
                <a:gd name="connsiteY0" fmla="*/ 79836 h 3061161"/>
                <a:gd name="connsiteX1" fmla="*/ 363415 w 2200391"/>
                <a:gd name="connsiteY1" fmla="*/ 0 h 3061161"/>
                <a:gd name="connsiteX2" fmla="*/ 2200386 w 2200391"/>
                <a:gd name="connsiteY2" fmla="*/ 289386 h 3061161"/>
                <a:gd name="connsiteX3" fmla="*/ 847836 w 2200391"/>
                <a:gd name="connsiteY3" fmla="*/ 1451436 h 3061161"/>
                <a:gd name="connsiteX4" fmla="*/ 771636 w 2200391"/>
                <a:gd name="connsiteY4" fmla="*/ 3061161 h 3061161"/>
                <a:gd name="connsiteX5" fmla="*/ 85836 w 2200391"/>
                <a:gd name="connsiteY5" fmla="*/ 3061161 h 3061161"/>
                <a:gd name="connsiteX6" fmla="*/ 111 w 2200391"/>
                <a:gd name="connsiteY6" fmla="*/ 1499061 h 3061161"/>
                <a:gd name="connsiteX7" fmla="*/ 2042090 w 2200391"/>
                <a:gd name="connsiteY7" fmla="*/ 276224 h 3061161"/>
                <a:gd name="connsiteX8" fmla="*/ 364775 w 2200391"/>
                <a:gd name="connsiteY8" fmla="*/ 79836 h 3061161"/>
                <a:gd name="connsiteX0" fmla="*/ 364775 w 2200391"/>
                <a:gd name="connsiteY0" fmla="*/ 79836 h 3061161"/>
                <a:gd name="connsiteX1" fmla="*/ 348902 w 2200391"/>
                <a:gd name="connsiteY1" fmla="*/ 0 h 3061161"/>
                <a:gd name="connsiteX2" fmla="*/ 2200386 w 2200391"/>
                <a:gd name="connsiteY2" fmla="*/ 289386 h 3061161"/>
                <a:gd name="connsiteX3" fmla="*/ 847836 w 2200391"/>
                <a:gd name="connsiteY3" fmla="*/ 1451436 h 3061161"/>
                <a:gd name="connsiteX4" fmla="*/ 771636 w 2200391"/>
                <a:gd name="connsiteY4" fmla="*/ 3061161 h 3061161"/>
                <a:gd name="connsiteX5" fmla="*/ 85836 w 2200391"/>
                <a:gd name="connsiteY5" fmla="*/ 3061161 h 3061161"/>
                <a:gd name="connsiteX6" fmla="*/ 111 w 2200391"/>
                <a:gd name="connsiteY6" fmla="*/ 1499061 h 3061161"/>
                <a:gd name="connsiteX7" fmla="*/ 2042090 w 2200391"/>
                <a:gd name="connsiteY7" fmla="*/ 276224 h 3061161"/>
                <a:gd name="connsiteX8" fmla="*/ 364775 w 2200391"/>
                <a:gd name="connsiteY8" fmla="*/ 79836 h 3061161"/>
                <a:gd name="connsiteX0" fmla="*/ 335748 w 2200391"/>
                <a:gd name="connsiteY0" fmla="*/ 79836 h 3061161"/>
                <a:gd name="connsiteX1" fmla="*/ 348902 w 2200391"/>
                <a:gd name="connsiteY1" fmla="*/ 0 h 3061161"/>
                <a:gd name="connsiteX2" fmla="*/ 2200386 w 2200391"/>
                <a:gd name="connsiteY2" fmla="*/ 289386 h 3061161"/>
                <a:gd name="connsiteX3" fmla="*/ 847836 w 2200391"/>
                <a:gd name="connsiteY3" fmla="*/ 1451436 h 3061161"/>
                <a:gd name="connsiteX4" fmla="*/ 771636 w 2200391"/>
                <a:gd name="connsiteY4" fmla="*/ 3061161 h 3061161"/>
                <a:gd name="connsiteX5" fmla="*/ 85836 w 2200391"/>
                <a:gd name="connsiteY5" fmla="*/ 3061161 h 3061161"/>
                <a:gd name="connsiteX6" fmla="*/ 111 w 2200391"/>
                <a:gd name="connsiteY6" fmla="*/ 1499061 h 3061161"/>
                <a:gd name="connsiteX7" fmla="*/ 2042090 w 2200391"/>
                <a:gd name="connsiteY7" fmla="*/ 276224 h 3061161"/>
                <a:gd name="connsiteX8" fmla="*/ 335748 w 2200391"/>
                <a:gd name="connsiteY8" fmla="*/ 79836 h 3061161"/>
                <a:gd name="connsiteX0" fmla="*/ 350261 w 2200391"/>
                <a:gd name="connsiteY0" fmla="*/ 76199 h 3061161"/>
                <a:gd name="connsiteX1" fmla="*/ 348902 w 2200391"/>
                <a:gd name="connsiteY1" fmla="*/ 0 h 3061161"/>
                <a:gd name="connsiteX2" fmla="*/ 2200386 w 2200391"/>
                <a:gd name="connsiteY2" fmla="*/ 289386 h 3061161"/>
                <a:gd name="connsiteX3" fmla="*/ 847836 w 2200391"/>
                <a:gd name="connsiteY3" fmla="*/ 1451436 h 3061161"/>
                <a:gd name="connsiteX4" fmla="*/ 771636 w 2200391"/>
                <a:gd name="connsiteY4" fmla="*/ 3061161 h 3061161"/>
                <a:gd name="connsiteX5" fmla="*/ 85836 w 2200391"/>
                <a:gd name="connsiteY5" fmla="*/ 3061161 h 3061161"/>
                <a:gd name="connsiteX6" fmla="*/ 111 w 2200391"/>
                <a:gd name="connsiteY6" fmla="*/ 1499061 h 3061161"/>
                <a:gd name="connsiteX7" fmla="*/ 2042090 w 2200391"/>
                <a:gd name="connsiteY7" fmla="*/ 276224 h 3061161"/>
                <a:gd name="connsiteX8" fmla="*/ 350261 w 2200391"/>
                <a:gd name="connsiteY8" fmla="*/ 76199 h 3061161"/>
                <a:gd name="connsiteX0" fmla="*/ 350261 w 2200391"/>
                <a:gd name="connsiteY0" fmla="*/ 43468 h 3028430"/>
                <a:gd name="connsiteX1" fmla="*/ 345273 w 2200391"/>
                <a:gd name="connsiteY1" fmla="*/ 0 h 3028430"/>
                <a:gd name="connsiteX2" fmla="*/ 2200386 w 2200391"/>
                <a:gd name="connsiteY2" fmla="*/ 256655 h 3028430"/>
                <a:gd name="connsiteX3" fmla="*/ 847836 w 2200391"/>
                <a:gd name="connsiteY3" fmla="*/ 1418705 h 3028430"/>
                <a:gd name="connsiteX4" fmla="*/ 771636 w 2200391"/>
                <a:gd name="connsiteY4" fmla="*/ 3028430 h 3028430"/>
                <a:gd name="connsiteX5" fmla="*/ 85836 w 2200391"/>
                <a:gd name="connsiteY5" fmla="*/ 3028430 h 3028430"/>
                <a:gd name="connsiteX6" fmla="*/ 111 w 2200391"/>
                <a:gd name="connsiteY6" fmla="*/ 1466330 h 3028430"/>
                <a:gd name="connsiteX7" fmla="*/ 2042090 w 2200391"/>
                <a:gd name="connsiteY7" fmla="*/ 243493 h 3028430"/>
                <a:gd name="connsiteX8" fmla="*/ 350261 w 2200391"/>
                <a:gd name="connsiteY8" fmla="*/ 43468 h 3028430"/>
                <a:gd name="connsiteX0" fmla="*/ 350261 w 2200390"/>
                <a:gd name="connsiteY0" fmla="*/ 43468 h 3028430"/>
                <a:gd name="connsiteX1" fmla="*/ 345273 w 2200390"/>
                <a:gd name="connsiteY1" fmla="*/ 0 h 3028430"/>
                <a:gd name="connsiteX2" fmla="*/ 2200386 w 2200390"/>
                <a:gd name="connsiteY2" fmla="*/ 256655 h 3028430"/>
                <a:gd name="connsiteX3" fmla="*/ 201998 w 2200390"/>
                <a:gd name="connsiteY3" fmla="*/ 1487805 h 3028430"/>
                <a:gd name="connsiteX4" fmla="*/ 771636 w 2200390"/>
                <a:gd name="connsiteY4" fmla="*/ 3028430 h 3028430"/>
                <a:gd name="connsiteX5" fmla="*/ 85836 w 2200390"/>
                <a:gd name="connsiteY5" fmla="*/ 3028430 h 3028430"/>
                <a:gd name="connsiteX6" fmla="*/ 111 w 2200390"/>
                <a:gd name="connsiteY6" fmla="*/ 1466330 h 3028430"/>
                <a:gd name="connsiteX7" fmla="*/ 2042090 w 2200390"/>
                <a:gd name="connsiteY7" fmla="*/ 243493 h 3028430"/>
                <a:gd name="connsiteX8" fmla="*/ 350261 w 2200390"/>
                <a:gd name="connsiteY8" fmla="*/ 43468 h 3028430"/>
                <a:gd name="connsiteX0" fmla="*/ 350261 w 2200390"/>
                <a:gd name="connsiteY0" fmla="*/ 43468 h 3028430"/>
                <a:gd name="connsiteX1" fmla="*/ 345273 w 2200390"/>
                <a:gd name="connsiteY1" fmla="*/ 0 h 3028430"/>
                <a:gd name="connsiteX2" fmla="*/ 2200386 w 2200390"/>
                <a:gd name="connsiteY2" fmla="*/ 256655 h 3028430"/>
                <a:gd name="connsiteX3" fmla="*/ 201998 w 2200390"/>
                <a:gd name="connsiteY3" fmla="*/ 1487805 h 3028430"/>
                <a:gd name="connsiteX4" fmla="*/ 771636 w 2200390"/>
                <a:gd name="connsiteY4" fmla="*/ 3028430 h 3028430"/>
                <a:gd name="connsiteX5" fmla="*/ 85836 w 2200390"/>
                <a:gd name="connsiteY5" fmla="*/ 3028430 h 3028430"/>
                <a:gd name="connsiteX6" fmla="*/ 111 w 2200390"/>
                <a:gd name="connsiteY6" fmla="*/ 1466330 h 3028430"/>
                <a:gd name="connsiteX7" fmla="*/ 2042090 w 2200390"/>
                <a:gd name="connsiteY7" fmla="*/ 243493 h 3028430"/>
                <a:gd name="connsiteX8" fmla="*/ 350261 w 2200390"/>
                <a:gd name="connsiteY8" fmla="*/ 43468 h 3028430"/>
                <a:gd name="connsiteX0" fmla="*/ 350257 w 2200386"/>
                <a:gd name="connsiteY0" fmla="*/ 43468 h 3028430"/>
                <a:gd name="connsiteX1" fmla="*/ 345269 w 2200386"/>
                <a:gd name="connsiteY1" fmla="*/ 0 h 3028430"/>
                <a:gd name="connsiteX2" fmla="*/ 2200382 w 2200386"/>
                <a:gd name="connsiteY2" fmla="*/ 256655 h 3028430"/>
                <a:gd name="connsiteX3" fmla="*/ 201994 w 2200386"/>
                <a:gd name="connsiteY3" fmla="*/ 1487805 h 3028430"/>
                <a:gd name="connsiteX4" fmla="*/ 771632 w 2200386"/>
                <a:gd name="connsiteY4" fmla="*/ 3028430 h 3028430"/>
                <a:gd name="connsiteX5" fmla="*/ 85832 w 2200386"/>
                <a:gd name="connsiteY5" fmla="*/ 3028430 h 3028430"/>
                <a:gd name="connsiteX6" fmla="*/ 107 w 2200386"/>
                <a:gd name="connsiteY6" fmla="*/ 1466330 h 3028430"/>
                <a:gd name="connsiteX7" fmla="*/ 2042086 w 2200386"/>
                <a:gd name="connsiteY7" fmla="*/ 243493 h 3028430"/>
                <a:gd name="connsiteX8" fmla="*/ 350257 w 2200386"/>
                <a:gd name="connsiteY8" fmla="*/ 43468 h 3028430"/>
                <a:gd name="connsiteX0" fmla="*/ 350257 w 2564013"/>
                <a:gd name="connsiteY0" fmla="*/ 43468 h 3028430"/>
                <a:gd name="connsiteX1" fmla="*/ 345269 w 2564013"/>
                <a:gd name="connsiteY1" fmla="*/ 0 h 3028430"/>
                <a:gd name="connsiteX2" fmla="*/ 2200382 w 2564013"/>
                <a:gd name="connsiteY2" fmla="*/ 256655 h 3028430"/>
                <a:gd name="connsiteX3" fmla="*/ 201994 w 2564013"/>
                <a:gd name="connsiteY3" fmla="*/ 1487805 h 3028430"/>
                <a:gd name="connsiteX4" fmla="*/ 2564013 w 2564013"/>
                <a:gd name="connsiteY4" fmla="*/ 2333802 h 3028430"/>
                <a:gd name="connsiteX5" fmla="*/ 85832 w 2564013"/>
                <a:gd name="connsiteY5" fmla="*/ 3028430 h 3028430"/>
                <a:gd name="connsiteX6" fmla="*/ 107 w 2564013"/>
                <a:gd name="connsiteY6" fmla="*/ 1466330 h 3028430"/>
                <a:gd name="connsiteX7" fmla="*/ 2042086 w 2564013"/>
                <a:gd name="connsiteY7" fmla="*/ 243493 h 3028430"/>
                <a:gd name="connsiteX8" fmla="*/ 350257 w 2564013"/>
                <a:gd name="connsiteY8" fmla="*/ 43468 h 3028430"/>
                <a:gd name="connsiteX0" fmla="*/ 350257 w 2564013"/>
                <a:gd name="connsiteY0" fmla="*/ 43468 h 2435633"/>
                <a:gd name="connsiteX1" fmla="*/ 345269 w 2564013"/>
                <a:gd name="connsiteY1" fmla="*/ 0 h 2435633"/>
                <a:gd name="connsiteX2" fmla="*/ 2200382 w 2564013"/>
                <a:gd name="connsiteY2" fmla="*/ 256655 h 2435633"/>
                <a:gd name="connsiteX3" fmla="*/ 201994 w 2564013"/>
                <a:gd name="connsiteY3" fmla="*/ 1487805 h 2435633"/>
                <a:gd name="connsiteX4" fmla="*/ 2564013 w 2564013"/>
                <a:gd name="connsiteY4" fmla="*/ 2333802 h 2435633"/>
                <a:gd name="connsiteX5" fmla="*/ 2353520 w 2564013"/>
                <a:gd name="connsiteY5" fmla="*/ 2435633 h 2435633"/>
                <a:gd name="connsiteX6" fmla="*/ 107 w 2564013"/>
                <a:gd name="connsiteY6" fmla="*/ 1466330 h 2435633"/>
                <a:gd name="connsiteX7" fmla="*/ 2042086 w 2564013"/>
                <a:gd name="connsiteY7" fmla="*/ 243493 h 2435633"/>
                <a:gd name="connsiteX8" fmla="*/ 350257 w 2564013"/>
                <a:gd name="connsiteY8" fmla="*/ 43468 h 2435633"/>
                <a:gd name="connsiteX0" fmla="*/ 350257 w 2564013"/>
                <a:gd name="connsiteY0" fmla="*/ 43468 h 2435633"/>
                <a:gd name="connsiteX1" fmla="*/ 345269 w 2564013"/>
                <a:gd name="connsiteY1" fmla="*/ 0 h 2435633"/>
                <a:gd name="connsiteX2" fmla="*/ 2200382 w 2564013"/>
                <a:gd name="connsiteY2" fmla="*/ 256655 h 2435633"/>
                <a:gd name="connsiteX3" fmla="*/ 201994 w 2564013"/>
                <a:gd name="connsiteY3" fmla="*/ 1487805 h 2435633"/>
                <a:gd name="connsiteX4" fmla="*/ 2564013 w 2564013"/>
                <a:gd name="connsiteY4" fmla="*/ 2333802 h 2435633"/>
                <a:gd name="connsiteX5" fmla="*/ 2353520 w 2564013"/>
                <a:gd name="connsiteY5" fmla="*/ 2435633 h 2435633"/>
                <a:gd name="connsiteX6" fmla="*/ 107 w 2564013"/>
                <a:gd name="connsiteY6" fmla="*/ 1466330 h 2435633"/>
                <a:gd name="connsiteX7" fmla="*/ 2042086 w 2564013"/>
                <a:gd name="connsiteY7" fmla="*/ 243493 h 2435633"/>
                <a:gd name="connsiteX8" fmla="*/ 350257 w 2564013"/>
                <a:gd name="connsiteY8" fmla="*/ 43468 h 2435633"/>
                <a:gd name="connsiteX0" fmla="*/ 350257 w 2564013"/>
                <a:gd name="connsiteY0" fmla="*/ 43468 h 2435633"/>
                <a:gd name="connsiteX1" fmla="*/ 345269 w 2564013"/>
                <a:gd name="connsiteY1" fmla="*/ 0 h 2435633"/>
                <a:gd name="connsiteX2" fmla="*/ 2200382 w 2564013"/>
                <a:gd name="connsiteY2" fmla="*/ 256655 h 2435633"/>
                <a:gd name="connsiteX3" fmla="*/ 201994 w 2564013"/>
                <a:gd name="connsiteY3" fmla="*/ 1487805 h 2435633"/>
                <a:gd name="connsiteX4" fmla="*/ 2564013 w 2564013"/>
                <a:gd name="connsiteY4" fmla="*/ 2333802 h 2435633"/>
                <a:gd name="connsiteX5" fmla="*/ 2353520 w 2564013"/>
                <a:gd name="connsiteY5" fmla="*/ 2435633 h 2435633"/>
                <a:gd name="connsiteX6" fmla="*/ 107 w 2564013"/>
                <a:gd name="connsiteY6" fmla="*/ 1466330 h 2435633"/>
                <a:gd name="connsiteX7" fmla="*/ 2042086 w 2564013"/>
                <a:gd name="connsiteY7" fmla="*/ 243493 h 2435633"/>
                <a:gd name="connsiteX8" fmla="*/ 350257 w 2564013"/>
                <a:gd name="connsiteY8" fmla="*/ 43468 h 2435633"/>
                <a:gd name="connsiteX0" fmla="*/ 350257 w 2564013"/>
                <a:gd name="connsiteY0" fmla="*/ 43468 h 2435633"/>
                <a:gd name="connsiteX1" fmla="*/ 345269 w 2564013"/>
                <a:gd name="connsiteY1" fmla="*/ 0 h 2435633"/>
                <a:gd name="connsiteX2" fmla="*/ 2200382 w 2564013"/>
                <a:gd name="connsiteY2" fmla="*/ 256655 h 2435633"/>
                <a:gd name="connsiteX3" fmla="*/ 201994 w 2564013"/>
                <a:gd name="connsiteY3" fmla="*/ 1487805 h 2435633"/>
                <a:gd name="connsiteX4" fmla="*/ 2564013 w 2564013"/>
                <a:gd name="connsiteY4" fmla="*/ 2333802 h 2435633"/>
                <a:gd name="connsiteX5" fmla="*/ 2353520 w 2564013"/>
                <a:gd name="connsiteY5" fmla="*/ 2435633 h 2435633"/>
                <a:gd name="connsiteX6" fmla="*/ 107 w 2564013"/>
                <a:gd name="connsiteY6" fmla="*/ 1466330 h 2435633"/>
                <a:gd name="connsiteX7" fmla="*/ 2042086 w 2564013"/>
                <a:gd name="connsiteY7" fmla="*/ 243493 h 2435633"/>
                <a:gd name="connsiteX8" fmla="*/ 350257 w 2564013"/>
                <a:gd name="connsiteY8" fmla="*/ 43468 h 2435633"/>
                <a:gd name="connsiteX0" fmla="*/ 350257 w 2505960"/>
                <a:gd name="connsiteY0" fmla="*/ 43468 h 2435633"/>
                <a:gd name="connsiteX1" fmla="*/ 345269 w 2505960"/>
                <a:gd name="connsiteY1" fmla="*/ 0 h 2435633"/>
                <a:gd name="connsiteX2" fmla="*/ 2200382 w 2505960"/>
                <a:gd name="connsiteY2" fmla="*/ 256655 h 2435633"/>
                <a:gd name="connsiteX3" fmla="*/ 201994 w 2505960"/>
                <a:gd name="connsiteY3" fmla="*/ 1487805 h 2435633"/>
                <a:gd name="connsiteX4" fmla="*/ 2505960 w 2505960"/>
                <a:gd name="connsiteY4" fmla="*/ 2308345 h 2435633"/>
                <a:gd name="connsiteX5" fmla="*/ 2353520 w 2505960"/>
                <a:gd name="connsiteY5" fmla="*/ 2435633 h 2435633"/>
                <a:gd name="connsiteX6" fmla="*/ 107 w 2505960"/>
                <a:gd name="connsiteY6" fmla="*/ 1466330 h 2435633"/>
                <a:gd name="connsiteX7" fmla="*/ 2042086 w 2505960"/>
                <a:gd name="connsiteY7" fmla="*/ 243493 h 2435633"/>
                <a:gd name="connsiteX8" fmla="*/ 350257 w 2505960"/>
                <a:gd name="connsiteY8" fmla="*/ 43468 h 2435633"/>
                <a:gd name="connsiteX0" fmla="*/ 350257 w 2505960"/>
                <a:gd name="connsiteY0" fmla="*/ 43468 h 2435633"/>
                <a:gd name="connsiteX1" fmla="*/ 345269 w 2505960"/>
                <a:gd name="connsiteY1" fmla="*/ 0 h 2435633"/>
                <a:gd name="connsiteX2" fmla="*/ 2200382 w 2505960"/>
                <a:gd name="connsiteY2" fmla="*/ 256655 h 2435633"/>
                <a:gd name="connsiteX3" fmla="*/ 1068560 w 2505960"/>
                <a:gd name="connsiteY3" fmla="*/ 1363981 h 2435633"/>
                <a:gd name="connsiteX4" fmla="*/ 2505960 w 2505960"/>
                <a:gd name="connsiteY4" fmla="*/ 2308345 h 2435633"/>
                <a:gd name="connsiteX5" fmla="*/ 2353520 w 2505960"/>
                <a:gd name="connsiteY5" fmla="*/ 2435633 h 2435633"/>
                <a:gd name="connsiteX6" fmla="*/ 107 w 2505960"/>
                <a:gd name="connsiteY6" fmla="*/ 1466330 h 2435633"/>
                <a:gd name="connsiteX7" fmla="*/ 2042086 w 2505960"/>
                <a:gd name="connsiteY7" fmla="*/ 243493 h 2435633"/>
                <a:gd name="connsiteX8" fmla="*/ 350257 w 2505960"/>
                <a:gd name="connsiteY8" fmla="*/ 43468 h 2435633"/>
                <a:gd name="connsiteX0" fmla="*/ 4988 w 2160691"/>
                <a:gd name="connsiteY0" fmla="*/ 43468 h 2435633"/>
                <a:gd name="connsiteX1" fmla="*/ 0 w 2160691"/>
                <a:gd name="connsiteY1" fmla="*/ 0 h 2435633"/>
                <a:gd name="connsiteX2" fmla="*/ 1855113 w 2160691"/>
                <a:gd name="connsiteY2" fmla="*/ 256655 h 2435633"/>
                <a:gd name="connsiteX3" fmla="*/ 723291 w 2160691"/>
                <a:gd name="connsiteY3" fmla="*/ 1363981 h 2435633"/>
                <a:gd name="connsiteX4" fmla="*/ 2160691 w 2160691"/>
                <a:gd name="connsiteY4" fmla="*/ 2308345 h 2435633"/>
                <a:gd name="connsiteX5" fmla="*/ 2008251 w 2160691"/>
                <a:gd name="connsiteY5" fmla="*/ 2435633 h 2435633"/>
                <a:gd name="connsiteX6" fmla="*/ 502358 w 2160691"/>
                <a:gd name="connsiteY6" fmla="*/ 1342505 h 2435633"/>
                <a:gd name="connsiteX7" fmla="*/ 1696817 w 2160691"/>
                <a:gd name="connsiteY7" fmla="*/ 243493 h 2435633"/>
                <a:gd name="connsiteX8" fmla="*/ 4988 w 2160691"/>
                <a:gd name="connsiteY8" fmla="*/ 43468 h 2435633"/>
                <a:gd name="connsiteX0" fmla="*/ 4988 w 2160691"/>
                <a:gd name="connsiteY0" fmla="*/ 43468 h 2435633"/>
                <a:gd name="connsiteX1" fmla="*/ 0 w 2160691"/>
                <a:gd name="connsiteY1" fmla="*/ 0 h 2435633"/>
                <a:gd name="connsiteX2" fmla="*/ 1855113 w 2160691"/>
                <a:gd name="connsiteY2" fmla="*/ 256655 h 2435633"/>
                <a:gd name="connsiteX3" fmla="*/ 723291 w 2160691"/>
                <a:gd name="connsiteY3" fmla="*/ 1363981 h 2435633"/>
                <a:gd name="connsiteX4" fmla="*/ 2160691 w 2160691"/>
                <a:gd name="connsiteY4" fmla="*/ 2308345 h 2435633"/>
                <a:gd name="connsiteX5" fmla="*/ 2008251 w 2160691"/>
                <a:gd name="connsiteY5" fmla="*/ 2435633 h 2435633"/>
                <a:gd name="connsiteX6" fmla="*/ 502358 w 2160691"/>
                <a:gd name="connsiteY6" fmla="*/ 1342505 h 2435633"/>
                <a:gd name="connsiteX7" fmla="*/ 1696817 w 2160691"/>
                <a:gd name="connsiteY7" fmla="*/ 243493 h 2435633"/>
                <a:gd name="connsiteX8" fmla="*/ 4988 w 2160691"/>
                <a:gd name="connsiteY8" fmla="*/ 43468 h 2435633"/>
                <a:gd name="connsiteX0" fmla="*/ 4988 w 2236873"/>
                <a:gd name="connsiteY0" fmla="*/ 43468 h 2435633"/>
                <a:gd name="connsiteX1" fmla="*/ 0 w 2236873"/>
                <a:gd name="connsiteY1" fmla="*/ 0 h 2435633"/>
                <a:gd name="connsiteX2" fmla="*/ 1855113 w 2236873"/>
                <a:gd name="connsiteY2" fmla="*/ 256655 h 2435633"/>
                <a:gd name="connsiteX3" fmla="*/ 723291 w 2236873"/>
                <a:gd name="connsiteY3" fmla="*/ 1363981 h 2435633"/>
                <a:gd name="connsiteX4" fmla="*/ 2236873 w 2236873"/>
                <a:gd name="connsiteY4" fmla="*/ 1974971 h 2435633"/>
                <a:gd name="connsiteX5" fmla="*/ 2008251 w 2236873"/>
                <a:gd name="connsiteY5" fmla="*/ 2435633 h 2435633"/>
                <a:gd name="connsiteX6" fmla="*/ 502358 w 2236873"/>
                <a:gd name="connsiteY6" fmla="*/ 1342505 h 2435633"/>
                <a:gd name="connsiteX7" fmla="*/ 1696817 w 2236873"/>
                <a:gd name="connsiteY7" fmla="*/ 243493 h 2435633"/>
                <a:gd name="connsiteX8" fmla="*/ 4988 w 2236873"/>
                <a:gd name="connsiteY8" fmla="*/ 43468 h 2435633"/>
                <a:gd name="connsiteX0" fmla="*/ 4988 w 2236873"/>
                <a:gd name="connsiteY0" fmla="*/ 43468 h 2159408"/>
                <a:gd name="connsiteX1" fmla="*/ 0 w 2236873"/>
                <a:gd name="connsiteY1" fmla="*/ 0 h 2159408"/>
                <a:gd name="connsiteX2" fmla="*/ 1855113 w 2236873"/>
                <a:gd name="connsiteY2" fmla="*/ 256655 h 2159408"/>
                <a:gd name="connsiteX3" fmla="*/ 723291 w 2236873"/>
                <a:gd name="connsiteY3" fmla="*/ 1363981 h 2159408"/>
                <a:gd name="connsiteX4" fmla="*/ 2236873 w 2236873"/>
                <a:gd name="connsiteY4" fmla="*/ 1974971 h 2159408"/>
                <a:gd name="connsiteX5" fmla="*/ 2208228 w 2236873"/>
                <a:gd name="connsiteY5" fmla="*/ 2159408 h 2159408"/>
                <a:gd name="connsiteX6" fmla="*/ 502358 w 2236873"/>
                <a:gd name="connsiteY6" fmla="*/ 1342505 h 2159408"/>
                <a:gd name="connsiteX7" fmla="*/ 1696817 w 2236873"/>
                <a:gd name="connsiteY7" fmla="*/ 243493 h 2159408"/>
                <a:gd name="connsiteX8" fmla="*/ 4988 w 2236873"/>
                <a:gd name="connsiteY8" fmla="*/ 43468 h 2159408"/>
                <a:gd name="connsiteX0" fmla="*/ 4988 w 2255918"/>
                <a:gd name="connsiteY0" fmla="*/ 43468 h 2159408"/>
                <a:gd name="connsiteX1" fmla="*/ 0 w 2255918"/>
                <a:gd name="connsiteY1" fmla="*/ 0 h 2159408"/>
                <a:gd name="connsiteX2" fmla="*/ 1855113 w 2255918"/>
                <a:gd name="connsiteY2" fmla="*/ 256655 h 2159408"/>
                <a:gd name="connsiteX3" fmla="*/ 723291 w 2255918"/>
                <a:gd name="connsiteY3" fmla="*/ 1363981 h 2159408"/>
                <a:gd name="connsiteX4" fmla="*/ 2255918 w 2255918"/>
                <a:gd name="connsiteY4" fmla="*/ 1641597 h 2159408"/>
                <a:gd name="connsiteX5" fmla="*/ 2208228 w 2255918"/>
                <a:gd name="connsiteY5" fmla="*/ 2159408 h 2159408"/>
                <a:gd name="connsiteX6" fmla="*/ 502358 w 2255918"/>
                <a:gd name="connsiteY6" fmla="*/ 1342505 h 2159408"/>
                <a:gd name="connsiteX7" fmla="*/ 1696817 w 2255918"/>
                <a:gd name="connsiteY7" fmla="*/ 243493 h 2159408"/>
                <a:gd name="connsiteX8" fmla="*/ 4988 w 2255918"/>
                <a:gd name="connsiteY8" fmla="*/ 43468 h 2159408"/>
                <a:gd name="connsiteX0" fmla="*/ 4988 w 2265365"/>
                <a:gd name="connsiteY0" fmla="*/ 43468 h 1778409"/>
                <a:gd name="connsiteX1" fmla="*/ 0 w 2265365"/>
                <a:gd name="connsiteY1" fmla="*/ 0 h 1778409"/>
                <a:gd name="connsiteX2" fmla="*/ 1855113 w 2265365"/>
                <a:gd name="connsiteY2" fmla="*/ 256655 h 1778409"/>
                <a:gd name="connsiteX3" fmla="*/ 723291 w 2265365"/>
                <a:gd name="connsiteY3" fmla="*/ 1363981 h 1778409"/>
                <a:gd name="connsiteX4" fmla="*/ 2255918 w 2265365"/>
                <a:gd name="connsiteY4" fmla="*/ 1641597 h 1778409"/>
                <a:gd name="connsiteX5" fmla="*/ 2265365 w 2265365"/>
                <a:gd name="connsiteY5" fmla="*/ 1778409 h 1778409"/>
                <a:gd name="connsiteX6" fmla="*/ 502358 w 2265365"/>
                <a:gd name="connsiteY6" fmla="*/ 1342505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723291 w 2265365"/>
                <a:gd name="connsiteY3" fmla="*/ 1363981 h 1778409"/>
                <a:gd name="connsiteX4" fmla="*/ 2255918 w 2265365"/>
                <a:gd name="connsiteY4" fmla="*/ 1641597 h 1778409"/>
                <a:gd name="connsiteX5" fmla="*/ 2265365 w 2265365"/>
                <a:gd name="connsiteY5" fmla="*/ 1778409 h 1778409"/>
                <a:gd name="connsiteX6" fmla="*/ 502358 w 2265365"/>
                <a:gd name="connsiteY6" fmla="*/ 1342505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723291 w 2265365"/>
                <a:gd name="connsiteY3" fmla="*/ 1363981 h 1778409"/>
                <a:gd name="connsiteX4" fmla="*/ 2255918 w 2265365"/>
                <a:gd name="connsiteY4" fmla="*/ 1641597 h 1778409"/>
                <a:gd name="connsiteX5" fmla="*/ 2265365 w 2265365"/>
                <a:gd name="connsiteY5" fmla="*/ 1778409 h 1778409"/>
                <a:gd name="connsiteX6" fmla="*/ 502358 w 2265365"/>
                <a:gd name="connsiteY6" fmla="*/ 1342505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83004 w 2265365"/>
                <a:gd name="connsiteY3" fmla="*/ 1256818 h 1778409"/>
                <a:gd name="connsiteX4" fmla="*/ 2255918 w 2265365"/>
                <a:gd name="connsiteY4" fmla="*/ 1641597 h 1778409"/>
                <a:gd name="connsiteX5" fmla="*/ 2265365 w 2265365"/>
                <a:gd name="connsiteY5" fmla="*/ 1778409 h 1778409"/>
                <a:gd name="connsiteX6" fmla="*/ 502358 w 2265365"/>
                <a:gd name="connsiteY6" fmla="*/ 1342505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83004 w 2265365"/>
                <a:gd name="connsiteY3" fmla="*/ 1256818 h 1778409"/>
                <a:gd name="connsiteX4" fmla="*/ 2255918 w 2265365"/>
                <a:gd name="connsiteY4" fmla="*/ 1641597 h 1778409"/>
                <a:gd name="connsiteX5" fmla="*/ 2265365 w 2265365"/>
                <a:gd name="connsiteY5" fmla="*/ 1778409 h 1778409"/>
                <a:gd name="connsiteX6" fmla="*/ 854571 w 2265365"/>
                <a:gd name="connsiteY6" fmla="*/ 1274636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83004 w 2265365"/>
                <a:gd name="connsiteY3" fmla="*/ 1256818 h 1778409"/>
                <a:gd name="connsiteX4" fmla="*/ 2255918 w 2265365"/>
                <a:gd name="connsiteY4" fmla="*/ 1641597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18965 w 2265365"/>
                <a:gd name="connsiteY3" fmla="*/ 1049637 h 1778409"/>
                <a:gd name="connsiteX4" fmla="*/ 2255918 w 2265365"/>
                <a:gd name="connsiteY4" fmla="*/ 1641597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18965 w 2265365"/>
                <a:gd name="connsiteY3" fmla="*/ 1049637 h 1778409"/>
                <a:gd name="connsiteX4" fmla="*/ 2255918 w 2265365"/>
                <a:gd name="connsiteY4" fmla="*/ 1641597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29639 w 2265365"/>
                <a:gd name="connsiteY3" fmla="*/ 1046065 h 1778409"/>
                <a:gd name="connsiteX4" fmla="*/ 2255918 w 2265365"/>
                <a:gd name="connsiteY4" fmla="*/ 1641597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29639 w 2265365"/>
                <a:gd name="connsiteY3" fmla="*/ 1046065 h 1778409"/>
                <a:gd name="connsiteX4" fmla="*/ 2255918 w 2265365"/>
                <a:gd name="connsiteY4" fmla="*/ 1641597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29639 w 2265365"/>
                <a:gd name="connsiteY3" fmla="*/ 1046065 h 1778409"/>
                <a:gd name="connsiteX4" fmla="*/ 2252361 w 2265365"/>
                <a:gd name="connsiteY4" fmla="*/ 1677318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29639 w 2265365"/>
                <a:gd name="connsiteY3" fmla="*/ 1046065 h 1778409"/>
                <a:gd name="connsiteX4" fmla="*/ 2252361 w 2265365"/>
                <a:gd name="connsiteY4" fmla="*/ 1677318 h 1778409"/>
                <a:gd name="connsiteX5" fmla="*/ 2265365 w 2265365"/>
                <a:gd name="connsiteY5" fmla="*/ 1778409 h 1778409"/>
                <a:gd name="connsiteX6" fmla="*/ 829668 w 2265365"/>
                <a:gd name="connsiteY6" fmla="*/ 1028161 h 1778409"/>
                <a:gd name="connsiteX7" fmla="*/ 1696817 w 2265365"/>
                <a:gd name="connsiteY7" fmla="*/ 24349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29639 w 2265365"/>
                <a:gd name="connsiteY3" fmla="*/ 1046065 h 1778409"/>
                <a:gd name="connsiteX4" fmla="*/ 2252361 w 2265365"/>
                <a:gd name="connsiteY4" fmla="*/ 1677318 h 1778409"/>
                <a:gd name="connsiteX5" fmla="*/ 2265365 w 2265365"/>
                <a:gd name="connsiteY5" fmla="*/ 1778409 h 1778409"/>
                <a:gd name="connsiteX6" fmla="*/ 829668 w 2265365"/>
                <a:gd name="connsiteY6" fmla="*/ 1028161 h 1778409"/>
                <a:gd name="connsiteX7" fmla="*/ 1753740 w 2265365"/>
                <a:gd name="connsiteY7" fmla="*/ 261353 h 1778409"/>
                <a:gd name="connsiteX8" fmla="*/ 4988 w 2265365"/>
                <a:gd name="connsiteY8" fmla="*/ 43468 h 1778409"/>
                <a:gd name="connsiteX0" fmla="*/ 4988 w 2265365"/>
                <a:gd name="connsiteY0" fmla="*/ 43468 h 1778409"/>
                <a:gd name="connsiteX1" fmla="*/ 0 w 2265365"/>
                <a:gd name="connsiteY1" fmla="*/ 0 h 1778409"/>
                <a:gd name="connsiteX2" fmla="*/ 1855113 w 2265365"/>
                <a:gd name="connsiteY2" fmla="*/ 256655 h 1778409"/>
                <a:gd name="connsiteX3" fmla="*/ 929639 w 2265365"/>
                <a:gd name="connsiteY3" fmla="*/ 1046065 h 1778409"/>
                <a:gd name="connsiteX4" fmla="*/ 2252361 w 2265365"/>
                <a:gd name="connsiteY4" fmla="*/ 1677318 h 1778409"/>
                <a:gd name="connsiteX5" fmla="*/ 2265365 w 2265365"/>
                <a:gd name="connsiteY5" fmla="*/ 1778409 h 1778409"/>
                <a:gd name="connsiteX6" fmla="*/ 829668 w 2265365"/>
                <a:gd name="connsiteY6" fmla="*/ 1028161 h 1778409"/>
                <a:gd name="connsiteX7" fmla="*/ 1753740 w 2265365"/>
                <a:gd name="connsiteY7" fmla="*/ 261353 h 1778409"/>
                <a:gd name="connsiteX8" fmla="*/ 4988 w 2265365"/>
                <a:gd name="connsiteY8" fmla="*/ 43468 h 1778409"/>
                <a:gd name="connsiteX0" fmla="*/ 4988 w 2284380"/>
                <a:gd name="connsiteY0" fmla="*/ 43468 h 1778409"/>
                <a:gd name="connsiteX1" fmla="*/ 0 w 2284380"/>
                <a:gd name="connsiteY1" fmla="*/ 0 h 1778409"/>
                <a:gd name="connsiteX2" fmla="*/ 1855113 w 2284380"/>
                <a:gd name="connsiteY2" fmla="*/ 256655 h 1778409"/>
                <a:gd name="connsiteX3" fmla="*/ 929639 w 2284380"/>
                <a:gd name="connsiteY3" fmla="*/ 1046065 h 1778409"/>
                <a:gd name="connsiteX4" fmla="*/ 2284380 w 2284380"/>
                <a:gd name="connsiteY4" fmla="*/ 1441560 h 1778409"/>
                <a:gd name="connsiteX5" fmla="*/ 2265365 w 2284380"/>
                <a:gd name="connsiteY5" fmla="*/ 1778409 h 1778409"/>
                <a:gd name="connsiteX6" fmla="*/ 829668 w 2284380"/>
                <a:gd name="connsiteY6" fmla="*/ 1028161 h 1778409"/>
                <a:gd name="connsiteX7" fmla="*/ 1753740 w 2284380"/>
                <a:gd name="connsiteY7" fmla="*/ 261353 h 1778409"/>
                <a:gd name="connsiteX8" fmla="*/ 4988 w 2284380"/>
                <a:gd name="connsiteY8" fmla="*/ 43468 h 1778409"/>
                <a:gd name="connsiteX0" fmla="*/ 4988 w 2286710"/>
                <a:gd name="connsiteY0" fmla="*/ 43468 h 1503358"/>
                <a:gd name="connsiteX1" fmla="*/ 0 w 2286710"/>
                <a:gd name="connsiteY1" fmla="*/ 0 h 1503358"/>
                <a:gd name="connsiteX2" fmla="*/ 1855113 w 2286710"/>
                <a:gd name="connsiteY2" fmla="*/ 256655 h 1503358"/>
                <a:gd name="connsiteX3" fmla="*/ 929639 w 2286710"/>
                <a:gd name="connsiteY3" fmla="*/ 1046065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29639 w 2286710"/>
                <a:gd name="connsiteY3" fmla="*/ 1046065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29639 w 2286710"/>
                <a:gd name="connsiteY3" fmla="*/ 1046065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29639 w 2286710"/>
                <a:gd name="connsiteY3" fmla="*/ 1046065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29639 w 2286710"/>
                <a:gd name="connsiteY3" fmla="*/ 1046065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29639 w 2286710"/>
                <a:gd name="connsiteY3" fmla="*/ 1046065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4988 w 2286710"/>
                <a:gd name="connsiteY0" fmla="*/ 43468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4988 w 2286710"/>
                <a:gd name="connsiteY8" fmla="*/ 43468 h 1503358"/>
                <a:gd name="connsiteX0" fmla="*/ 14 w 2295966"/>
                <a:gd name="connsiteY0" fmla="*/ 39896 h 1503358"/>
                <a:gd name="connsiteX1" fmla="*/ 9256 w 2295966"/>
                <a:gd name="connsiteY1" fmla="*/ 0 h 1503358"/>
                <a:gd name="connsiteX2" fmla="*/ 1864369 w 2295966"/>
                <a:gd name="connsiteY2" fmla="*/ 256655 h 1503358"/>
                <a:gd name="connsiteX3" fmla="*/ 921106 w 2295966"/>
                <a:gd name="connsiteY3" fmla="*/ 1038920 h 1503358"/>
                <a:gd name="connsiteX4" fmla="*/ 2293636 w 2295966"/>
                <a:gd name="connsiteY4" fmla="*/ 1441560 h 1503358"/>
                <a:gd name="connsiteX5" fmla="*/ 2295966 w 2295966"/>
                <a:gd name="connsiteY5" fmla="*/ 1503358 h 1503358"/>
                <a:gd name="connsiteX6" fmla="*/ 838924 w 2295966"/>
                <a:gd name="connsiteY6" fmla="*/ 1028161 h 1503358"/>
                <a:gd name="connsiteX7" fmla="*/ 1762996 w 2295966"/>
                <a:gd name="connsiteY7" fmla="*/ 261353 h 1503358"/>
                <a:gd name="connsiteX8" fmla="*/ 14 w 2295966"/>
                <a:gd name="connsiteY8" fmla="*/ 39896 h 1503358"/>
                <a:gd name="connsiteX0" fmla="*/ 1431 w 2286710"/>
                <a:gd name="connsiteY0" fmla="*/ 32752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1431 w 2286710"/>
                <a:gd name="connsiteY8" fmla="*/ 32752 h 1503358"/>
                <a:gd name="connsiteX0" fmla="*/ 1431 w 2286710"/>
                <a:gd name="connsiteY0" fmla="*/ 32752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29668 w 2286710"/>
                <a:gd name="connsiteY6" fmla="*/ 1028161 h 1503358"/>
                <a:gd name="connsiteX7" fmla="*/ 1753740 w 2286710"/>
                <a:gd name="connsiteY7" fmla="*/ 261353 h 1503358"/>
                <a:gd name="connsiteX8" fmla="*/ 1431 w 2286710"/>
                <a:gd name="connsiteY8" fmla="*/ 32752 h 1503358"/>
                <a:gd name="connsiteX0" fmla="*/ 1431 w 2286710"/>
                <a:gd name="connsiteY0" fmla="*/ 32752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08322 w 2286710"/>
                <a:gd name="connsiteY6" fmla="*/ 1028161 h 1503358"/>
                <a:gd name="connsiteX7" fmla="*/ 1753740 w 2286710"/>
                <a:gd name="connsiteY7" fmla="*/ 261353 h 1503358"/>
                <a:gd name="connsiteX8" fmla="*/ 1431 w 2286710"/>
                <a:gd name="connsiteY8" fmla="*/ 32752 h 1503358"/>
                <a:gd name="connsiteX0" fmla="*/ 1431 w 2286710"/>
                <a:gd name="connsiteY0" fmla="*/ 32752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08322 w 2286710"/>
                <a:gd name="connsiteY6" fmla="*/ 1028161 h 1503358"/>
                <a:gd name="connsiteX7" fmla="*/ 1775087 w 2286710"/>
                <a:gd name="connsiteY7" fmla="*/ 243492 h 1503358"/>
                <a:gd name="connsiteX8" fmla="*/ 1431 w 2286710"/>
                <a:gd name="connsiteY8" fmla="*/ 32752 h 1503358"/>
                <a:gd name="connsiteX0" fmla="*/ 1431 w 2286710"/>
                <a:gd name="connsiteY0" fmla="*/ 32752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08322 w 2286710"/>
                <a:gd name="connsiteY6" fmla="*/ 1028161 h 1503358"/>
                <a:gd name="connsiteX7" fmla="*/ 1775087 w 2286710"/>
                <a:gd name="connsiteY7" fmla="*/ 243492 h 1503358"/>
                <a:gd name="connsiteX8" fmla="*/ 1431 w 2286710"/>
                <a:gd name="connsiteY8" fmla="*/ 32752 h 1503358"/>
                <a:gd name="connsiteX0" fmla="*/ 1431 w 2286710"/>
                <a:gd name="connsiteY0" fmla="*/ 32752 h 1503358"/>
                <a:gd name="connsiteX1" fmla="*/ 0 w 2286710"/>
                <a:gd name="connsiteY1" fmla="*/ 0 h 1503358"/>
                <a:gd name="connsiteX2" fmla="*/ 1855113 w 2286710"/>
                <a:gd name="connsiteY2" fmla="*/ 256655 h 1503358"/>
                <a:gd name="connsiteX3" fmla="*/ 911850 w 2286710"/>
                <a:gd name="connsiteY3" fmla="*/ 1038920 h 1503358"/>
                <a:gd name="connsiteX4" fmla="*/ 2284380 w 2286710"/>
                <a:gd name="connsiteY4" fmla="*/ 1441560 h 1503358"/>
                <a:gd name="connsiteX5" fmla="*/ 2286710 w 2286710"/>
                <a:gd name="connsiteY5" fmla="*/ 1503358 h 1503358"/>
                <a:gd name="connsiteX6" fmla="*/ 808322 w 2286710"/>
                <a:gd name="connsiteY6" fmla="*/ 1028161 h 1503358"/>
                <a:gd name="connsiteX7" fmla="*/ 1775087 w 2286710"/>
                <a:gd name="connsiteY7" fmla="*/ 243492 h 1503358"/>
                <a:gd name="connsiteX8" fmla="*/ 1431 w 2286710"/>
                <a:gd name="connsiteY8" fmla="*/ 32752 h 1503358"/>
                <a:gd name="connsiteX0" fmla="*/ 1431 w 2286710"/>
                <a:gd name="connsiteY0" fmla="*/ 22036 h 1492642"/>
                <a:gd name="connsiteX1" fmla="*/ 0 w 2286710"/>
                <a:gd name="connsiteY1" fmla="*/ 0 h 1492642"/>
                <a:gd name="connsiteX2" fmla="*/ 1855113 w 2286710"/>
                <a:gd name="connsiteY2" fmla="*/ 245939 h 1492642"/>
                <a:gd name="connsiteX3" fmla="*/ 911850 w 2286710"/>
                <a:gd name="connsiteY3" fmla="*/ 1028204 h 1492642"/>
                <a:gd name="connsiteX4" fmla="*/ 2284380 w 2286710"/>
                <a:gd name="connsiteY4" fmla="*/ 1430844 h 1492642"/>
                <a:gd name="connsiteX5" fmla="*/ 2286710 w 2286710"/>
                <a:gd name="connsiteY5" fmla="*/ 1492642 h 1492642"/>
                <a:gd name="connsiteX6" fmla="*/ 808322 w 2286710"/>
                <a:gd name="connsiteY6" fmla="*/ 1017445 h 1492642"/>
                <a:gd name="connsiteX7" fmla="*/ 1775087 w 2286710"/>
                <a:gd name="connsiteY7" fmla="*/ 232776 h 1492642"/>
                <a:gd name="connsiteX8" fmla="*/ 1431 w 2286710"/>
                <a:gd name="connsiteY8" fmla="*/ 22036 h 1492642"/>
                <a:gd name="connsiteX0" fmla="*/ 1431 w 2286710"/>
                <a:gd name="connsiteY0" fmla="*/ 22036 h 1492642"/>
                <a:gd name="connsiteX1" fmla="*/ 0 w 2286710"/>
                <a:gd name="connsiteY1" fmla="*/ 0 h 1492642"/>
                <a:gd name="connsiteX2" fmla="*/ 1855113 w 2286710"/>
                <a:gd name="connsiteY2" fmla="*/ 245939 h 1492642"/>
                <a:gd name="connsiteX3" fmla="*/ 911850 w 2286710"/>
                <a:gd name="connsiteY3" fmla="*/ 1028204 h 1492642"/>
                <a:gd name="connsiteX4" fmla="*/ 2284380 w 2286710"/>
                <a:gd name="connsiteY4" fmla="*/ 1430844 h 1492642"/>
                <a:gd name="connsiteX5" fmla="*/ 2286710 w 2286710"/>
                <a:gd name="connsiteY5" fmla="*/ 1492642 h 1492642"/>
                <a:gd name="connsiteX6" fmla="*/ 808322 w 2286710"/>
                <a:gd name="connsiteY6" fmla="*/ 1017445 h 1492642"/>
                <a:gd name="connsiteX7" fmla="*/ 1775087 w 2286710"/>
                <a:gd name="connsiteY7" fmla="*/ 232776 h 1492642"/>
                <a:gd name="connsiteX8" fmla="*/ 1431 w 2286710"/>
                <a:gd name="connsiteY8" fmla="*/ 22036 h 1492642"/>
                <a:gd name="connsiteX0" fmla="*/ 1431 w 2286710"/>
                <a:gd name="connsiteY0" fmla="*/ 22036 h 1492642"/>
                <a:gd name="connsiteX1" fmla="*/ 0 w 2286710"/>
                <a:gd name="connsiteY1" fmla="*/ 0 h 1492642"/>
                <a:gd name="connsiteX2" fmla="*/ 1855113 w 2286710"/>
                <a:gd name="connsiteY2" fmla="*/ 245939 h 1492642"/>
                <a:gd name="connsiteX3" fmla="*/ 911850 w 2286710"/>
                <a:gd name="connsiteY3" fmla="*/ 1028204 h 1492642"/>
                <a:gd name="connsiteX4" fmla="*/ 2280822 w 2286710"/>
                <a:gd name="connsiteY4" fmla="*/ 1412983 h 1492642"/>
                <a:gd name="connsiteX5" fmla="*/ 2286710 w 2286710"/>
                <a:gd name="connsiteY5" fmla="*/ 1492642 h 1492642"/>
                <a:gd name="connsiteX6" fmla="*/ 808322 w 2286710"/>
                <a:gd name="connsiteY6" fmla="*/ 1017445 h 1492642"/>
                <a:gd name="connsiteX7" fmla="*/ 1775087 w 2286710"/>
                <a:gd name="connsiteY7" fmla="*/ 232776 h 1492642"/>
                <a:gd name="connsiteX8" fmla="*/ 1431 w 2286710"/>
                <a:gd name="connsiteY8" fmla="*/ 22036 h 1492642"/>
                <a:gd name="connsiteX0" fmla="*/ 1431 w 2286710"/>
                <a:gd name="connsiteY0" fmla="*/ 22036 h 1492642"/>
                <a:gd name="connsiteX1" fmla="*/ 0 w 2286710"/>
                <a:gd name="connsiteY1" fmla="*/ 0 h 1492642"/>
                <a:gd name="connsiteX2" fmla="*/ 1855113 w 2286710"/>
                <a:gd name="connsiteY2" fmla="*/ 245939 h 1492642"/>
                <a:gd name="connsiteX3" fmla="*/ 911850 w 2286710"/>
                <a:gd name="connsiteY3" fmla="*/ 1028204 h 1492642"/>
                <a:gd name="connsiteX4" fmla="*/ 2280822 w 2286710"/>
                <a:gd name="connsiteY4" fmla="*/ 1412983 h 1492642"/>
                <a:gd name="connsiteX5" fmla="*/ 2286710 w 2286710"/>
                <a:gd name="connsiteY5" fmla="*/ 1492642 h 1492642"/>
                <a:gd name="connsiteX6" fmla="*/ 808322 w 2286710"/>
                <a:gd name="connsiteY6" fmla="*/ 1017445 h 1492642"/>
                <a:gd name="connsiteX7" fmla="*/ 1775087 w 2286710"/>
                <a:gd name="connsiteY7" fmla="*/ 232776 h 1492642"/>
                <a:gd name="connsiteX8" fmla="*/ 1431 w 2286710"/>
                <a:gd name="connsiteY8" fmla="*/ 22036 h 1492642"/>
                <a:gd name="connsiteX0" fmla="*/ 1431 w 2286710"/>
                <a:gd name="connsiteY0" fmla="*/ 22036 h 1492642"/>
                <a:gd name="connsiteX1" fmla="*/ 0 w 2286710"/>
                <a:gd name="connsiteY1" fmla="*/ 0 h 1492642"/>
                <a:gd name="connsiteX2" fmla="*/ 1855113 w 2286710"/>
                <a:gd name="connsiteY2" fmla="*/ 245939 h 1492642"/>
                <a:gd name="connsiteX3" fmla="*/ 911850 w 2286710"/>
                <a:gd name="connsiteY3" fmla="*/ 1028204 h 1492642"/>
                <a:gd name="connsiteX4" fmla="*/ 2277264 w 2286710"/>
                <a:gd name="connsiteY4" fmla="*/ 1402266 h 1492642"/>
                <a:gd name="connsiteX5" fmla="*/ 2286710 w 2286710"/>
                <a:gd name="connsiteY5" fmla="*/ 1492642 h 1492642"/>
                <a:gd name="connsiteX6" fmla="*/ 808322 w 2286710"/>
                <a:gd name="connsiteY6" fmla="*/ 1017445 h 1492642"/>
                <a:gd name="connsiteX7" fmla="*/ 1775087 w 2286710"/>
                <a:gd name="connsiteY7" fmla="*/ 232776 h 1492642"/>
                <a:gd name="connsiteX8" fmla="*/ 1431 w 2286710"/>
                <a:gd name="connsiteY8" fmla="*/ 22036 h 1492642"/>
                <a:gd name="connsiteX0" fmla="*/ 1431 w 2288075"/>
                <a:gd name="connsiteY0" fmla="*/ 22036 h 1492642"/>
                <a:gd name="connsiteX1" fmla="*/ 0 w 2288075"/>
                <a:gd name="connsiteY1" fmla="*/ 0 h 1492642"/>
                <a:gd name="connsiteX2" fmla="*/ 1855113 w 2288075"/>
                <a:gd name="connsiteY2" fmla="*/ 245939 h 1492642"/>
                <a:gd name="connsiteX3" fmla="*/ 911850 w 2288075"/>
                <a:gd name="connsiteY3" fmla="*/ 1028204 h 1492642"/>
                <a:gd name="connsiteX4" fmla="*/ 2287937 w 2288075"/>
                <a:gd name="connsiteY4" fmla="*/ 1402266 h 1492642"/>
                <a:gd name="connsiteX5" fmla="*/ 2286710 w 2288075"/>
                <a:gd name="connsiteY5" fmla="*/ 1492642 h 1492642"/>
                <a:gd name="connsiteX6" fmla="*/ 808322 w 2288075"/>
                <a:gd name="connsiteY6" fmla="*/ 1017445 h 1492642"/>
                <a:gd name="connsiteX7" fmla="*/ 1775087 w 2288075"/>
                <a:gd name="connsiteY7" fmla="*/ 232776 h 1492642"/>
                <a:gd name="connsiteX8" fmla="*/ 1431 w 2288075"/>
                <a:gd name="connsiteY8" fmla="*/ 22036 h 149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075" h="1492642">
                  <a:moveTo>
                    <a:pt x="1431" y="22036"/>
                  </a:moveTo>
                  <a:cubicBezTo>
                    <a:pt x="978" y="-4576"/>
                    <a:pt x="453" y="26612"/>
                    <a:pt x="0" y="0"/>
                  </a:cubicBezTo>
                  <a:cubicBezTo>
                    <a:pt x="320288" y="1618"/>
                    <a:pt x="1801364" y="-2503"/>
                    <a:pt x="1855113" y="245939"/>
                  </a:cubicBezTo>
                  <a:cubicBezTo>
                    <a:pt x="1858288" y="699964"/>
                    <a:pt x="855310" y="577751"/>
                    <a:pt x="911850" y="1028204"/>
                  </a:cubicBezTo>
                  <a:cubicBezTo>
                    <a:pt x="941724" y="1250752"/>
                    <a:pt x="1326933" y="1391642"/>
                    <a:pt x="2287937" y="1402266"/>
                  </a:cubicBezTo>
                  <a:cubicBezTo>
                    <a:pt x="2288714" y="1422865"/>
                    <a:pt x="2285933" y="1472043"/>
                    <a:pt x="2286710" y="1492642"/>
                  </a:cubicBezTo>
                  <a:cubicBezTo>
                    <a:pt x="1907428" y="1478956"/>
                    <a:pt x="825785" y="1512745"/>
                    <a:pt x="808322" y="1017445"/>
                  </a:cubicBezTo>
                  <a:cubicBezTo>
                    <a:pt x="790860" y="522145"/>
                    <a:pt x="1907383" y="588771"/>
                    <a:pt x="1775087" y="232776"/>
                  </a:cubicBezTo>
                  <a:cubicBezTo>
                    <a:pt x="1753996" y="75765"/>
                    <a:pt x="740741" y="41433"/>
                    <a:pt x="1431" y="22036"/>
                  </a:cubicBezTo>
                  <a:close/>
                </a:path>
              </a:pathLst>
            </a:custGeom>
            <a:solidFill>
              <a:schemeClr val="accent3"/>
            </a:solidFill>
            <a:ln>
              <a:noFill/>
            </a:ln>
            <a:scene3d>
              <a:camera prst="perspectiveRelaxed">
                <a:rot lat="17973601"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endParaRPr kumimoji="0" lang="en-US" sz="1100" b="0" i="0" u="none" strike="noStrike" kern="0" cap="none" spc="0" normalizeH="0" baseline="0" noProof="0">
                <a:ln>
                  <a:noFill/>
                </a:ln>
                <a:solidFill>
                  <a:prstClr val="white"/>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A4A988B5-F419-2193-ACCE-35ED47143D42}"/>
                </a:ext>
              </a:extLst>
            </p:cNvPr>
            <p:cNvSpPr/>
            <p:nvPr/>
          </p:nvSpPr>
          <p:spPr>
            <a:xfrm>
              <a:off x="3345228" y="2961073"/>
              <a:ext cx="1835086" cy="461665"/>
            </a:xfrm>
            <a:prstGeom prst="rect">
              <a:avLst/>
            </a:prstGeom>
          </p:spPr>
          <p:txBody>
            <a:bodyPr wrap="square">
              <a:spAutoFit/>
            </a:bodyPr>
            <a:lstStyle/>
            <a:p>
              <a:pPr marL="0" marR="0" lvl="0" indent="0" algn="ctr" defTabSz="439298" rtl="0" eaLnBrk="1" fontAlgn="auto" latinLnBrk="0" hangingPunct="1">
                <a:lnSpc>
                  <a:spcPct val="100000"/>
                </a:lnSpc>
                <a:spcBef>
                  <a:spcPts val="0"/>
                </a:spcBef>
                <a:spcAft>
                  <a:spcPts val="0"/>
                </a:spcAft>
                <a:buClr>
                  <a:srgbClr val="009999"/>
                </a:buClr>
                <a:buSzTx/>
                <a:buFontTx/>
                <a:buNone/>
                <a:tabLst/>
                <a:defRPr/>
              </a:pPr>
              <a:r>
                <a:rPr kumimoji="0" lang="de-DE" sz="1600" b="1" i="0" u="none" strike="noStrike" kern="0" cap="none" spc="0" normalizeH="0" baseline="0" noProof="0">
                  <a:ln>
                    <a:noFill/>
                  </a:ln>
                  <a:solidFill>
                    <a:prstClr val="white"/>
                  </a:solidFill>
                  <a:effectLst/>
                  <a:uLnTx/>
                  <a:uFillTx/>
                  <a:latin typeface="Arial"/>
                  <a:ea typeface="+mn-ea"/>
                  <a:cs typeface="+mn-cs"/>
                  <a:sym typeface="Times New Roman" pitchFamily="18" charset="0"/>
                </a:rPr>
                <a:t>FEED</a:t>
              </a:r>
            </a:p>
            <a:p>
              <a:pPr marL="0" marR="0" lvl="0" indent="0" algn="ctr" defTabSz="439298" rtl="0" eaLnBrk="1" fontAlgn="auto" latinLnBrk="0" hangingPunct="1">
                <a:lnSpc>
                  <a:spcPct val="100000"/>
                </a:lnSpc>
                <a:spcBef>
                  <a:spcPts val="0"/>
                </a:spcBef>
                <a:spcAft>
                  <a:spcPts val="0"/>
                </a:spcAft>
                <a:buClr>
                  <a:srgbClr val="009999"/>
                </a:buClr>
                <a:buSzTx/>
                <a:buFontTx/>
                <a:buNone/>
                <a:tabLst/>
                <a:defRPr/>
              </a:pPr>
              <a:r>
                <a:rPr kumimoji="0" lang="de-DE" sz="700" b="1" i="0" u="none" strike="noStrike" kern="0" cap="none" spc="0" normalizeH="0" baseline="0" noProof="0">
                  <a:ln>
                    <a:noFill/>
                  </a:ln>
                  <a:solidFill>
                    <a:prstClr val="white"/>
                  </a:solidFill>
                  <a:effectLst/>
                  <a:uLnTx/>
                  <a:uFillTx/>
                  <a:latin typeface="Arial"/>
                  <a:ea typeface="+mn-ea"/>
                  <a:cs typeface="+mn-cs"/>
                  <a:sym typeface="Times New Roman" pitchFamily="18" charset="0"/>
                </a:rPr>
                <a:t>Front End Engineering Design</a:t>
              </a:r>
            </a:p>
          </p:txBody>
        </p:sp>
        <p:sp>
          <p:nvSpPr>
            <p:cNvPr id="79" name="Rectangle 78">
              <a:extLst>
                <a:ext uri="{FF2B5EF4-FFF2-40B4-BE49-F238E27FC236}">
                  <a16:creationId xmlns:a16="http://schemas.microsoft.com/office/drawing/2014/main" id="{19D71E50-BD19-BAAA-4327-7214C4ADF368}"/>
                </a:ext>
              </a:extLst>
            </p:cNvPr>
            <p:cNvSpPr/>
            <p:nvPr/>
          </p:nvSpPr>
          <p:spPr>
            <a:xfrm>
              <a:off x="4393691" y="3009861"/>
              <a:ext cx="2586823" cy="338554"/>
            </a:xfrm>
            <a:prstGeom prst="rect">
              <a:avLst/>
            </a:prstGeom>
          </p:spPr>
          <p:txBody>
            <a:bodyPr wrap="square">
              <a:spAutoFit/>
            </a:bodyPr>
            <a:lstStyle/>
            <a:p>
              <a:pPr marL="0" marR="0" lvl="0" indent="0" algn="ctr" defTabSz="439298" rtl="0" eaLnBrk="1" fontAlgn="auto" latinLnBrk="0" hangingPunct="1">
                <a:lnSpc>
                  <a:spcPct val="100000"/>
                </a:lnSpc>
                <a:spcBef>
                  <a:spcPts val="0"/>
                </a:spcBef>
                <a:spcAft>
                  <a:spcPts val="0"/>
                </a:spcAft>
                <a:buClr>
                  <a:srgbClr val="009999"/>
                </a:buClr>
                <a:buSzTx/>
                <a:buFontTx/>
                <a:buNone/>
                <a:tabLst/>
                <a:defRPr/>
              </a:pPr>
              <a:r>
                <a:rPr kumimoji="0" lang="de-DE" sz="1600" b="1" i="0" u="none" strike="noStrike" kern="0" cap="none" spc="0" normalizeH="0" baseline="0" noProof="0">
                  <a:ln>
                    <a:noFill/>
                  </a:ln>
                  <a:solidFill>
                    <a:prstClr val="white"/>
                  </a:solidFill>
                  <a:effectLst/>
                  <a:uLnTx/>
                  <a:uFillTx/>
                  <a:latin typeface="Arial"/>
                  <a:ea typeface="+mn-ea"/>
                  <a:cs typeface="+mn-cs"/>
                  <a:sym typeface="Times New Roman" pitchFamily="18" charset="0"/>
                </a:rPr>
                <a:t>Detailed Eng</a:t>
              </a:r>
            </a:p>
          </p:txBody>
        </p:sp>
        <p:sp>
          <p:nvSpPr>
            <p:cNvPr id="81" name="TextBox 80">
              <a:extLst>
                <a:ext uri="{FF2B5EF4-FFF2-40B4-BE49-F238E27FC236}">
                  <a16:creationId xmlns:a16="http://schemas.microsoft.com/office/drawing/2014/main" id="{F95D4B61-C47B-31A6-9F48-7F0DFBBAA87D}"/>
                </a:ext>
              </a:extLst>
            </p:cNvPr>
            <p:cNvSpPr txBox="1"/>
            <p:nvPr/>
          </p:nvSpPr>
          <p:spPr>
            <a:xfrm>
              <a:off x="6746314" y="3680147"/>
              <a:ext cx="66684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mn-cs"/>
                </a:rPr>
                <a:t>Procure</a:t>
              </a:r>
            </a:p>
          </p:txBody>
        </p:sp>
        <p:sp>
          <p:nvSpPr>
            <p:cNvPr id="82" name="TextBox 81">
              <a:extLst>
                <a:ext uri="{FF2B5EF4-FFF2-40B4-BE49-F238E27FC236}">
                  <a16:creationId xmlns:a16="http://schemas.microsoft.com/office/drawing/2014/main" id="{90DEDFF8-2AAE-F6C9-1B8C-82A7787100B3}"/>
                </a:ext>
              </a:extLst>
            </p:cNvPr>
            <p:cNvSpPr txBox="1"/>
            <p:nvPr/>
          </p:nvSpPr>
          <p:spPr>
            <a:xfrm>
              <a:off x="4534409" y="4060336"/>
              <a:ext cx="82394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mn-cs"/>
                </a:rPr>
                <a:t>Construct</a:t>
              </a:r>
            </a:p>
          </p:txBody>
        </p:sp>
        <p:sp>
          <p:nvSpPr>
            <p:cNvPr id="83" name="TextBox 82">
              <a:extLst>
                <a:ext uri="{FF2B5EF4-FFF2-40B4-BE49-F238E27FC236}">
                  <a16:creationId xmlns:a16="http://schemas.microsoft.com/office/drawing/2014/main" id="{CBDD0084-F38D-B044-819C-76062D5CC655}"/>
                </a:ext>
              </a:extLst>
            </p:cNvPr>
            <p:cNvSpPr txBox="1"/>
            <p:nvPr/>
          </p:nvSpPr>
          <p:spPr>
            <a:xfrm>
              <a:off x="3953889" y="5057627"/>
              <a:ext cx="103714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mn-cs"/>
                </a:rPr>
                <a:t>Commission</a:t>
              </a:r>
            </a:p>
          </p:txBody>
        </p:sp>
        <p:sp>
          <p:nvSpPr>
            <p:cNvPr id="84" name="TextBox 83">
              <a:extLst>
                <a:ext uri="{FF2B5EF4-FFF2-40B4-BE49-F238E27FC236}">
                  <a16:creationId xmlns:a16="http://schemas.microsoft.com/office/drawing/2014/main" id="{6F9991FE-A10F-D828-8AAE-E4667B62F1BB}"/>
                </a:ext>
              </a:extLst>
            </p:cNvPr>
            <p:cNvSpPr txBox="1"/>
            <p:nvPr/>
          </p:nvSpPr>
          <p:spPr>
            <a:xfrm>
              <a:off x="5884867" y="5251281"/>
              <a:ext cx="69730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mn-cs"/>
                </a:rPr>
                <a:t>Start-up</a:t>
              </a:r>
            </a:p>
          </p:txBody>
        </p:sp>
        <p:sp>
          <p:nvSpPr>
            <p:cNvPr id="85" name="TextBox 84">
              <a:extLst>
                <a:ext uri="{FF2B5EF4-FFF2-40B4-BE49-F238E27FC236}">
                  <a16:creationId xmlns:a16="http://schemas.microsoft.com/office/drawing/2014/main" id="{A58C2D2E-246F-4508-A9B1-C84D05DAAB83}"/>
                </a:ext>
              </a:extLst>
            </p:cNvPr>
            <p:cNvSpPr txBox="1"/>
            <p:nvPr/>
          </p:nvSpPr>
          <p:spPr>
            <a:xfrm>
              <a:off x="7387588" y="5438382"/>
              <a:ext cx="171040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mn-cs"/>
                </a:rPr>
                <a:t>Operate &amp; Maintain</a:t>
              </a:r>
            </a:p>
          </p:txBody>
        </p:sp>
        <p:sp>
          <p:nvSpPr>
            <p:cNvPr id="86" name="TextBox 85">
              <a:extLst>
                <a:ext uri="{FF2B5EF4-FFF2-40B4-BE49-F238E27FC236}">
                  <a16:creationId xmlns:a16="http://schemas.microsoft.com/office/drawing/2014/main" id="{1C088AA0-F633-6ABA-3F31-692BB65CB70D}"/>
                </a:ext>
              </a:extLst>
            </p:cNvPr>
            <p:cNvSpPr txBox="1"/>
            <p:nvPr/>
          </p:nvSpPr>
          <p:spPr>
            <a:xfrm>
              <a:off x="8005176" y="2790114"/>
              <a:ext cx="956993" cy="3539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1600" b="1" i="0" u="none" strike="noStrike" kern="0" cap="none" spc="0" normalizeH="0" baseline="0" noProof="0">
                  <a:ln>
                    <a:noFill/>
                  </a:ln>
                  <a:solidFill>
                    <a:prstClr val="white"/>
                  </a:solidFill>
                  <a:effectLst/>
                  <a:uLnTx/>
                  <a:uFillTx/>
                  <a:latin typeface="Arial"/>
                  <a:ea typeface="+mn-ea"/>
                  <a:cs typeface="+mn-cs"/>
                </a:rPr>
                <a:t>FID</a:t>
              </a:r>
            </a:p>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700" b="1" i="0" u="none" strike="noStrike" kern="0" cap="none" spc="0" normalizeH="0" baseline="0" noProof="0">
                  <a:ln>
                    <a:noFill/>
                  </a:ln>
                  <a:solidFill>
                    <a:prstClr val="white"/>
                  </a:solidFill>
                  <a:effectLst/>
                  <a:uLnTx/>
                  <a:uFillTx/>
                  <a:latin typeface="Arial"/>
                  <a:ea typeface="+mn-ea"/>
                  <a:cs typeface="+mn-cs"/>
                </a:rPr>
                <a:t>Final Investment Decision</a:t>
              </a:r>
            </a:p>
          </p:txBody>
        </p:sp>
        <p:sp>
          <p:nvSpPr>
            <p:cNvPr id="93" name="Isosceles Triangle 92">
              <a:extLst>
                <a:ext uri="{FF2B5EF4-FFF2-40B4-BE49-F238E27FC236}">
                  <a16:creationId xmlns:a16="http://schemas.microsoft.com/office/drawing/2014/main" id="{E62BECBD-AEF7-F31A-59C5-D12E42EA55A0}"/>
                </a:ext>
              </a:extLst>
            </p:cNvPr>
            <p:cNvSpPr/>
            <p:nvPr/>
          </p:nvSpPr>
          <p:spPr>
            <a:xfrm rot="5400000">
              <a:off x="10895036" y="4871636"/>
              <a:ext cx="475608" cy="7443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pic>
          <p:nvPicPr>
            <p:cNvPr id="94" name="Graphic 93" descr="Marker">
              <a:extLst>
                <a:ext uri="{FF2B5EF4-FFF2-40B4-BE49-F238E27FC236}">
                  <a16:creationId xmlns:a16="http://schemas.microsoft.com/office/drawing/2014/main" id="{AA82F5E7-9E18-C356-2A82-91D2B11F77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2298" y="4375612"/>
              <a:ext cx="914400" cy="914400"/>
            </a:xfrm>
            <a:prstGeom prst="rect">
              <a:avLst/>
            </a:prstGeom>
          </p:spPr>
        </p:pic>
        <p:pic>
          <p:nvPicPr>
            <p:cNvPr id="99" name="Graphic 98" descr="Marker">
              <a:extLst>
                <a:ext uri="{FF2B5EF4-FFF2-40B4-BE49-F238E27FC236}">
                  <a16:creationId xmlns:a16="http://schemas.microsoft.com/office/drawing/2014/main" id="{193273C0-98E8-5E3F-5E9E-6019CA666423}"/>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2127201" y="2083923"/>
              <a:ext cx="914400" cy="914400"/>
            </a:xfrm>
            <a:prstGeom prst="rect">
              <a:avLst/>
            </a:prstGeom>
          </p:spPr>
        </p:pic>
        <p:sp>
          <p:nvSpPr>
            <p:cNvPr id="100" name="Rectangle 99">
              <a:extLst>
                <a:ext uri="{FF2B5EF4-FFF2-40B4-BE49-F238E27FC236}">
                  <a16:creationId xmlns:a16="http://schemas.microsoft.com/office/drawing/2014/main" id="{6E7A8048-3EAA-A403-017A-B36915B3294F}"/>
                </a:ext>
              </a:extLst>
            </p:cNvPr>
            <p:cNvSpPr/>
            <p:nvPr/>
          </p:nvSpPr>
          <p:spPr>
            <a:xfrm>
              <a:off x="1813048" y="2961349"/>
              <a:ext cx="1565552" cy="338554"/>
            </a:xfrm>
            <a:prstGeom prst="rect">
              <a:avLst/>
            </a:prstGeom>
          </p:spPr>
          <p:txBody>
            <a:bodyPr wrap="square">
              <a:spAutoFit/>
            </a:bodyPr>
            <a:lstStyle/>
            <a:p>
              <a:pPr marL="0" marR="0" lvl="0" indent="0" algn="ctr" defTabSz="439298" rtl="0" eaLnBrk="1" fontAlgn="auto" latinLnBrk="0" hangingPunct="1">
                <a:lnSpc>
                  <a:spcPct val="100000"/>
                </a:lnSpc>
                <a:spcBef>
                  <a:spcPts val="0"/>
                </a:spcBef>
                <a:spcAft>
                  <a:spcPts val="0"/>
                </a:spcAft>
                <a:buClr>
                  <a:srgbClr val="009999"/>
                </a:buClr>
                <a:buSzTx/>
                <a:buFontTx/>
                <a:buNone/>
                <a:tabLst/>
                <a:defRPr/>
              </a:pPr>
              <a:r>
                <a:rPr kumimoji="0" lang="de-DE" sz="1600" b="1" i="0" u="none" strike="noStrike" kern="1200" cap="none" spc="0" normalizeH="0" baseline="0" noProof="0">
                  <a:ln>
                    <a:noFill/>
                  </a:ln>
                  <a:solidFill>
                    <a:prstClr val="white"/>
                  </a:solidFill>
                  <a:effectLst/>
                  <a:uLnTx/>
                  <a:uFillTx/>
                  <a:latin typeface="Arial"/>
                  <a:ea typeface="+mn-ea"/>
                  <a:cs typeface="+mn-cs"/>
                  <a:sym typeface="Times New Roman" pitchFamily="18" charset="0"/>
                </a:rPr>
                <a:t>Requirements</a:t>
              </a:r>
              <a:endParaRPr kumimoji="0" lang="de-DE" sz="1600" b="1" i="0" u="none" strike="noStrike" kern="0" cap="none" spc="0" normalizeH="0" baseline="0" noProof="0">
                <a:ln>
                  <a:noFill/>
                </a:ln>
                <a:solidFill>
                  <a:prstClr val="white"/>
                </a:solidFill>
                <a:effectLst/>
                <a:uLnTx/>
                <a:uFillTx/>
                <a:latin typeface="Arial"/>
                <a:ea typeface="+mn-ea"/>
                <a:cs typeface="+mn-cs"/>
                <a:sym typeface="Times New Roman" pitchFamily="18" charset="0"/>
              </a:endParaRPr>
            </a:p>
          </p:txBody>
        </p:sp>
        <p:pic>
          <p:nvPicPr>
            <p:cNvPr id="111" name="Picture 110">
              <a:extLst>
                <a:ext uri="{FF2B5EF4-FFF2-40B4-BE49-F238E27FC236}">
                  <a16:creationId xmlns:a16="http://schemas.microsoft.com/office/drawing/2014/main" id="{AB959EAE-872E-67C7-E7DF-84B2C0352A4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745140" y="3060106"/>
              <a:ext cx="4315999" cy="2288313"/>
            </a:xfrm>
            <a:prstGeom prst="rect">
              <a:avLst/>
            </a:prstGeom>
          </p:spPr>
        </p:pic>
        <p:pic>
          <p:nvPicPr>
            <p:cNvPr id="78" name="Graphic 77" descr="Marker">
              <a:extLst>
                <a:ext uri="{FF2B5EF4-FFF2-40B4-BE49-F238E27FC236}">
                  <a16:creationId xmlns:a16="http://schemas.microsoft.com/office/drawing/2014/main" id="{C42532CA-8176-E7D7-75E1-5DA26E1390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04292" y="2100209"/>
              <a:ext cx="914400" cy="914400"/>
            </a:xfrm>
            <a:prstGeom prst="rect">
              <a:avLst/>
            </a:prstGeom>
          </p:spPr>
        </p:pic>
        <p:pic>
          <p:nvPicPr>
            <p:cNvPr id="80" name="Graphic 79" descr="Marker">
              <a:extLst>
                <a:ext uri="{FF2B5EF4-FFF2-40B4-BE49-F238E27FC236}">
                  <a16:creationId xmlns:a16="http://schemas.microsoft.com/office/drawing/2014/main" id="{BAD82C81-670A-0B39-DC73-C6A4898FA1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27648" y="2125679"/>
              <a:ext cx="914400" cy="914400"/>
            </a:xfrm>
            <a:prstGeom prst="rect">
              <a:avLst/>
            </a:prstGeom>
          </p:spPr>
        </p:pic>
        <p:pic>
          <p:nvPicPr>
            <p:cNvPr id="87" name="Graphic 86" descr="Marker">
              <a:extLst>
                <a:ext uri="{FF2B5EF4-FFF2-40B4-BE49-F238E27FC236}">
                  <a16:creationId xmlns:a16="http://schemas.microsoft.com/office/drawing/2014/main" id="{7B4694B7-7286-6FE5-3908-208BFB4DE5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0321" y="2256263"/>
              <a:ext cx="914400" cy="914400"/>
            </a:xfrm>
            <a:prstGeom prst="rect">
              <a:avLst/>
            </a:prstGeom>
          </p:spPr>
        </p:pic>
        <p:pic>
          <p:nvPicPr>
            <p:cNvPr id="88" name="Graphic 87" descr="Marker">
              <a:extLst>
                <a:ext uri="{FF2B5EF4-FFF2-40B4-BE49-F238E27FC236}">
                  <a16:creationId xmlns:a16="http://schemas.microsoft.com/office/drawing/2014/main" id="{6D12B41D-9404-56EF-F24E-579A031405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38728" y="2803773"/>
              <a:ext cx="914400" cy="914400"/>
            </a:xfrm>
            <a:prstGeom prst="rect">
              <a:avLst/>
            </a:prstGeom>
          </p:spPr>
        </p:pic>
        <p:pic>
          <p:nvPicPr>
            <p:cNvPr id="89" name="Graphic 88" descr="Marker">
              <a:extLst>
                <a:ext uri="{FF2B5EF4-FFF2-40B4-BE49-F238E27FC236}">
                  <a16:creationId xmlns:a16="http://schemas.microsoft.com/office/drawing/2014/main" id="{49F88057-8834-4C33-C040-E0F551C927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2924" y="3255591"/>
              <a:ext cx="914400" cy="914400"/>
            </a:xfrm>
            <a:prstGeom prst="rect">
              <a:avLst/>
            </a:prstGeom>
          </p:spPr>
        </p:pic>
        <p:pic>
          <p:nvPicPr>
            <p:cNvPr id="90" name="Graphic 89" descr="Marker">
              <a:extLst>
                <a:ext uri="{FF2B5EF4-FFF2-40B4-BE49-F238E27FC236}">
                  <a16:creationId xmlns:a16="http://schemas.microsoft.com/office/drawing/2014/main" id="{D4E5B8C5-D947-8FEC-4C7E-772F9FE08B6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14952" y="4135739"/>
              <a:ext cx="914400" cy="914400"/>
            </a:xfrm>
            <a:prstGeom prst="rect">
              <a:avLst/>
            </a:prstGeom>
          </p:spPr>
        </p:pic>
        <p:pic>
          <p:nvPicPr>
            <p:cNvPr id="91" name="Graphic 90" descr="Marker">
              <a:extLst>
                <a:ext uri="{FF2B5EF4-FFF2-40B4-BE49-F238E27FC236}">
                  <a16:creationId xmlns:a16="http://schemas.microsoft.com/office/drawing/2014/main" id="{A262DDB6-3629-F3CA-2E1C-2452441AB0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14856" y="4307079"/>
              <a:ext cx="914400" cy="914400"/>
            </a:xfrm>
            <a:prstGeom prst="rect">
              <a:avLst/>
            </a:prstGeom>
          </p:spPr>
        </p:pic>
        <p:sp>
          <p:nvSpPr>
            <p:cNvPr id="112" name="TextBox 111">
              <a:extLst>
                <a:ext uri="{FF2B5EF4-FFF2-40B4-BE49-F238E27FC236}">
                  <a16:creationId xmlns:a16="http://schemas.microsoft.com/office/drawing/2014/main" id="{043731BD-7F0E-FB27-8640-AE708F9005AE}"/>
                </a:ext>
              </a:extLst>
            </p:cNvPr>
            <p:cNvSpPr txBox="1"/>
            <p:nvPr/>
          </p:nvSpPr>
          <p:spPr>
            <a:xfrm>
              <a:off x="5564163" y="3923769"/>
              <a:ext cx="1412246"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3200" b="1" i="0" u="none" strike="noStrike" kern="0" cap="none" spc="0" normalizeH="0" baseline="0" noProof="0">
                  <a:ln>
                    <a:noFill/>
                  </a:ln>
                  <a:solidFill>
                    <a:prstClr val="white">
                      <a:alpha val="28000"/>
                    </a:prstClr>
                  </a:solidFill>
                  <a:effectLst/>
                  <a:uLnTx/>
                  <a:uFillTx/>
                  <a:latin typeface="Arial"/>
                  <a:ea typeface="+mn-ea"/>
                  <a:cs typeface="+mn-cs"/>
                </a:rPr>
                <a:t>Realize</a:t>
              </a:r>
            </a:p>
          </p:txBody>
        </p:sp>
        <p:sp>
          <p:nvSpPr>
            <p:cNvPr id="113" name="TextBox 112">
              <a:extLst>
                <a:ext uri="{FF2B5EF4-FFF2-40B4-BE49-F238E27FC236}">
                  <a16:creationId xmlns:a16="http://schemas.microsoft.com/office/drawing/2014/main" id="{E9ABE3D5-406F-194F-5E02-BC0ACB032A63}"/>
                </a:ext>
              </a:extLst>
            </p:cNvPr>
            <p:cNvSpPr txBox="1"/>
            <p:nvPr/>
          </p:nvSpPr>
          <p:spPr>
            <a:xfrm>
              <a:off x="10123798" y="4340369"/>
              <a:ext cx="1731243"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3200" b="1" i="0" u="none" strike="noStrike" kern="0" cap="none" spc="0" normalizeH="0" baseline="0" noProof="0">
                  <a:ln>
                    <a:noFill/>
                  </a:ln>
                  <a:solidFill>
                    <a:prstClr val="white">
                      <a:alpha val="28000"/>
                    </a:prstClr>
                  </a:solidFill>
                  <a:effectLst/>
                  <a:uLnTx/>
                  <a:uFillTx/>
                  <a:latin typeface="Arial"/>
                  <a:ea typeface="+mn-ea"/>
                  <a:cs typeface="+mn-cs"/>
                </a:rPr>
                <a:t>Optimize</a:t>
              </a:r>
            </a:p>
          </p:txBody>
        </p:sp>
        <p:sp>
          <p:nvSpPr>
            <p:cNvPr id="114" name="TextBox 113">
              <a:extLst>
                <a:ext uri="{FF2B5EF4-FFF2-40B4-BE49-F238E27FC236}">
                  <a16:creationId xmlns:a16="http://schemas.microsoft.com/office/drawing/2014/main" id="{CD2BB046-7F5F-D459-6DE9-F73FB57D201F}"/>
                </a:ext>
              </a:extLst>
            </p:cNvPr>
            <p:cNvSpPr txBox="1"/>
            <p:nvPr/>
          </p:nvSpPr>
          <p:spPr>
            <a:xfrm>
              <a:off x="2554332" y="1670635"/>
              <a:ext cx="1293624"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3200" b="1" i="0" u="none" strike="noStrike" kern="0" cap="none" spc="0" normalizeH="0" baseline="0" noProof="0">
                  <a:ln>
                    <a:noFill/>
                  </a:ln>
                  <a:solidFill>
                    <a:prstClr val="white">
                      <a:alpha val="28000"/>
                    </a:prstClr>
                  </a:solidFill>
                  <a:effectLst/>
                  <a:uLnTx/>
                  <a:uFillTx/>
                  <a:latin typeface="Arial"/>
                  <a:ea typeface="+mn-ea"/>
                  <a:cs typeface="+mn-cs"/>
                </a:rPr>
                <a:t>DESIGN</a:t>
              </a:r>
            </a:p>
          </p:txBody>
        </p:sp>
        <p:pic>
          <p:nvPicPr>
            <p:cNvPr id="2" name="Graphic 1" descr="Marker">
              <a:extLst>
                <a:ext uri="{FF2B5EF4-FFF2-40B4-BE49-F238E27FC236}">
                  <a16:creationId xmlns:a16="http://schemas.microsoft.com/office/drawing/2014/main" id="{731A9251-DD96-6053-6A28-7A48665C237D}"/>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816867" y="2075419"/>
              <a:ext cx="914400" cy="914400"/>
            </a:xfrm>
            <a:prstGeom prst="rect">
              <a:avLst/>
            </a:prstGeom>
          </p:spPr>
        </p:pic>
        <p:sp>
          <p:nvSpPr>
            <p:cNvPr id="10" name="Rectangle 9">
              <a:extLst>
                <a:ext uri="{FF2B5EF4-FFF2-40B4-BE49-F238E27FC236}">
                  <a16:creationId xmlns:a16="http://schemas.microsoft.com/office/drawing/2014/main" id="{DE6A01BA-B4E3-2A54-F120-2309C9FF1EBC}"/>
                </a:ext>
              </a:extLst>
            </p:cNvPr>
            <p:cNvSpPr/>
            <p:nvPr/>
          </p:nvSpPr>
          <p:spPr>
            <a:xfrm>
              <a:off x="387311" y="2949533"/>
              <a:ext cx="1565552" cy="584775"/>
            </a:xfrm>
            <a:prstGeom prst="rect">
              <a:avLst/>
            </a:prstGeom>
          </p:spPr>
          <p:txBody>
            <a:bodyPr wrap="square">
              <a:spAutoFit/>
            </a:bodyPr>
            <a:lstStyle/>
            <a:p>
              <a:pPr marL="0" marR="0" lvl="0" indent="0" algn="ctr" defTabSz="439298" rtl="0" eaLnBrk="1" fontAlgn="auto" latinLnBrk="0" hangingPunct="1">
                <a:lnSpc>
                  <a:spcPct val="100000"/>
                </a:lnSpc>
                <a:spcBef>
                  <a:spcPts val="0"/>
                </a:spcBef>
                <a:spcAft>
                  <a:spcPts val="0"/>
                </a:spcAft>
                <a:buClr>
                  <a:srgbClr val="009999"/>
                </a:buClr>
                <a:buSzTx/>
                <a:buFontTx/>
                <a:buNone/>
                <a:tabLst/>
                <a:defRPr/>
              </a:pPr>
              <a:r>
                <a:rPr kumimoji="0" lang="de-DE" sz="1600" b="1" i="0" u="none" strike="noStrike" kern="1200" cap="none" spc="0" normalizeH="0" baseline="0" noProof="0">
                  <a:ln>
                    <a:noFill/>
                  </a:ln>
                  <a:solidFill>
                    <a:prstClr val="white"/>
                  </a:solidFill>
                  <a:effectLst/>
                  <a:uLnTx/>
                  <a:uFillTx/>
                  <a:latin typeface="Arial"/>
                  <a:ea typeface="+mn-ea"/>
                  <a:cs typeface="+mn-cs"/>
                  <a:sym typeface="Times New Roman" pitchFamily="18" charset="0"/>
                </a:rPr>
                <a:t>Research &amp; Development</a:t>
              </a:r>
              <a:endParaRPr kumimoji="0" lang="de-DE" sz="1600" b="1" i="0" u="none" strike="noStrike" kern="0" cap="none" spc="0" normalizeH="0" baseline="0" noProof="0">
                <a:ln>
                  <a:noFill/>
                </a:ln>
                <a:solidFill>
                  <a:prstClr val="white"/>
                </a:solidFill>
                <a:effectLst/>
                <a:uLnTx/>
                <a:uFillTx/>
                <a:latin typeface="Arial"/>
                <a:ea typeface="+mn-ea"/>
                <a:cs typeface="+mn-cs"/>
                <a:sym typeface="Times New Roman" pitchFamily="18" charset="0"/>
              </a:endParaRPr>
            </a:p>
          </p:txBody>
        </p:sp>
        <p:sp>
          <p:nvSpPr>
            <p:cNvPr id="30" name="Text Placeholder 36">
              <a:extLst>
                <a:ext uri="{FF2B5EF4-FFF2-40B4-BE49-F238E27FC236}">
                  <a16:creationId xmlns:a16="http://schemas.microsoft.com/office/drawing/2014/main" id="{D7E1507E-53B6-9C5F-CE74-CB68AB040F57}"/>
                </a:ext>
              </a:extLst>
            </p:cNvPr>
            <p:cNvSpPr txBox="1">
              <a:spLocks/>
            </p:cNvSpPr>
            <p:nvPr/>
          </p:nvSpPr>
          <p:spPr>
            <a:xfrm>
              <a:off x="6775328" y="480399"/>
              <a:ext cx="1692137" cy="548640"/>
            </a:xfrm>
            <a:prstGeom prst="rect">
              <a:avLst/>
            </a:prstGeom>
          </p:spPr>
          <p:txBody>
            <a:bodyPr lIns="0" rIns="0" anchor="b" anchorCtr="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l" defTabSz="913943" rtl="0" eaLnBrk="1" fontAlgn="base" latinLnBrk="0" hangingPunct="1">
                <a:lnSpc>
                  <a:spcPct val="90000"/>
                </a:lnSpc>
                <a:spcBef>
                  <a:spcPct val="0"/>
                </a:spcBef>
                <a:spcAft>
                  <a:spcPct val="0"/>
                </a:spcAft>
                <a:buClr>
                  <a:srgbClr val="879BAA"/>
                </a:buClr>
                <a:buSzTx/>
                <a:buFont typeface="Arial" pitchFamily="34" charset="0"/>
                <a:buNone/>
                <a:tabLst/>
                <a:defRPr/>
              </a:pPr>
              <a:r>
                <a:rPr kumimoji="0" lang="en-US" sz="1600" b="1" i="0" u="none" strike="noStrike" kern="0" cap="none" spc="0" normalizeH="0" baseline="0" noProof="0">
                  <a:ln>
                    <a:noFill/>
                  </a:ln>
                  <a:solidFill>
                    <a:prstClr val="white"/>
                  </a:solidFill>
                  <a:effectLst/>
                  <a:uLnTx/>
                  <a:uFillTx/>
                  <a:latin typeface="Arial"/>
                  <a:ea typeface="+mn-ea"/>
                  <a:cs typeface="Arial" pitchFamily="34" charset="0"/>
                </a:rPr>
                <a:t>Digital Lifecycle Excellence</a:t>
              </a:r>
            </a:p>
          </p:txBody>
        </p:sp>
        <p:sp>
          <p:nvSpPr>
            <p:cNvPr id="31" name="Text Placeholder 36">
              <a:extLst>
                <a:ext uri="{FF2B5EF4-FFF2-40B4-BE49-F238E27FC236}">
                  <a16:creationId xmlns:a16="http://schemas.microsoft.com/office/drawing/2014/main" id="{3EF5EFDC-BAC2-7874-E6C5-9B70E794C0C2}"/>
                </a:ext>
              </a:extLst>
            </p:cNvPr>
            <p:cNvSpPr txBox="1">
              <a:spLocks/>
            </p:cNvSpPr>
            <p:nvPr/>
          </p:nvSpPr>
          <p:spPr>
            <a:xfrm>
              <a:off x="2583252" y="481114"/>
              <a:ext cx="2361676" cy="548640"/>
            </a:xfrm>
            <a:prstGeom prst="rect">
              <a:avLst/>
            </a:prstGeom>
          </p:spPr>
          <p:txBody>
            <a:bodyPr lIns="0" rIns="0" anchor="b" anchorCtr="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l" defTabSz="913943" rtl="0" eaLnBrk="1" fontAlgn="base" latinLnBrk="0" hangingPunct="1">
                <a:lnSpc>
                  <a:spcPct val="90000"/>
                </a:lnSpc>
                <a:spcBef>
                  <a:spcPct val="0"/>
                </a:spcBef>
                <a:spcAft>
                  <a:spcPct val="0"/>
                </a:spcAft>
                <a:buClr>
                  <a:srgbClr val="879BAA"/>
                </a:buClr>
                <a:buSzTx/>
                <a:buFont typeface="Arial" pitchFamily="34" charset="0"/>
                <a:buNone/>
                <a:tabLst/>
                <a:defRPr/>
              </a:pPr>
              <a:r>
                <a:rPr kumimoji="0" lang="en-US" sz="1600" b="1" i="0" u="none" strike="noStrike" kern="0" cap="none" spc="0" normalizeH="0" baseline="0" noProof="0">
                  <a:ln>
                    <a:noFill/>
                  </a:ln>
                  <a:solidFill>
                    <a:prstClr val="white"/>
                  </a:solidFill>
                  <a:effectLst/>
                  <a:uLnTx/>
                  <a:uFillTx/>
                  <a:latin typeface="Arial"/>
                  <a:ea typeface="+mn-ea"/>
                  <a:cs typeface="Arial" pitchFamily="34" charset="0"/>
                </a:rPr>
                <a:t>Integrated Design and Configuration</a:t>
              </a:r>
            </a:p>
          </p:txBody>
        </p:sp>
        <p:sp>
          <p:nvSpPr>
            <p:cNvPr id="33" name="Text Placeholder 36">
              <a:extLst>
                <a:ext uri="{FF2B5EF4-FFF2-40B4-BE49-F238E27FC236}">
                  <a16:creationId xmlns:a16="http://schemas.microsoft.com/office/drawing/2014/main" id="{B1E2D8D0-376A-A1A9-D644-1CF0BAE3EAEB}"/>
                </a:ext>
              </a:extLst>
            </p:cNvPr>
            <p:cNvSpPr txBox="1">
              <a:spLocks/>
            </p:cNvSpPr>
            <p:nvPr/>
          </p:nvSpPr>
          <p:spPr>
            <a:xfrm>
              <a:off x="10643755" y="480399"/>
              <a:ext cx="1364621" cy="548640"/>
            </a:xfrm>
            <a:prstGeom prst="rect">
              <a:avLst/>
            </a:prstGeom>
          </p:spPr>
          <p:txBody>
            <a:bodyPr lIns="0" rIns="0" anchor="b" anchorCtr="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0" marR="0" lvl="0" indent="0" algn="l" defTabSz="913943" rtl="0" eaLnBrk="1" fontAlgn="base" latinLnBrk="0" hangingPunct="1">
                <a:lnSpc>
                  <a:spcPct val="90000"/>
                </a:lnSpc>
                <a:spcBef>
                  <a:spcPct val="0"/>
                </a:spcBef>
                <a:spcAft>
                  <a:spcPct val="0"/>
                </a:spcAft>
                <a:buClr>
                  <a:srgbClr val="879BAA"/>
                </a:buClr>
                <a:buSzTx/>
                <a:buFont typeface="Arial" pitchFamily="34" charset="0"/>
                <a:buNone/>
                <a:tabLst/>
                <a:defRPr/>
              </a:pPr>
              <a:r>
                <a:rPr kumimoji="0" lang="en-US" sz="1600" b="1" i="0" u="none" strike="noStrike" kern="0" cap="none" spc="0" normalizeH="0" baseline="0" noProof="0">
                  <a:ln>
                    <a:noFill/>
                  </a:ln>
                  <a:solidFill>
                    <a:prstClr val="white"/>
                  </a:solidFill>
                  <a:effectLst/>
                  <a:uLnTx/>
                  <a:uFillTx/>
                  <a:latin typeface="Arial"/>
                  <a:ea typeface="+mn-ea"/>
                  <a:cs typeface="Arial" pitchFamily="34" charset="0"/>
                </a:rPr>
                <a:t>Operational Excellence</a:t>
              </a:r>
            </a:p>
          </p:txBody>
        </p:sp>
        <p:sp>
          <p:nvSpPr>
            <p:cNvPr id="35" name="Oval 34">
              <a:extLst>
                <a:ext uri="{FF2B5EF4-FFF2-40B4-BE49-F238E27FC236}">
                  <a16:creationId xmlns:a16="http://schemas.microsoft.com/office/drawing/2014/main" id="{AB9416C8-ECDF-D2A3-E896-5FA4E2A2F315}"/>
                </a:ext>
              </a:extLst>
            </p:cNvPr>
            <p:cNvSpPr>
              <a:spLocks noChangeAspect="1"/>
            </p:cNvSpPr>
            <p:nvPr/>
          </p:nvSpPr>
          <p:spPr>
            <a:xfrm>
              <a:off x="5260642" y="636393"/>
              <a:ext cx="1362811" cy="1362811"/>
            </a:xfrm>
            <a:prstGeom prst="ellipse">
              <a:avLst/>
            </a:prstGeom>
            <a:blipFill>
              <a:blip r:embed="rId12" cstate="screen">
                <a:extLst>
                  <a:ext uri="{28A0092B-C50C-407E-A947-70E740481C1C}">
                    <a14:useLocalDpi xmlns:a14="http://schemas.microsoft.com/office/drawing/2010/main"/>
                  </a:ext>
                </a:extLst>
              </a:blip>
              <a:srcRect/>
              <a:stretch>
                <a:fillRect/>
              </a:stretch>
            </a:blipFill>
            <a:ln w="28575">
              <a:solidFill>
                <a:srgbClr val="14F3BA"/>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Circle: Hollow 35">
              <a:extLst>
                <a:ext uri="{FF2B5EF4-FFF2-40B4-BE49-F238E27FC236}">
                  <a16:creationId xmlns:a16="http://schemas.microsoft.com/office/drawing/2014/main" id="{9098BB79-51B4-96DE-3639-501CA9795909}"/>
                </a:ext>
              </a:extLst>
            </p:cNvPr>
            <p:cNvSpPr/>
            <p:nvPr/>
          </p:nvSpPr>
          <p:spPr>
            <a:xfrm>
              <a:off x="5154194" y="529945"/>
              <a:ext cx="1575707" cy="1575707"/>
            </a:xfrm>
            <a:prstGeom prst="donut">
              <a:avLst>
                <a:gd name="adj" fmla="val 395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9" name="Circle: Hollow 38">
              <a:extLst>
                <a:ext uri="{FF2B5EF4-FFF2-40B4-BE49-F238E27FC236}">
                  <a16:creationId xmlns:a16="http://schemas.microsoft.com/office/drawing/2014/main" id="{A165622D-AB29-5B43-A9B4-90B65C4B726C}"/>
                </a:ext>
              </a:extLst>
            </p:cNvPr>
            <p:cNvSpPr/>
            <p:nvPr/>
          </p:nvSpPr>
          <p:spPr>
            <a:xfrm>
              <a:off x="978625" y="529945"/>
              <a:ext cx="1575707" cy="1575707"/>
            </a:xfrm>
            <a:prstGeom prst="donut">
              <a:avLst>
                <a:gd name="adj" fmla="val 395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a:extLst>
                <a:ext uri="{FF2B5EF4-FFF2-40B4-BE49-F238E27FC236}">
                  <a16:creationId xmlns:a16="http://schemas.microsoft.com/office/drawing/2014/main" id="{8C892FA2-E7A4-DF5C-7585-9829C1522638}"/>
                </a:ext>
              </a:extLst>
            </p:cNvPr>
            <p:cNvSpPr>
              <a:spLocks noChangeAspect="1"/>
            </p:cNvSpPr>
            <p:nvPr/>
          </p:nvSpPr>
          <p:spPr>
            <a:xfrm>
              <a:off x="9122826" y="636393"/>
              <a:ext cx="1362811" cy="1362811"/>
            </a:xfrm>
            <a:prstGeom prst="ellipse">
              <a:avLst/>
            </a:prstGeom>
            <a:blipFill>
              <a:blip r:embed="rId13" cstate="screen">
                <a:extLst>
                  <a:ext uri="{28A0092B-C50C-407E-A947-70E740481C1C}">
                    <a14:useLocalDpi xmlns:a14="http://schemas.microsoft.com/office/drawing/2010/main"/>
                  </a:ext>
                </a:extLst>
              </a:blip>
              <a:srcRect/>
              <a:stretch>
                <a:fillRect/>
              </a:stretch>
            </a:blipFill>
            <a:ln w="28575">
              <a:solidFill>
                <a:srgbClr val="10D6F5"/>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Circle: Hollow 44">
              <a:extLst>
                <a:ext uri="{FF2B5EF4-FFF2-40B4-BE49-F238E27FC236}">
                  <a16:creationId xmlns:a16="http://schemas.microsoft.com/office/drawing/2014/main" id="{3FDA78FE-8E86-98CC-7DFA-909046051AE4}"/>
                </a:ext>
              </a:extLst>
            </p:cNvPr>
            <p:cNvSpPr/>
            <p:nvPr/>
          </p:nvSpPr>
          <p:spPr>
            <a:xfrm>
              <a:off x="9016378" y="529945"/>
              <a:ext cx="1575707" cy="1575707"/>
            </a:xfrm>
            <a:prstGeom prst="donut">
              <a:avLst>
                <a:gd name="adj" fmla="val 395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A6DA86FA-C165-0D13-0464-482947D04A19}"/>
                </a:ext>
              </a:extLst>
            </p:cNvPr>
            <p:cNvCxnSpPr>
              <a:cxnSpLocks/>
            </p:cNvCxnSpPr>
            <p:nvPr/>
          </p:nvCxnSpPr>
          <p:spPr>
            <a:xfrm>
              <a:off x="1770385" y="1797933"/>
              <a:ext cx="0" cy="1051560"/>
            </a:xfrm>
            <a:prstGeom prst="straightConnector1">
              <a:avLst/>
            </a:prstGeom>
            <a:ln w="9525">
              <a:solidFill>
                <a:schemeClr val="tx1"/>
              </a:solidFill>
              <a:headEnd w="lg" len="lg"/>
              <a:tailEnd type="oval"/>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7446B63-8D3B-B243-00FF-E5D6C0E6BCE0}"/>
                </a:ext>
              </a:extLst>
            </p:cNvPr>
            <p:cNvCxnSpPr>
              <a:cxnSpLocks/>
            </p:cNvCxnSpPr>
            <p:nvPr/>
          </p:nvCxnSpPr>
          <p:spPr>
            <a:xfrm>
              <a:off x="9830471" y="1797933"/>
              <a:ext cx="0" cy="3383280"/>
            </a:xfrm>
            <a:prstGeom prst="straightConnector1">
              <a:avLst/>
            </a:prstGeom>
            <a:ln w="9525">
              <a:solidFill>
                <a:schemeClr val="tx1"/>
              </a:solidFill>
              <a:headEnd w="lg" len="lg"/>
              <a:tailEnd type="oval"/>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BBF76704-733A-ED51-AF11-E5552FCAB68E}"/>
                </a:ext>
              </a:extLst>
            </p:cNvPr>
            <p:cNvCxnSpPr>
              <a:cxnSpLocks/>
            </p:cNvCxnSpPr>
            <p:nvPr/>
          </p:nvCxnSpPr>
          <p:spPr>
            <a:xfrm flipH="1">
              <a:off x="5942048" y="1797933"/>
              <a:ext cx="13921" cy="1882214"/>
            </a:xfrm>
            <a:prstGeom prst="straightConnector1">
              <a:avLst/>
            </a:prstGeom>
            <a:ln w="9525">
              <a:solidFill>
                <a:schemeClr val="tx1"/>
              </a:solidFill>
              <a:headEnd w="lg" len="lg"/>
              <a:tailEnd type="ova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9552461-1EF3-E0F6-47E7-8F9E84437A54}"/>
                </a:ext>
              </a:extLst>
            </p:cNvPr>
            <p:cNvPicPr>
              <a:picLocks noChangeAspect="1"/>
            </p:cNvPicPr>
            <p:nvPr/>
          </p:nvPicPr>
          <p:blipFill rotWithShape="1">
            <a:blip r:embed="rId14" cstate="screen">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flipH="1">
              <a:off x="1252746" y="826064"/>
              <a:ext cx="986701" cy="909067"/>
            </a:xfrm>
            <a:prstGeom prst="rect">
              <a:avLst/>
            </a:prstGeom>
          </p:spPr>
        </p:pic>
        <p:sp>
          <p:nvSpPr>
            <p:cNvPr id="9" name="Oval 8">
              <a:extLst>
                <a:ext uri="{FF2B5EF4-FFF2-40B4-BE49-F238E27FC236}">
                  <a16:creationId xmlns:a16="http://schemas.microsoft.com/office/drawing/2014/main" id="{5407F457-ECEF-D81F-3FA4-752C47686BBF}"/>
                </a:ext>
              </a:extLst>
            </p:cNvPr>
            <p:cNvSpPr/>
            <p:nvPr/>
          </p:nvSpPr>
          <p:spPr>
            <a:xfrm>
              <a:off x="1076506" y="636393"/>
              <a:ext cx="1390315" cy="1370595"/>
            </a:xfrm>
            <a:prstGeom prst="ellipse">
              <a:avLst/>
            </a:prstGeom>
            <a:noFill/>
            <a:ln w="38100">
              <a:solidFill>
                <a:srgbClr val="0099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5" name="Fußzeilenplatzhalter 4">
            <a:extLst>
              <a:ext uri="{FF2B5EF4-FFF2-40B4-BE49-F238E27FC236}">
                <a16:creationId xmlns:a16="http://schemas.microsoft.com/office/drawing/2014/main" id="{78252DBD-A0F2-1646-2C2D-8EC91E102F86}"/>
              </a:ext>
            </a:extLst>
          </p:cNvPr>
          <p:cNvSpPr>
            <a:spLocks noGrp="1"/>
          </p:cNvSpPr>
          <p:nvPr>
            <p:ph type="ftr" sz="quarter" idx="10"/>
          </p:nvPr>
        </p:nvSpPr>
        <p:spPr/>
        <p:txBody>
          <a:bodyPr/>
          <a:lstStyle/>
          <a:p>
            <a:pPr>
              <a:lnSpc>
                <a:spcPct val="100000"/>
              </a:lnSpc>
            </a:pPr>
            <a:r>
              <a:rPr lang="en-US"/>
              <a:t>Unrestricted | © Siemens 2025 | Raghav Tripathi</a:t>
            </a:r>
          </a:p>
        </p:txBody>
      </p:sp>
    </p:spTree>
    <p:extLst>
      <p:ext uri="{BB962C8B-B14F-4D97-AF65-F5344CB8AC3E}">
        <p14:creationId xmlns:p14="http://schemas.microsoft.com/office/powerpoint/2010/main" val="2513176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313D269-44CE-3643-28C9-7787869CF4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53" imgH="353" progId="TCLayout.ActiveDocument.1">
                  <p:embed/>
                </p:oleObj>
              </mc:Choice>
              <mc:Fallback>
                <p:oleObj name="think-cell Slide" r:id="rId16" imgW="353" imgH="353" progId="TCLayout.ActiveDocument.1">
                  <p:embed/>
                  <p:pic>
                    <p:nvPicPr>
                      <p:cNvPr id="19" name="think-cell data - do not delete" hidden="1">
                        <a:extLst>
                          <a:ext uri="{FF2B5EF4-FFF2-40B4-BE49-F238E27FC236}">
                            <a16:creationId xmlns:a16="http://schemas.microsoft.com/office/drawing/2014/main" id="{B313D269-44CE-3643-28C9-7787869CF4E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51" name="Freihandform: Form 4">
            <a:extLst>
              <a:ext uri="{FF2B5EF4-FFF2-40B4-BE49-F238E27FC236}">
                <a16:creationId xmlns:a16="http://schemas.microsoft.com/office/drawing/2014/main" id="{8BA243EF-F358-30B5-83C4-EC35C0EABFE1}"/>
              </a:ext>
            </a:extLst>
          </p:cNvPr>
          <p:cNvSpPr/>
          <p:nvPr/>
        </p:nvSpPr>
        <p:spPr bwMode="gray">
          <a:xfrm>
            <a:off x="4295800" y="4463406"/>
            <a:ext cx="3598863" cy="369750"/>
          </a:xfrm>
          <a:custGeom>
            <a:avLst/>
            <a:gdLst>
              <a:gd name="connsiteX0" fmla="*/ 264264 w 3598863"/>
              <a:gd name="connsiteY0" fmla="*/ 0 h 363702"/>
              <a:gd name="connsiteX1" fmla="*/ 3334596 w 3598863"/>
              <a:gd name="connsiteY1" fmla="*/ 0 h 363702"/>
              <a:gd name="connsiteX2" fmla="*/ 3598863 w 3598863"/>
              <a:gd name="connsiteY2" fmla="*/ 363702 h 363702"/>
              <a:gd name="connsiteX3" fmla="*/ 0 w 3598863"/>
              <a:gd name="connsiteY3" fmla="*/ 363702 h 363702"/>
              <a:gd name="connsiteX4" fmla="*/ 0 w 3598863"/>
              <a:gd name="connsiteY4" fmla="*/ 363698 h 3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8863" h="363702">
                <a:moveTo>
                  <a:pt x="264264" y="0"/>
                </a:moveTo>
                <a:lnTo>
                  <a:pt x="3334596" y="0"/>
                </a:lnTo>
                <a:lnTo>
                  <a:pt x="3598863" y="363702"/>
                </a:lnTo>
                <a:lnTo>
                  <a:pt x="0" y="363702"/>
                </a:lnTo>
                <a:lnTo>
                  <a:pt x="0" y="363698"/>
                </a:lnTo>
                <a:close/>
              </a:path>
            </a:pathLst>
          </a:cu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Arial"/>
                <a:ea typeface="+mn-ea"/>
                <a:cs typeface="+mn-cs"/>
              </a:rPr>
              <a:t>Field (sensor/actor) </a:t>
            </a:r>
          </a:p>
        </p:txBody>
      </p:sp>
      <p:sp>
        <p:nvSpPr>
          <p:cNvPr id="2" name="Title 1">
            <a:extLst>
              <a:ext uri="{FF2B5EF4-FFF2-40B4-BE49-F238E27FC236}">
                <a16:creationId xmlns:a16="http://schemas.microsoft.com/office/drawing/2014/main" id="{783FF78B-2D33-4ED4-94CD-E944C9A9230F}"/>
              </a:ext>
            </a:extLst>
          </p:cNvPr>
          <p:cNvSpPr>
            <a:spLocks noGrp="1"/>
          </p:cNvSpPr>
          <p:nvPr>
            <p:ph type="title"/>
          </p:nvPr>
        </p:nvSpPr>
        <p:spPr/>
        <p:txBody>
          <a:bodyPr vert="horz"/>
          <a:lstStyle/>
          <a:p>
            <a:pPr>
              <a:tabLst>
                <a:tab pos="457202" algn="l"/>
              </a:tabLst>
              <a:defRPr/>
            </a:pPr>
            <a:r>
              <a:rPr lang="en-US" sz="2000" dirty="0">
                <a:solidFill>
                  <a:prstClr val="white"/>
                </a:solidFill>
              </a:rPr>
              <a:t>Software-defined Automation is the way the industry will evolve</a:t>
            </a:r>
            <a:br>
              <a:rPr kumimoji="0" lang="en-US" sz="2000" i="0" u="none" strike="noStrike" kern="1200" cap="none" spc="0" normalizeH="0" baseline="0" noProof="0" dirty="0">
                <a:ln>
                  <a:noFill/>
                </a:ln>
                <a:solidFill>
                  <a:prstClr val="white"/>
                </a:solidFill>
                <a:effectLst/>
                <a:uLnTx/>
                <a:uFillTx/>
                <a:latin typeface="Arial"/>
                <a:ea typeface="+mn-ea"/>
                <a:cs typeface="+mn-cs"/>
              </a:rPr>
            </a:br>
            <a:r>
              <a:rPr kumimoji="0" lang="en-US" sz="2000" i="0" u="none" strike="noStrike" kern="1200" cap="none" spc="0" normalizeH="0" baseline="0" noProof="0" dirty="0">
                <a:ln>
                  <a:noFill/>
                </a:ln>
                <a:solidFill>
                  <a:prstClr val="white"/>
                </a:solidFill>
                <a:effectLst/>
                <a:uLnTx/>
                <a:uFillTx/>
                <a:latin typeface="Arial"/>
                <a:ea typeface="+mn-ea"/>
                <a:cs typeface="+mn-cs"/>
              </a:rPr>
              <a:t>from classic </a:t>
            </a:r>
            <a:r>
              <a:rPr lang="en-US" dirty="0">
                <a:solidFill>
                  <a:prstClr val="white"/>
                </a:solidFill>
                <a:latin typeface="Arial"/>
                <a:ea typeface="+mn-ea"/>
                <a:cs typeface="+mn-cs"/>
              </a:rPr>
              <a:t>automation</a:t>
            </a:r>
            <a:r>
              <a:rPr kumimoji="0" lang="en-US" sz="2000" i="0" u="none" strike="noStrike" kern="1200" cap="none" spc="0" normalizeH="0" baseline="0" noProof="0" dirty="0">
                <a:ln>
                  <a:noFill/>
                </a:ln>
                <a:solidFill>
                  <a:prstClr val="white"/>
                </a:solidFill>
                <a:effectLst/>
                <a:uLnTx/>
                <a:uFillTx/>
                <a:latin typeface="Arial"/>
                <a:ea typeface="+mn-ea"/>
                <a:cs typeface="+mn-cs"/>
              </a:rPr>
              <a:t> pyramid to </a:t>
            </a:r>
            <a:r>
              <a:rPr lang="en-US" dirty="0">
                <a:solidFill>
                  <a:prstClr val="white"/>
                </a:solidFill>
                <a:latin typeface="Arial"/>
                <a:ea typeface="+mn-ea"/>
                <a:cs typeface="+mn-cs"/>
              </a:rPr>
              <a:t>a user-defined workflow</a:t>
            </a:r>
            <a:r>
              <a:rPr kumimoji="0" lang="en-US" sz="2000" i="0" u="none" strike="noStrike" kern="1200" cap="none" spc="0" normalizeH="0" baseline="0" noProof="0" dirty="0">
                <a:ln>
                  <a:noFill/>
                </a:ln>
                <a:solidFill>
                  <a:prstClr val="white"/>
                </a:solidFill>
                <a:effectLst/>
                <a:uLnTx/>
                <a:uFillTx/>
                <a:latin typeface="Arial"/>
                <a:ea typeface="+mn-ea"/>
                <a:cs typeface="+mn-cs"/>
              </a:rPr>
              <a:t> </a:t>
            </a:r>
            <a:r>
              <a:rPr lang="en-US" dirty="0">
                <a:solidFill>
                  <a:prstClr val="white"/>
                </a:solidFill>
                <a:latin typeface="Arial"/>
                <a:ea typeface="+mn-ea"/>
                <a:cs typeface="+mn-cs"/>
              </a:rPr>
              <a:t>architecture</a:t>
            </a:r>
            <a:br>
              <a:rPr kumimoji="0" lang="en-US" sz="2000" i="0" u="none" strike="noStrike" kern="1200" cap="none" spc="0" normalizeH="0" baseline="0" noProof="0" dirty="0">
                <a:ln>
                  <a:noFill/>
                </a:ln>
                <a:solidFill>
                  <a:prstClr val="white"/>
                </a:solidFill>
                <a:effectLst/>
                <a:uLnTx/>
                <a:uFillTx/>
                <a:latin typeface="Arial"/>
                <a:ea typeface="+mn-ea"/>
                <a:cs typeface="+mn-cs"/>
              </a:rPr>
            </a:br>
            <a:endParaRPr kumimoji="0" lang="en-US" sz="1800" i="0" u="none" strike="noStrike" kern="1200" cap="none" spc="0" normalizeH="0" baseline="0" noProof="0" dirty="0">
              <a:ln>
                <a:noFill/>
              </a:ln>
              <a:solidFill>
                <a:prstClr val="white">
                  <a:lumMod val="50000"/>
                </a:prstClr>
              </a:solidFill>
              <a:effectLst/>
              <a:uLnTx/>
              <a:uFillTx/>
              <a:latin typeface="Arial"/>
              <a:ea typeface="+mn-ea"/>
              <a:cs typeface="+mn-cs"/>
            </a:endParaRPr>
          </a:p>
        </p:txBody>
      </p:sp>
      <p:sp>
        <p:nvSpPr>
          <p:cNvPr id="253" name="Footer Placeholder 2">
            <a:extLst>
              <a:ext uri="{FF2B5EF4-FFF2-40B4-BE49-F238E27FC236}">
                <a16:creationId xmlns:a16="http://schemas.microsoft.com/office/drawing/2014/main" id="{DF5114F4-8EEE-6DB6-2483-F4B82A4057F0}"/>
              </a:ext>
            </a:extLst>
          </p:cNvPr>
          <p:cNvSpPr>
            <a:spLocks noGrp="1"/>
          </p:cNvSpPr>
          <p:nvPr>
            <p:ph type="ftr" sz="quarter" idx="10"/>
          </p:nvPr>
        </p:nvSpPr>
        <p:spPr/>
        <p:txBody>
          <a:bodyPr/>
          <a:lstStyle/>
          <a:p>
            <a:pPr>
              <a:lnSpc>
                <a:spcPct val="100000"/>
              </a:lnSpc>
            </a:pPr>
            <a:r>
              <a:rPr lang="en-US"/>
              <a:t>Unrestricted | © Siemens 2025 | Raghav Tripathi</a:t>
            </a:r>
          </a:p>
        </p:txBody>
      </p:sp>
      <p:sp>
        <p:nvSpPr>
          <p:cNvPr id="12" name="Textfeld 10">
            <a:extLst>
              <a:ext uri="{FF2B5EF4-FFF2-40B4-BE49-F238E27FC236}">
                <a16:creationId xmlns:a16="http://schemas.microsoft.com/office/drawing/2014/main" id="{89EFA366-85A1-4848-9D45-3DE0218BFEA3}"/>
              </a:ext>
            </a:extLst>
          </p:cNvPr>
          <p:cNvSpPr txBox="1">
            <a:spLocks/>
          </p:cNvSpPr>
          <p:nvPr/>
        </p:nvSpPr>
        <p:spPr bwMode="gray">
          <a:xfrm>
            <a:off x="416509" y="1419330"/>
            <a:ext cx="3586273" cy="276999"/>
          </a:xfrm>
          <a:prstGeom prst="rect">
            <a:avLst/>
          </a:prstGeom>
          <a:noFill/>
        </p:spPr>
        <p:txBody>
          <a:bodyPr wrap="square" lIns="0" tIns="0" rIns="0" bIns="0" rtlCol="0">
            <a:no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800" b="1"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Yesterday</a:t>
            </a:r>
          </a:p>
        </p:txBody>
      </p:sp>
      <p:cxnSp>
        <p:nvCxnSpPr>
          <p:cNvPr id="13" name="Gerader Verbinder 11">
            <a:extLst>
              <a:ext uri="{FF2B5EF4-FFF2-40B4-BE49-F238E27FC236}">
                <a16:creationId xmlns:a16="http://schemas.microsoft.com/office/drawing/2014/main" id="{ECCC08DC-9375-4493-9F4E-EE1E60E68124}"/>
              </a:ext>
            </a:extLst>
          </p:cNvPr>
          <p:cNvCxnSpPr>
            <a:cxnSpLocks/>
          </p:cNvCxnSpPr>
          <p:nvPr/>
        </p:nvCxnSpPr>
        <p:spPr bwMode="gray">
          <a:xfrm>
            <a:off x="422804" y="1764587"/>
            <a:ext cx="3586273" cy="0"/>
          </a:xfrm>
          <a:prstGeom prst="line">
            <a:avLst/>
          </a:prstGeom>
          <a:ln w="28575">
            <a:solidFill>
              <a:srgbClr val="9999A9"/>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4" name="Textfeld 12">
            <a:extLst>
              <a:ext uri="{FF2B5EF4-FFF2-40B4-BE49-F238E27FC236}">
                <a16:creationId xmlns:a16="http://schemas.microsoft.com/office/drawing/2014/main" id="{B6FD92FC-D9EB-4897-9C5A-6C7A6954DC07}"/>
              </a:ext>
            </a:extLst>
          </p:cNvPr>
          <p:cNvSpPr txBox="1">
            <a:spLocks/>
          </p:cNvSpPr>
          <p:nvPr/>
        </p:nvSpPr>
        <p:spPr bwMode="gray">
          <a:xfrm>
            <a:off x="4308652" y="1419330"/>
            <a:ext cx="3586273" cy="276999"/>
          </a:xfrm>
          <a:prstGeom prst="rect">
            <a:avLst/>
          </a:prstGeom>
          <a:noFill/>
        </p:spPr>
        <p:txBody>
          <a:bodyPr wrap="square" lIns="0" tIns="0" rIns="0" bIns="0" rtlCol="0">
            <a:no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800" b="1" i="0" u="none" strike="noStrike" kern="1200" cap="none" spc="0" normalizeH="0" baseline="0" noProof="0">
                <a:ln>
                  <a:noFill/>
                </a:ln>
                <a:solidFill>
                  <a:srgbClr val="57C9A6"/>
                </a:solidFill>
                <a:effectLst/>
                <a:uLnTx/>
                <a:uFillTx/>
                <a:latin typeface="Arial"/>
                <a:ea typeface="Arial Unicode MS" panose="020B0604020202020204" pitchFamily="34" charset="-128"/>
                <a:cs typeface="Arial Unicode MS" panose="020B0604020202020204" pitchFamily="34" charset="-128"/>
              </a:rPr>
              <a:t>Today</a:t>
            </a:r>
          </a:p>
        </p:txBody>
      </p:sp>
      <p:cxnSp>
        <p:nvCxnSpPr>
          <p:cNvPr id="15" name="Gerader Verbinder 13">
            <a:extLst>
              <a:ext uri="{FF2B5EF4-FFF2-40B4-BE49-F238E27FC236}">
                <a16:creationId xmlns:a16="http://schemas.microsoft.com/office/drawing/2014/main" id="{6ECB8BB4-9CA6-4DA5-9C7C-F05E51C27BF9}"/>
              </a:ext>
            </a:extLst>
          </p:cNvPr>
          <p:cNvCxnSpPr>
            <a:cxnSpLocks/>
          </p:cNvCxnSpPr>
          <p:nvPr/>
        </p:nvCxnSpPr>
        <p:spPr bwMode="gray">
          <a:xfrm>
            <a:off x="4308652" y="1764587"/>
            <a:ext cx="3586273" cy="0"/>
          </a:xfrm>
          <a:prstGeom prst="line">
            <a:avLst/>
          </a:prstGeom>
          <a:ln w="28575">
            <a:solidFill>
              <a:srgbClr val="57C9A6"/>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6" name="Textfeld 14">
            <a:extLst>
              <a:ext uri="{FF2B5EF4-FFF2-40B4-BE49-F238E27FC236}">
                <a16:creationId xmlns:a16="http://schemas.microsoft.com/office/drawing/2014/main" id="{6D56DC3C-7131-41DC-9E26-9A334EBD5E10}"/>
              </a:ext>
            </a:extLst>
          </p:cNvPr>
          <p:cNvSpPr txBox="1">
            <a:spLocks/>
          </p:cNvSpPr>
          <p:nvPr/>
        </p:nvSpPr>
        <p:spPr bwMode="gray">
          <a:xfrm>
            <a:off x="8200795" y="1419330"/>
            <a:ext cx="3586273" cy="276999"/>
          </a:xfrm>
          <a:prstGeom prst="rect">
            <a:avLst/>
          </a:prstGeom>
          <a:noFill/>
        </p:spPr>
        <p:txBody>
          <a:bodyPr wrap="square" lIns="0" tIns="0" rIns="0" bIns="0" rtlCol="0">
            <a:no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800" b="1" i="0" u="none" strike="noStrike" kern="1200" cap="none" spc="0" normalizeH="0" baseline="0" noProof="0">
                <a:ln>
                  <a:noFill/>
                </a:ln>
                <a:solidFill>
                  <a:srgbClr val="00BEDC"/>
                </a:solidFill>
                <a:effectLst/>
                <a:uLnTx/>
                <a:uFillTx/>
                <a:latin typeface="Arial"/>
                <a:ea typeface="Arial Unicode MS" panose="020B0604020202020204" pitchFamily="34" charset="-128"/>
                <a:cs typeface="Arial Unicode MS" panose="020B0604020202020204" pitchFamily="34" charset="-128"/>
              </a:rPr>
              <a:t>Tomorrow</a:t>
            </a:r>
          </a:p>
        </p:txBody>
      </p:sp>
      <p:cxnSp>
        <p:nvCxnSpPr>
          <p:cNvPr id="17" name="Gerader Verbinder 15">
            <a:extLst>
              <a:ext uri="{FF2B5EF4-FFF2-40B4-BE49-F238E27FC236}">
                <a16:creationId xmlns:a16="http://schemas.microsoft.com/office/drawing/2014/main" id="{1F6FF13E-75B3-4F13-A5E7-2F68B9FA49E9}"/>
              </a:ext>
            </a:extLst>
          </p:cNvPr>
          <p:cNvCxnSpPr>
            <a:cxnSpLocks/>
          </p:cNvCxnSpPr>
          <p:nvPr/>
        </p:nvCxnSpPr>
        <p:spPr bwMode="gray">
          <a:xfrm>
            <a:off x="8200795" y="1764587"/>
            <a:ext cx="3586273" cy="0"/>
          </a:xfrm>
          <a:prstGeom prst="line">
            <a:avLst/>
          </a:prstGeom>
          <a:ln w="28575" cap="flat" cmpd="sng" algn="ctr">
            <a:solidFill>
              <a:srgbClr val="00BEDC"/>
            </a:solidFill>
            <a:prstDash val="solid"/>
            <a:miter lim="800000"/>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256" name="Gerader Verbinder 11">
            <a:extLst>
              <a:ext uri="{FF2B5EF4-FFF2-40B4-BE49-F238E27FC236}">
                <a16:creationId xmlns:a16="http://schemas.microsoft.com/office/drawing/2014/main" id="{6D9FF58F-23C1-D4C0-02B8-055EA7889377}"/>
              </a:ext>
            </a:extLst>
          </p:cNvPr>
          <p:cNvCxnSpPr>
            <a:cxnSpLocks/>
          </p:cNvCxnSpPr>
          <p:nvPr/>
        </p:nvCxnSpPr>
        <p:spPr>
          <a:xfrm>
            <a:off x="410400" y="5179204"/>
            <a:ext cx="11376788" cy="0"/>
          </a:xfrm>
          <a:prstGeom prst="line">
            <a:avLst/>
          </a:prstGeom>
          <a:ln w="28575">
            <a:solidFill>
              <a:srgbClr val="00C1B6"/>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6" name="Freihandform: Form 4">
            <a:extLst>
              <a:ext uri="{FF2B5EF4-FFF2-40B4-BE49-F238E27FC236}">
                <a16:creationId xmlns:a16="http://schemas.microsoft.com/office/drawing/2014/main" id="{D7CA1AD6-1A2B-425B-8F18-C8C51D7F37AB}"/>
              </a:ext>
            </a:extLst>
          </p:cNvPr>
          <p:cNvSpPr/>
          <p:nvPr/>
        </p:nvSpPr>
        <p:spPr bwMode="gray">
          <a:xfrm>
            <a:off x="416509" y="4489333"/>
            <a:ext cx="3598863" cy="369750"/>
          </a:xfrm>
          <a:custGeom>
            <a:avLst/>
            <a:gdLst>
              <a:gd name="connsiteX0" fmla="*/ 264264 w 3598863"/>
              <a:gd name="connsiteY0" fmla="*/ 0 h 363702"/>
              <a:gd name="connsiteX1" fmla="*/ 3334596 w 3598863"/>
              <a:gd name="connsiteY1" fmla="*/ 0 h 363702"/>
              <a:gd name="connsiteX2" fmla="*/ 3598863 w 3598863"/>
              <a:gd name="connsiteY2" fmla="*/ 363702 h 363702"/>
              <a:gd name="connsiteX3" fmla="*/ 0 w 3598863"/>
              <a:gd name="connsiteY3" fmla="*/ 363702 h 363702"/>
              <a:gd name="connsiteX4" fmla="*/ 0 w 3598863"/>
              <a:gd name="connsiteY4" fmla="*/ 363698 h 3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8863" h="363702">
                <a:moveTo>
                  <a:pt x="264264" y="0"/>
                </a:moveTo>
                <a:lnTo>
                  <a:pt x="3334596" y="0"/>
                </a:lnTo>
                <a:lnTo>
                  <a:pt x="3598863" y="363702"/>
                </a:lnTo>
                <a:lnTo>
                  <a:pt x="0" y="363702"/>
                </a:lnTo>
                <a:lnTo>
                  <a:pt x="0" y="363698"/>
                </a:lnTo>
                <a:close/>
              </a:path>
            </a:pathLst>
          </a:custGeom>
          <a:solidFill>
            <a:srgbClr val="C5C5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Field (sensor/actor) </a:t>
            </a:r>
          </a:p>
        </p:txBody>
      </p:sp>
      <p:sp>
        <p:nvSpPr>
          <p:cNvPr id="7" name="Freihandform: Form 5">
            <a:extLst>
              <a:ext uri="{FF2B5EF4-FFF2-40B4-BE49-F238E27FC236}">
                <a16:creationId xmlns:a16="http://schemas.microsoft.com/office/drawing/2014/main" id="{8272CF32-D975-46A9-B725-FEF357AA50FC}"/>
              </a:ext>
            </a:extLst>
          </p:cNvPr>
          <p:cNvSpPr/>
          <p:nvPr/>
        </p:nvSpPr>
        <p:spPr bwMode="gray">
          <a:xfrm>
            <a:off x="723539" y="4059749"/>
            <a:ext cx="2984802" cy="369750"/>
          </a:xfrm>
          <a:custGeom>
            <a:avLst/>
            <a:gdLst>
              <a:gd name="connsiteX0" fmla="*/ 264267 w 2984802"/>
              <a:gd name="connsiteY0" fmla="*/ 0 h 363702"/>
              <a:gd name="connsiteX1" fmla="*/ 2720535 w 2984802"/>
              <a:gd name="connsiteY1" fmla="*/ 0 h 363702"/>
              <a:gd name="connsiteX2" fmla="*/ 2984802 w 2984802"/>
              <a:gd name="connsiteY2" fmla="*/ 363702 h 363702"/>
              <a:gd name="connsiteX3" fmla="*/ 0 w 2984802"/>
              <a:gd name="connsiteY3" fmla="*/ 363702 h 363702"/>
            </a:gdLst>
            <a:ahLst/>
            <a:cxnLst>
              <a:cxn ang="0">
                <a:pos x="connsiteX0" y="connsiteY0"/>
              </a:cxn>
              <a:cxn ang="0">
                <a:pos x="connsiteX1" y="connsiteY1"/>
              </a:cxn>
              <a:cxn ang="0">
                <a:pos x="connsiteX2" y="connsiteY2"/>
              </a:cxn>
              <a:cxn ang="0">
                <a:pos x="connsiteX3" y="connsiteY3"/>
              </a:cxn>
            </a:cxnLst>
            <a:rect l="l" t="t" r="r" b="b"/>
            <a:pathLst>
              <a:path w="2984802" h="363702">
                <a:moveTo>
                  <a:pt x="264267" y="0"/>
                </a:moveTo>
                <a:lnTo>
                  <a:pt x="2720535" y="0"/>
                </a:lnTo>
                <a:lnTo>
                  <a:pt x="2984802" y="363702"/>
                </a:lnTo>
                <a:lnTo>
                  <a:pt x="0" y="363702"/>
                </a:lnTo>
                <a:close/>
              </a:path>
            </a:pathLst>
          </a:custGeom>
          <a:solidFill>
            <a:srgbClr val="C5C5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ontrol </a:t>
            </a:r>
          </a:p>
        </p:txBody>
      </p:sp>
      <p:sp>
        <p:nvSpPr>
          <p:cNvPr id="8" name="Freihandform: Form 6">
            <a:extLst>
              <a:ext uri="{FF2B5EF4-FFF2-40B4-BE49-F238E27FC236}">
                <a16:creationId xmlns:a16="http://schemas.microsoft.com/office/drawing/2014/main" id="{70B6E035-E645-455C-9F3C-EFBEE73407E5}"/>
              </a:ext>
            </a:extLst>
          </p:cNvPr>
          <p:cNvSpPr/>
          <p:nvPr/>
        </p:nvSpPr>
        <p:spPr bwMode="gray">
          <a:xfrm>
            <a:off x="1030572" y="3630163"/>
            <a:ext cx="2370736" cy="369750"/>
          </a:xfrm>
          <a:custGeom>
            <a:avLst/>
            <a:gdLst>
              <a:gd name="connsiteX0" fmla="*/ 264267 w 2370736"/>
              <a:gd name="connsiteY0" fmla="*/ 0 h 363702"/>
              <a:gd name="connsiteX1" fmla="*/ 2106469 w 2370736"/>
              <a:gd name="connsiteY1" fmla="*/ 0 h 363702"/>
              <a:gd name="connsiteX2" fmla="*/ 2370736 w 2370736"/>
              <a:gd name="connsiteY2" fmla="*/ 363702 h 363702"/>
              <a:gd name="connsiteX3" fmla="*/ 0 w 2370736"/>
              <a:gd name="connsiteY3" fmla="*/ 363702 h 363702"/>
            </a:gdLst>
            <a:ahLst/>
            <a:cxnLst>
              <a:cxn ang="0">
                <a:pos x="connsiteX0" y="connsiteY0"/>
              </a:cxn>
              <a:cxn ang="0">
                <a:pos x="connsiteX1" y="connsiteY1"/>
              </a:cxn>
              <a:cxn ang="0">
                <a:pos x="connsiteX2" y="connsiteY2"/>
              </a:cxn>
              <a:cxn ang="0">
                <a:pos x="connsiteX3" y="connsiteY3"/>
              </a:cxn>
            </a:cxnLst>
            <a:rect l="l" t="t" r="r" b="b"/>
            <a:pathLst>
              <a:path w="2370736" h="363702">
                <a:moveTo>
                  <a:pt x="264267" y="0"/>
                </a:moveTo>
                <a:lnTo>
                  <a:pt x="2106469" y="0"/>
                </a:lnTo>
                <a:lnTo>
                  <a:pt x="2370736" y="363702"/>
                </a:lnTo>
                <a:lnTo>
                  <a:pt x="0" y="363702"/>
                </a:lnTo>
                <a:close/>
              </a:path>
            </a:pathLst>
          </a:custGeom>
          <a:solidFill>
            <a:srgbClr val="C5C5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 </a:t>
            </a:r>
          </a:p>
        </p:txBody>
      </p:sp>
      <p:sp>
        <p:nvSpPr>
          <p:cNvPr id="9" name="Freihandform: Form 7">
            <a:extLst>
              <a:ext uri="{FF2B5EF4-FFF2-40B4-BE49-F238E27FC236}">
                <a16:creationId xmlns:a16="http://schemas.microsoft.com/office/drawing/2014/main" id="{6AA6C494-5BD3-464A-8BDC-26113C9738C5}"/>
              </a:ext>
            </a:extLst>
          </p:cNvPr>
          <p:cNvSpPr/>
          <p:nvPr/>
        </p:nvSpPr>
        <p:spPr bwMode="gray">
          <a:xfrm>
            <a:off x="1337605" y="3200577"/>
            <a:ext cx="1756670" cy="369750"/>
          </a:xfrm>
          <a:custGeom>
            <a:avLst/>
            <a:gdLst>
              <a:gd name="connsiteX0" fmla="*/ 264267 w 1756670"/>
              <a:gd name="connsiteY0" fmla="*/ 0 h 363702"/>
              <a:gd name="connsiteX1" fmla="*/ 1492403 w 1756670"/>
              <a:gd name="connsiteY1" fmla="*/ 0 h 363702"/>
              <a:gd name="connsiteX2" fmla="*/ 1756670 w 1756670"/>
              <a:gd name="connsiteY2" fmla="*/ 363702 h 363702"/>
              <a:gd name="connsiteX3" fmla="*/ 0 w 1756670"/>
              <a:gd name="connsiteY3" fmla="*/ 363702 h 363702"/>
            </a:gdLst>
            <a:ahLst/>
            <a:cxnLst>
              <a:cxn ang="0">
                <a:pos x="connsiteX0" y="connsiteY0"/>
              </a:cxn>
              <a:cxn ang="0">
                <a:pos x="connsiteX1" y="connsiteY1"/>
              </a:cxn>
              <a:cxn ang="0">
                <a:pos x="connsiteX2" y="connsiteY2"/>
              </a:cxn>
              <a:cxn ang="0">
                <a:pos x="connsiteX3" y="connsiteY3"/>
              </a:cxn>
            </a:cxnLst>
            <a:rect l="l" t="t" r="r" b="b"/>
            <a:pathLst>
              <a:path w="1756670" h="363702">
                <a:moveTo>
                  <a:pt x="264267" y="0"/>
                </a:moveTo>
                <a:lnTo>
                  <a:pt x="1492403" y="0"/>
                </a:lnTo>
                <a:lnTo>
                  <a:pt x="1756670" y="363702"/>
                </a:lnTo>
                <a:lnTo>
                  <a:pt x="0" y="363702"/>
                </a:lnTo>
                <a:close/>
              </a:path>
            </a:pathLst>
          </a:custGeom>
          <a:solidFill>
            <a:srgbClr val="C5C5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 MES</a:t>
            </a:r>
          </a:p>
        </p:txBody>
      </p:sp>
      <p:sp>
        <p:nvSpPr>
          <p:cNvPr id="10" name="Freihandform: Form 8">
            <a:extLst>
              <a:ext uri="{FF2B5EF4-FFF2-40B4-BE49-F238E27FC236}">
                <a16:creationId xmlns:a16="http://schemas.microsoft.com/office/drawing/2014/main" id="{B8E18264-6949-436F-9D23-CA2A7A24E4DF}"/>
              </a:ext>
            </a:extLst>
          </p:cNvPr>
          <p:cNvSpPr/>
          <p:nvPr/>
        </p:nvSpPr>
        <p:spPr bwMode="gray">
          <a:xfrm>
            <a:off x="1644638" y="2770991"/>
            <a:ext cx="1142604" cy="369750"/>
          </a:xfrm>
          <a:custGeom>
            <a:avLst/>
            <a:gdLst>
              <a:gd name="connsiteX0" fmla="*/ 264267 w 1142604"/>
              <a:gd name="connsiteY0" fmla="*/ 0 h 363702"/>
              <a:gd name="connsiteX1" fmla="*/ 878337 w 1142604"/>
              <a:gd name="connsiteY1" fmla="*/ 0 h 363702"/>
              <a:gd name="connsiteX2" fmla="*/ 1142604 w 1142604"/>
              <a:gd name="connsiteY2" fmla="*/ 363702 h 363702"/>
              <a:gd name="connsiteX3" fmla="*/ 0 w 1142604"/>
              <a:gd name="connsiteY3" fmla="*/ 363702 h 363702"/>
            </a:gdLst>
            <a:ahLst/>
            <a:cxnLst>
              <a:cxn ang="0">
                <a:pos x="connsiteX0" y="connsiteY0"/>
              </a:cxn>
              <a:cxn ang="0">
                <a:pos x="connsiteX1" y="connsiteY1"/>
              </a:cxn>
              <a:cxn ang="0">
                <a:pos x="connsiteX2" y="connsiteY2"/>
              </a:cxn>
              <a:cxn ang="0">
                <a:pos x="connsiteX3" y="connsiteY3"/>
              </a:cxn>
            </a:cxnLst>
            <a:rect l="l" t="t" r="r" b="b"/>
            <a:pathLst>
              <a:path w="1142604" h="363702">
                <a:moveTo>
                  <a:pt x="264267" y="0"/>
                </a:moveTo>
                <a:lnTo>
                  <a:pt x="878337" y="0"/>
                </a:lnTo>
                <a:lnTo>
                  <a:pt x="1142604" y="363702"/>
                </a:lnTo>
                <a:lnTo>
                  <a:pt x="0" y="363702"/>
                </a:lnTo>
                <a:close/>
              </a:path>
            </a:pathLst>
          </a:custGeom>
          <a:solidFill>
            <a:srgbClr val="C5C5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 </a:t>
            </a:r>
          </a:p>
        </p:txBody>
      </p:sp>
      <p:sp>
        <p:nvSpPr>
          <p:cNvPr id="11" name="Freihandform: Form 9">
            <a:extLst>
              <a:ext uri="{FF2B5EF4-FFF2-40B4-BE49-F238E27FC236}">
                <a16:creationId xmlns:a16="http://schemas.microsoft.com/office/drawing/2014/main" id="{0ADA086D-C539-4AFD-8147-BBF29837E262}"/>
              </a:ext>
            </a:extLst>
          </p:cNvPr>
          <p:cNvSpPr/>
          <p:nvPr/>
        </p:nvSpPr>
        <p:spPr bwMode="gray">
          <a:xfrm>
            <a:off x="1951671" y="2341405"/>
            <a:ext cx="528538" cy="369750"/>
          </a:xfrm>
          <a:custGeom>
            <a:avLst/>
            <a:gdLst>
              <a:gd name="connsiteX0" fmla="*/ 264267 w 528538"/>
              <a:gd name="connsiteY0" fmla="*/ 0 h 363702"/>
              <a:gd name="connsiteX1" fmla="*/ 264271 w 528538"/>
              <a:gd name="connsiteY1" fmla="*/ 0 h 363702"/>
              <a:gd name="connsiteX2" fmla="*/ 528538 w 528538"/>
              <a:gd name="connsiteY2" fmla="*/ 363702 h 363702"/>
              <a:gd name="connsiteX3" fmla="*/ 0 w 528538"/>
              <a:gd name="connsiteY3" fmla="*/ 363702 h 363702"/>
            </a:gdLst>
            <a:ahLst/>
            <a:cxnLst>
              <a:cxn ang="0">
                <a:pos x="connsiteX0" y="connsiteY0"/>
              </a:cxn>
              <a:cxn ang="0">
                <a:pos x="connsiteX1" y="connsiteY1"/>
              </a:cxn>
              <a:cxn ang="0">
                <a:pos x="connsiteX2" y="connsiteY2"/>
              </a:cxn>
              <a:cxn ang="0">
                <a:pos x="connsiteX3" y="connsiteY3"/>
              </a:cxn>
            </a:cxnLst>
            <a:rect l="l" t="t" r="r" b="b"/>
            <a:pathLst>
              <a:path w="528538" h="363702">
                <a:moveTo>
                  <a:pt x="264267" y="0"/>
                </a:moveTo>
                <a:lnTo>
                  <a:pt x="264271" y="0"/>
                </a:lnTo>
                <a:lnTo>
                  <a:pt x="528538" y="363702"/>
                </a:lnTo>
                <a:lnTo>
                  <a:pt x="0" y="363702"/>
                </a:lnTo>
                <a:close/>
              </a:path>
            </a:pathLst>
          </a:custGeom>
          <a:solidFill>
            <a:srgbClr val="C5C5B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3600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ERP </a:t>
            </a:r>
          </a:p>
        </p:txBody>
      </p:sp>
      <p:sp>
        <p:nvSpPr>
          <p:cNvPr id="18" name="Textfeld 16">
            <a:extLst>
              <a:ext uri="{FF2B5EF4-FFF2-40B4-BE49-F238E27FC236}">
                <a16:creationId xmlns:a16="http://schemas.microsoft.com/office/drawing/2014/main" id="{F68A0D9E-2293-4DC6-887D-E92D464E6209}"/>
              </a:ext>
            </a:extLst>
          </p:cNvPr>
          <p:cNvSpPr txBox="1">
            <a:spLocks/>
          </p:cNvSpPr>
          <p:nvPr/>
        </p:nvSpPr>
        <p:spPr bwMode="gray">
          <a:xfrm>
            <a:off x="416509" y="2279685"/>
            <a:ext cx="1461939" cy="215444"/>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Management</a:t>
            </a:r>
            <a:r>
              <a:rPr kumimoji="0" lang="en-US" sz="14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rPr>
              <a:t> level</a:t>
            </a:r>
          </a:p>
        </p:txBody>
      </p:sp>
      <p:cxnSp>
        <p:nvCxnSpPr>
          <p:cNvPr id="20" name="Gerader Verbinder 18">
            <a:extLst>
              <a:ext uri="{FF2B5EF4-FFF2-40B4-BE49-F238E27FC236}">
                <a16:creationId xmlns:a16="http://schemas.microsoft.com/office/drawing/2014/main" id="{7AC22D7A-3E63-4155-BC6E-EAA66D3DD923}"/>
              </a:ext>
            </a:extLst>
          </p:cNvPr>
          <p:cNvCxnSpPr>
            <a:cxnSpLocks/>
          </p:cNvCxnSpPr>
          <p:nvPr/>
        </p:nvCxnSpPr>
        <p:spPr bwMode="gray">
          <a:xfrm>
            <a:off x="416509" y="3363701"/>
            <a:ext cx="921094" cy="0"/>
          </a:xfrm>
          <a:prstGeom prst="line">
            <a:avLst/>
          </a:prstGeom>
          <a:ln w="12700">
            <a:solidFill>
              <a:srgbClr val="66667E"/>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 name="Gerader Verbinder 19">
            <a:extLst>
              <a:ext uri="{FF2B5EF4-FFF2-40B4-BE49-F238E27FC236}">
                <a16:creationId xmlns:a16="http://schemas.microsoft.com/office/drawing/2014/main" id="{870DB254-56F3-4875-8DBA-971C80B1D290}"/>
              </a:ext>
            </a:extLst>
          </p:cNvPr>
          <p:cNvCxnSpPr>
            <a:cxnSpLocks/>
          </p:cNvCxnSpPr>
          <p:nvPr/>
        </p:nvCxnSpPr>
        <p:spPr bwMode="gray">
          <a:xfrm>
            <a:off x="3081688" y="3363701"/>
            <a:ext cx="921094" cy="0"/>
          </a:xfrm>
          <a:prstGeom prst="line">
            <a:avLst/>
          </a:prstGeom>
          <a:ln w="12700">
            <a:solidFill>
              <a:srgbClr val="66667E"/>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 name="Textfeld 20">
            <a:extLst>
              <a:ext uri="{FF2B5EF4-FFF2-40B4-BE49-F238E27FC236}">
                <a16:creationId xmlns:a16="http://schemas.microsoft.com/office/drawing/2014/main" id="{E26515CD-427B-4029-AC85-0C3B50D08808}"/>
              </a:ext>
            </a:extLst>
          </p:cNvPr>
          <p:cNvSpPr txBox="1">
            <a:spLocks/>
          </p:cNvSpPr>
          <p:nvPr/>
        </p:nvSpPr>
        <p:spPr bwMode="gray">
          <a:xfrm>
            <a:off x="416509" y="3447027"/>
            <a:ext cx="735779" cy="646331"/>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Field and</a:t>
            </a:r>
            <a:b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b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control</a:t>
            </a:r>
            <a:b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b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level</a:t>
            </a:r>
          </a:p>
        </p:txBody>
      </p:sp>
      <p:grpSp>
        <p:nvGrpSpPr>
          <p:cNvPr id="252" name="Gruppieren 251">
            <a:extLst>
              <a:ext uri="{FF2B5EF4-FFF2-40B4-BE49-F238E27FC236}">
                <a16:creationId xmlns:a16="http://schemas.microsoft.com/office/drawing/2014/main" id="{731BDE4D-2C2A-FC63-623C-E96E1677C7AA}"/>
              </a:ext>
            </a:extLst>
          </p:cNvPr>
          <p:cNvGrpSpPr/>
          <p:nvPr/>
        </p:nvGrpSpPr>
        <p:grpSpPr>
          <a:xfrm>
            <a:off x="4579444" y="3437685"/>
            <a:ext cx="3043665" cy="998334"/>
            <a:chOff x="4304327" y="3448642"/>
            <a:chExt cx="3592799" cy="1406199"/>
          </a:xfrm>
          <a:solidFill>
            <a:schemeClr val="accent5">
              <a:lumMod val="40000"/>
              <a:lumOff val="60000"/>
            </a:schemeClr>
          </a:solidFill>
        </p:grpSpPr>
        <p:sp>
          <p:nvSpPr>
            <p:cNvPr id="23" name="Abgerundetes Rechteck 47">
              <a:extLst>
                <a:ext uri="{FF2B5EF4-FFF2-40B4-BE49-F238E27FC236}">
                  <a16:creationId xmlns:a16="http://schemas.microsoft.com/office/drawing/2014/main" id="{0FA4B7D2-8FD5-42F8-85C4-C627B9CA2442}"/>
                </a:ext>
              </a:extLst>
            </p:cNvPr>
            <p:cNvSpPr/>
            <p:nvPr/>
          </p:nvSpPr>
          <p:spPr bwMode="gray">
            <a:xfrm rot="16200000">
              <a:off x="4902574" y="4012870"/>
              <a:ext cx="831701" cy="852239"/>
            </a:xfrm>
            <a:custGeom>
              <a:avLst/>
              <a:gdLst/>
              <a:ahLst/>
              <a:cxnLst/>
              <a:rect l="l" t="t" r="r" b="b"/>
              <a:pathLst>
                <a:path w="1320585" h="1320597">
                  <a:moveTo>
                    <a:pt x="1116001" y="1320597"/>
                  </a:moveTo>
                  <a:lnTo>
                    <a:pt x="619488" y="1320597"/>
                  </a:lnTo>
                  <a:lnTo>
                    <a:pt x="619488" y="1276850"/>
                  </a:lnTo>
                  <a:cubicBezTo>
                    <a:pt x="653697" y="1267630"/>
                    <a:pt x="678293" y="1236117"/>
                    <a:pt x="678293" y="1198858"/>
                  </a:cubicBezTo>
                  <a:cubicBezTo>
                    <a:pt x="678293" y="1153104"/>
                    <a:pt x="641202" y="1116013"/>
                    <a:pt x="595448" y="1116013"/>
                  </a:cubicBezTo>
                  <a:lnTo>
                    <a:pt x="520554" y="1116013"/>
                  </a:lnTo>
                  <a:cubicBezTo>
                    <a:pt x="474800" y="1116013"/>
                    <a:pt x="437709" y="1153104"/>
                    <a:pt x="437709" y="1198858"/>
                  </a:cubicBezTo>
                  <a:cubicBezTo>
                    <a:pt x="437709" y="1236116"/>
                    <a:pt x="462304" y="1267630"/>
                    <a:pt x="496514" y="1276850"/>
                  </a:cubicBezTo>
                  <a:lnTo>
                    <a:pt x="496514" y="1320597"/>
                  </a:lnTo>
                  <a:lnTo>
                    <a:pt x="0" y="1320597"/>
                  </a:lnTo>
                  <a:lnTo>
                    <a:pt x="0" y="204584"/>
                  </a:lnTo>
                  <a:lnTo>
                    <a:pt x="496504" y="204584"/>
                  </a:lnTo>
                  <a:lnTo>
                    <a:pt x="496504" y="160837"/>
                  </a:lnTo>
                  <a:cubicBezTo>
                    <a:pt x="462294" y="151617"/>
                    <a:pt x="437699" y="120103"/>
                    <a:pt x="437699" y="82845"/>
                  </a:cubicBezTo>
                  <a:cubicBezTo>
                    <a:pt x="437699" y="37091"/>
                    <a:pt x="474790" y="0"/>
                    <a:pt x="520544" y="0"/>
                  </a:cubicBezTo>
                  <a:lnTo>
                    <a:pt x="595438" y="0"/>
                  </a:lnTo>
                  <a:cubicBezTo>
                    <a:pt x="641192" y="0"/>
                    <a:pt x="678283" y="37091"/>
                    <a:pt x="678283" y="82845"/>
                  </a:cubicBezTo>
                  <a:cubicBezTo>
                    <a:pt x="678283" y="120104"/>
                    <a:pt x="653687" y="151617"/>
                    <a:pt x="619478" y="160837"/>
                  </a:cubicBezTo>
                  <a:lnTo>
                    <a:pt x="619478" y="204584"/>
                  </a:lnTo>
                  <a:lnTo>
                    <a:pt x="1116001" y="204584"/>
                  </a:lnTo>
                  <a:lnTo>
                    <a:pt x="1116001" y="701134"/>
                  </a:lnTo>
                  <a:lnTo>
                    <a:pt x="1159748" y="701134"/>
                  </a:lnTo>
                  <a:cubicBezTo>
                    <a:pt x="1168968" y="666924"/>
                    <a:pt x="1200482" y="642329"/>
                    <a:pt x="1237740" y="642329"/>
                  </a:cubicBezTo>
                  <a:cubicBezTo>
                    <a:pt x="1283494" y="642329"/>
                    <a:pt x="1320585" y="679420"/>
                    <a:pt x="1320585" y="725174"/>
                  </a:cubicBezTo>
                  <a:lnTo>
                    <a:pt x="1320585" y="800068"/>
                  </a:lnTo>
                  <a:cubicBezTo>
                    <a:pt x="1320585" y="845822"/>
                    <a:pt x="1283494" y="882913"/>
                    <a:pt x="1237740" y="882913"/>
                  </a:cubicBezTo>
                  <a:cubicBezTo>
                    <a:pt x="1200481" y="882913"/>
                    <a:pt x="1168968" y="858317"/>
                    <a:pt x="1159748" y="824108"/>
                  </a:cubicBezTo>
                  <a:lnTo>
                    <a:pt x="1116001" y="824108"/>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Freihandform: Form 22">
              <a:extLst>
                <a:ext uri="{FF2B5EF4-FFF2-40B4-BE49-F238E27FC236}">
                  <a16:creationId xmlns:a16="http://schemas.microsoft.com/office/drawing/2014/main" id="{8E477CC5-DA99-48C4-9DDB-31663686E79E}"/>
                </a:ext>
              </a:extLst>
            </p:cNvPr>
            <p:cNvSpPr/>
            <p:nvPr/>
          </p:nvSpPr>
          <p:spPr bwMode="gray">
            <a:xfrm rot="16200000">
              <a:off x="5033309" y="3440752"/>
              <a:ext cx="702260" cy="720212"/>
            </a:xfrm>
            <a:custGeom>
              <a:avLst/>
              <a:gdLst>
                <a:gd name="connsiteX0" fmla="*/ 690774 w 690774"/>
                <a:gd name="connsiteY0" fmla="*/ 284254 h 720212"/>
                <a:gd name="connsiteX1" fmla="*/ 690774 w 690774"/>
                <a:gd name="connsiteY1" fmla="*/ 720212 h 720212"/>
                <a:gd name="connsiteX2" fmla="*/ 383771 w 690774"/>
                <a:gd name="connsiteY2" fmla="*/ 720212 h 720212"/>
                <a:gd name="connsiteX3" fmla="*/ 383771 w 690774"/>
                <a:gd name="connsiteY3" fmla="*/ 691980 h 720212"/>
                <a:gd name="connsiteX4" fmla="*/ 420200 w 690774"/>
                <a:gd name="connsiteY4" fmla="*/ 641649 h 720212"/>
                <a:gd name="connsiteX5" fmla="*/ 368878 w 690774"/>
                <a:gd name="connsiteY5" fmla="*/ 588185 h 720212"/>
                <a:gd name="connsiteX6" fmla="*/ 322482 w 690774"/>
                <a:gd name="connsiteY6" fmla="*/ 588185 h 720212"/>
                <a:gd name="connsiteX7" fmla="*/ 271159 w 690774"/>
                <a:gd name="connsiteY7" fmla="*/ 641649 h 720212"/>
                <a:gd name="connsiteX8" fmla="*/ 307589 w 690774"/>
                <a:gd name="connsiteY8" fmla="*/ 691980 h 720212"/>
                <a:gd name="connsiteX9" fmla="*/ 307589 w 690774"/>
                <a:gd name="connsiteY9" fmla="*/ 720212 h 720212"/>
                <a:gd name="connsiteX10" fmla="*/ 0 w 690774"/>
                <a:gd name="connsiteY10" fmla="*/ 720212 h 720212"/>
                <a:gd name="connsiteX11" fmla="*/ 0 w 690774"/>
                <a:gd name="connsiteY11" fmla="*/ 399806 h 720212"/>
                <a:gd name="connsiteX12" fmla="*/ 27101 w 690774"/>
                <a:gd name="connsiteY12" fmla="*/ 399806 h 720212"/>
                <a:gd name="connsiteX13" fmla="*/ 75417 w 690774"/>
                <a:gd name="connsiteY13" fmla="*/ 437755 h 720212"/>
                <a:gd name="connsiteX14" fmla="*/ 126739 w 690774"/>
                <a:gd name="connsiteY14" fmla="*/ 384292 h 720212"/>
                <a:gd name="connsiteX15" fmla="*/ 126739 w 690774"/>
                <a:gd name="connsiteY15" fmla="*/ 335959 h 720212"/>
                <a:gd name="connsiteX16" fmla="*/ 75417 w 690774"/>
                <a:gd name="connsiteY16" fmla="*/ 282496 h 720212"/>
                <a:gd name="connsiteX17" fmla="*/ 27101 w 690774"/>
                <a:gd name="connsiteY17" fmla="*/ 320445 h 720212"/>
                <a:gd name="connsiteX18" fmla="*/ 0 w 690774"/>
                <a:gd name="connsiteY18" fmla="*/ 320445 h 720212"/>
                <a:gd name="connsiteX19" fmla="*/ 0 w 690774"/>
                <a:gd name="connsiteY19" fmla="*/ 0 h 720212"/>
                <a:gd name="connsiteX20" fmla="*/ 299565 w 690774"/>
                <a:gd name="connsiteY20" fmla="*/ 0 h 72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0774" h="720212">
                  <a:moveTo>
                    <a:pt x="690774" y="284254"/>
                  </a:moveTo>
                  <a:lnTo>
                    <a:pt x="690774" y="720212"/>
                  </a:lnTo>
                  <a:lnTo>
                    <a:pt x="383771" y="720212"/>
                  </a:lnTo>
                  <a:lnTo>
                    <a:pt x="383771" y="691980"/>
                  </a:lnTo>
                  <a:cubicBezTo>
                    <a:pt x="404963" y="686030"/>
                    <a:pt x="420200" y="665694"/>
                    <a:pt x="420200" y="641649"/>
                  </a:cubicBezTo>
                  <a:cubicBezTo>
                    <a:pt x="420200" y="612122"/>
                    <a:pt x="397223" y="588185"/>
                    <a:pt x="368878" y="588185"/>
                  </a:cubicBezTo>
                  <a:lnTo>
                    <a:pt x="322482" y="588185"/>
                  </a:lnTo>
                  <a:cubicBezTo>
                    <a:pt x="294137" y="588185"/>
                    <a:pt x="271159" y="612122"/>
                    <a:pt x="271159" y="641649"/>
                  </a:cubicBezTo>
                  <a:cubicBezTo>
                    <a:pt x="271159" y="665693"/>
                    <a:pt x="286396" y="686030"/>
                    <a:pt x="307589" y="691980"/>
                  </a:cubicBezTo>
                  <a:lnTo>
                    <a:pt x="307589" y="720212"/>
                  </a:lnTo>
                  <a:lnTo>
                    <a:pt x="0" y="720212"/>
                  </a:lnTo>
                  <a:lnTo>
                    <a:pt x="0" y="399806"/>
                  </a:lnTo>
                  <a:lnTo>
                    <a:pt x="27101" y="399806"/>
                  </a:lnTo>
                  <a:cubicBezTo>
                    <a:pt x="32813" y="421883"/>
                    <a:pt x="52335" y="437755"/>
                    <a:pt x="75417" y="437755"/>
                  </a:cubicBezTo>
                  <a:cubicBezTo>
                    <a:pt x="103761" y="437755"/>
                    <a:pt x="126739" y="413819"/>
                    <a:pt x="126739" y="384292"/>
                  </a:cubicBezTo>
                  <a:lnTo>
                    <a:pt x="126739" y="335959"/>
                  </a:lnTo>
                  <a:cubicBezTo>
                    <a:pt x="126739" y="306432"/>
                    <a:pt x="103761" y="282496"/>
                    <a:pt x="75417" y="282496"/>
                  </a:cubicBezTo>
                  <a:cubicBezTo>
                    <a:pt x="52336" y="282496"/>
                    <a:pt x="32813" y="298368"/>
                    <a:pt x="27101" y="320445"/>
                  </a:cubicBezTo>
                  <a:lnTo>
                    <a:pt x="0" y="320445"/>
                  </a:lnTo>
                  <a:lnTo>
                    <a:pt x="0" y="0"/>
                  </a:lnTo>
                  <a:lnTo>
                    <a:pt x="299565" y="0"/>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Freihandform: Form 23">
              <a:extLst>
                <a:ext uri="{FF2B5EF4-FFF2-40B4-BE49-F238E27FC236}">
                  <a16:creationId xmlns:a16="http://schemas.microsoft.com/office/drawing/2014/main" id="{36743E37-E6C2-4C5C-9A3C-770D5EE9A008}"/>
                </a:ext>
              </a:extLst>
            </p:cNvPr>
            <p:cNvSpPr/>
            <p:nvPr/>
          </p:nvSpPr>
          <p:spPr bwMode="gray">
            <a:xfrm>
              <a:off x="4304327" y="4151985"/>
              <a:ext cx="720005" cy="702854"/>
            </a:xfrm>
            <a:custGeom>
              <a:avLst/>
              <a:gdLst>
                <a:gd name="connsiteX0" fmla="*/ 502342 w 720005"/>
                <a:gd name="connsiteY0" fmla="*/ 0 h 691358"/>
                <a:gd name="connsiteX1" fmla="*/ 720005 w 720005"/>
                <a:gd name="connsiteY1" fmla="*/ 0 h 691358"/>
                <a:gd name="connsiteX2" fmla="*/ 720005 w 720005"/>
                <a:gd name="connsiteY2" fmla="*/ 307595 h 691358"/>
                <a:gd name="connsiteX3" fmla="*/ 691775 w 720005"/>
                <a:gd name="connsiteY3" fmla="*/ 307595 h 691358"/>
                <a:gd name="connsiteX4" fmla="*/ 641443 w 720005"/>
                <a:gd name="connsiteY4" fmla="*/ 271165 h 691358"/>
                <a:gd name="connsiteX5" fmla="*/ 587979 w 720005"/>
                <a:gd name="connsiteY5" fmla="*/ 322487 h 691358"/>
                <a:gd name="connsiteX6" fmla="*/ 587979 w 720005"/>
                <a:gd name="connsiteY6" fmla="*/ 368884 h 691358"/>
                <a:gd name="connsiteX7" fmla="*/ 641443 w 720005"/>
                <a:gd name="connsiteY7" fmla="*/ 420206 h 691358"/>
                <a:gd name="connsiteX8" fmla="*/ 691775 w 720005"/>
                <a:gd name="connsiteY8" fmla="*/ 383777 h 691358"/>
                <a:gd name="connsiteX9" fmla="*/ 720005 w 720005"/>
                <a:gd name="connsiteY9" fmla="*/ 383777 h 691358"/>
                <a:gd name="connsiteX10" fmla="*/ 720005 w 720005"/>
                <a:gd name="connsiteY10" fmla="*/ 691358 h 691358"/>
                <a:gd name="connsiteX11" fmla="*/ 0 w 720005"/>
                <a:gd name="connsiteY11" fmla="*/ 691358 h 69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0005" h="691358">
                  <a:moveTo>
                    <a:pt x="502342" y="0"/>
                  </a:moveTo>
                  <a:lnTo>
                    <a:pt x="720005" y="0"/>
                  </a:lnTo>
                  <a:lnTo>
                    <a:pt x="720005" y="307595"/>
                  </a:lnTo>
                  <a:lnTo>
                    <a:pt x="691775" y="307595"/>
                  </a:lnTo>
                  <a:cubicBezTo>
                    <a:pt x="685825" y="286402"/>
                    <a:pt x="665488" y="271165"/>
                    <a:pt x="641443" y="271165"/>
                  </a:cubicBezTo>
                  <a:cubicBezTo>
                    <a:pt x="611916" y="271165"/>
                    <a:pt x="587979" y="294143"/>
                    <a:pt x="587979" y="322487"/>
                  </a:cubicBezTo>
                  <a:lnTo>
                    <a:pt x="587979" y="368884"/>
                  </a:lnTo>
                  <a:cubicBezTo>
                    <a:pt x="587979" y="397228"/>
                    <a:pt x="611916" y="420206"/>
                    <a:pt x="641443" y="420206"/>
                  </a:cubicBezTo>
                  <a:cubicBezTo>
                    <a:pt x="665487" y="420206"/>
                    <a:pt x="685825" y="404970"/>
                    <a:pt x="691775" y="383777"/>
                  </a:cubicBezTo>
                  <a:lnTo>
                    <a:pt x="720005" y="383777"/>
                  </a:lnTo>
                  <a:lnTo>
                    <a:pt x="720005" y="691358"/>
                  </a:lnTo>
                  <a:lnTo>
                    <a:pt x="0" y="691358"/>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Abgerundetes Rechteck 47">
              <a:extLst>
                <a:ext uri="{FF2B5EF4-FFF2-40B4-BE49-F238E27FC236}">
                  <a16:creationId xmlns:a16="http://schemas.microsoft.com/office/drawing/2014/main" id="{BE88ED68-DF05-4E25-BE59-FACE44CE6C31}"/>
                </a:ext>
              </a:extLst>
            </p:cNvPr>
            <p:cNvSpPr/>
            <p:nvPr/>
          </p:nvSpPr>
          <p:spPr bwMode="gray">
            <a:xfrm>
              <a:off x="5612517" y="4023138"/>
              <a:ext cx="852239" cy="831700"/>
            </a:xfrm>
            <a:custGeom>
              <a:avLst/>
              <a:gdLst/>
              <a:ahLst/>
              <a:cxnLst/>
              <a:rect l="l" t="t" r="r" b="b"/>
              <a:pathLst>
                <a:path w="1320596" h="1320584">
                  <a:moveTo>
                    <a:pt x="1320596" y="204584"/>
                  </a:moveTo>
                  <a:lnTo>
                    <a:pt x="1320596" y="701097"/>
                  </a:lnTo>
                  <a:lnTo>
                    <a:pt x="1276849" y="701097"/>
                  </a:lnTo>
                  <a:cubicBezTo>
                    <a:pt x="1267629" y="666888"/>
                    <a:pt x="1236116" y="642292"/>
                    <a:pt x="1198857" y="642292"/>
                  </a:cubicBezTo>
                  <a:cubicBezTo>
                    <a:pt x="1153103" y="642292"/>
                    <a:pt x="1116012" y="679383"/>
                    <a:pt x="1116012" y="725137"/>
                  </a:cubicBezTo>
                  <a:lnTo>
                    <a:pt x="1116012" y="800031"/>
                  </a:lnTo>
                  <a:cubicBezTo>
                    <a:pt x="1116012" y="845785"/>
                    <a:pt x="1153103" y="882876"/>
                    <a:pt x="1198857" y="882876"/>
                  </a:cubicBezTo>
                  <a:cubicBezTo>
                    <a:pt x="1236115" y="882876"/>
                    <a:pt x="1267629" y="858281"/>
                    <a:pt x="1276849" y="824071"/>
                  </a:cubicBezTo>
                  <a:lnTo>
                    <a:pt x="1320596" y="824071"/>
                  </a:lnTo>
                  <a:lnTo>
                    <a:pt x="1320596" y="1320584"/>
                  </a:lnTo>
                  <a:lnTo>
                    <a:pt x="204583" y="1320584"/>
                  </a:lnTo>
                  <a:lnTo>
                    <a:pt x="204583" y="824071"/>
                  </a:lnTo>
                  <a:lnTo>
                    <a:pt x="160837" y="824071"/>
                  </a:lnTo>
                  <a:cubicBezTo>
                    <a:pt x="151617" y="858281"/>
                    <a:pt x="120103" y="882876"/>
                    <a:pt x="82845" y="882876"/>
                  </a:cubicBezTo>
                  <a:cubicBezTo>
                    <a:pt x="37091" y="882876"/>
                    <a:pt x="0" y="845785"/>
                    <a:pt x="0" y="800031"/>
                  </a:cubicBezTo>
                  <a:lnTo>
                    <a:pt x="0" y="725137"/>
                  </a:lnTo>
                  <a:cubicBezTo>
                    <a:pt x="0" y="679383"/>
                    <a:pt x="37091" y="642292"/>
                    <a:pt x="82845" y="642292"/>
                  </a:cubicBezTo>
                  <a:cubicBezTo>
                    <a:pt x="120104" y="642292"/>
                    <a:pt x="151617" y="666888"/>
                    <a:pt x="160837" y="701097"/>
                  </a:cubicBezTo>
                  <a:lnTo>
                    <a:pt x="204583" y="701097"/>
                  </a:lnTo>
                  <a:lnTo>
                    <a:pt x="204583" y="204584"/>
                  </a:lnTo>
                  <a:lnTo>
                    <a:pt x="701122" y="204584"/>
                  </a:lnTo>
                  <a:lnTo>
                    <a:pt x="701122" y="160837"/>
                  </a:lnTo>
                  <a:cubicBezTo>
                    <a:pt x="666912" y="151617"/>
                    <a:pt x="642317" y="120103"/>
                    <a:pt x="642317" y="82845"/>
                  </a:cubicBezTo>
                  <a:cubicBezTo>
                    <a:pt x="642317" y="37091"/>
                    <a:pt x="679408" y="0"/>
                    <a:pt x="725162" y="0"/>
                  </a:cubicBezTo>
                  <a:lnTo>
                    <a:pt x="800056" y="0"/>
                  </a:lnTo>
                  <a:cubicBezTo>
                    <a:pt x="845810" y="0"/>
                    <a:pt x="882901" y="37091"/>
                    <a:pt x="882901" y="82845"/>
                  </a:cubicBezTo>
                  <a:cubicBezTo>
                    <a:pt x="882901" y="120104"/>
                    <a:pt x="858305" y="151617"/>
                    <a:pt x="824096" y="160837"/>
                  </a:cubicBezTo>
                  <a:lnTo>
                    <a:pt x="824096" y="204584"/>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Freihandform: Form 25">
              <a:extLst>
                <a:ext uri="{FF2B5EF4-FFF2-40B4-BE49-F238E27FC236}">
                  <a16:creationId xmlns:a16="http://schemas.microsoft.com/office/drawing/2014/main" id="{56718B43-2FEE-4027-9D25-FC3CC255734C}"/>
                </a:ext>
              </a:extLst>
            </p:cNvPr>
            <p:cNvSpPr/>
            <p:nvPr/>
          </p:nvSpPr>
          <p:spPr bwMode="gray">
            <a:xfrm rot="10800000">
              <a:off x="6332729" y="3448642"/>
              <a:ext cx="852239" cy="832189"/>
            </a:xfrm>
            <a:custGeom>
              <a:avLst/>
              <a:gdLst>
                <a:gd name="connsiteX0" fmla="*/ 521678 w 852239"/>
                <a:gd name="connsiteY0" fmla="*/ 818578 h 818578"/>
                <a:gd name="connsiteX1" fmla="*/ 292877 w 852239"/>
                <a:gd name="connsiteY1" fmla="*/ 818578 h 818578"/>
                <a:gd name="connsiteX2" fmla="*/ 0 w 852239"/>
                <a:gd name="connsiteY2" fmla="*/ 415500 h 818578"/>
                <a:gd name="connsiteX3" fmla="*/ 0 w 852239"/>
                <a:gd name="connsiteY3" fmla="*/ 126739 h 818578"/>
                <a:gd name="connsiteX4" fmla="*/ 320421 w 852239"/>
                <a:gd name="connsiteY4" fmla="*/ 126739 h 818578"/>
                <a:gd name="connsiteX5" fmla="*/ 320421 w 852239"/>
                <a:gd name="connsiteY5" fmla="*/ 99638 h 818578"/>
                <a:gd name="connsiteX6" fmla="*/ 282472 w 852239"/>
                <a:gd name="connsiteY6" fmla="*/ 51322 h 818578"/>
                <a:gd name="connsiteX7" fmla="*/ 335935 w 852239"/>
                <a:gd name="connsiteY7" fmla="*/ 0 h 818578"/>
                <a:gd name="connsiteX8" fmla="*/ 384268 w 852239"/>
                <a:gd name="connsiteY8" fmla="*/ 0 h 818578"/>
                <a:gd name="connsiteX9" fmla="*/ 437731 w 852239"/>
                <a:gd name="connsiteY9" fmla="*/ 51322 h 818578"/>
                <a:gd name="connsiteX10" fmla="*/ 399782 w 852239"/>
                <a:gd name="connsiteY10" fmla="*/ 99638 h 818578"/>
                <a:gd name="connsiteX11" fmla="*/ 399782 w 852239"/>
                <a:gd name="connsiteY11" fmla="*/ 126739 h 818578"/>
                <a:gd name="connsiteX12" fmla="*/ 720212 w 852239"/>
                <a:gd name="connsiteY12" fmla="*/ 126739 h 818578"/>
                <a:gd name="connsiteX13" fmla="*/ 720212 w 852239"/>
                <a:gd name="connsiteY13" fmla="*/ 434328 h 818578"/>
                <a:gd name="connsiteX14" fmla="*/ 748444 w 852239"/>
                <a:gd name="connsiteY14" fmla="*/ 434328 h 818578"/>
                <a:gd name="connsiteX15" fmla="*/ 798776 w 852239"/>
                <a:gd name="connsiteY15" fmla="*/ 397898 h 818578"/>
                <a:gd name="connsiteX16" fmla="*/ 852239 w 852239"/>
                <a:gd name="connsiteY16" fmla="*/ 449221 h 818578"/>
                <a:gd name="connsiteX17" fmla="*/ 852239 w 852239"/>
                <a:gd name="connsiteY17" fmla="*/ 495617 h 818578"/>
                <a:gd name="connsiteX18" fmla="*/ 798775 w 852239"/>
                <a:gd name="connsiteY18" fmla="*/ 546939 h 818578"/>
                <a:gd name="connsiteX19" fmla="*/ 748444 w 852239"/>
                <a:gd name="connsiteY19" fmla="*/ 510510 h 818578"/>
                <a:gd name="connsiteX20" fmla="*/ 720212 w 852239"/>
                <a:gd name="connsiteY20" fmla="*/ 510510 h 818578"/>
                <a:gd name="connsiteX21" fmla="*/ 720212 w 852239"/>
                <a:gd name="connsiteY21" fmla="*/ 818097 h 818578"/>
                <a:gd name="connsiteX22" fmla="*/ 521678 w 852239"/>
                <a:gd name="connsiteY22" fmla="*/ 818097 h 81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2239" h="818578">
                  <a:moveTo>
                    <a:pt x="521678" y="818578"/>
                  </a:moveTo>
                  <a:lnTo>
                    <a:pt x="292877" y="818578"/>
                  </a:lnTo>
                  <a:lnTo>
                    <a:pt x="0" y="415500"/>
                  </a:lnTo>
                  <a:lnTo>
                    <a:pt x="0" y="126739"/>
                  </a:lnTo>
                  <a:lnTo>
                    <a:pt x="320421" y="126739"/>
                  </a:lnTo>
                  <a:lnTo>
                    <a:pt x="320421" y="99638"/>
                  </a:lnTo>
                  <a:cubicBezTo>
                    <a:pt x="298344" y="93926"/>
                    <a:pt x="282472" y="74404"/>
                    <a:pt x="282472" y="51322"/>
                  </a:cubicBezTo>
                  <a:cubicBezTo>
                    <a:pt x="282472" y="22978"/>
                    <a:pt x="306408" y="0"/>
                    <a:pt x="335935" y="0"/>
                  </a:cubicBezTo>
                  <a:lnTo>
                    <a:pt x="384268" y="0"/>
                  </a:lnTo>
                  <a:cubicBezTo>
                    <a:pt x="413795" y="0"/>
                    <a:pt x="437731" y="22978"/>
                    <a:pt x="437731" y="51322"/>
                  </a:cubicBezTo>
                  <a:cubicBezTo>
                    <a:pt x="437731" y="74404"/>
                    <a:pt x="421858" y="93926"/>
                    <a:pt x="399782" y="99638"/>
                  </a:cubicBezTo>
                  <a:lnTo>
                    <a:pt x="399782" y="126739"/>
                  </a:lnTo>
                  <a:lnTo>
                    <a:pt x="720212" y="126739"/>
                  </a:lnTo>
                  <a:lnTo>
                    <a:pt x="720212" y="434328"/>
                  </a:lnTo>
                  <a:lnTo>
                    <a:pt x="748444" y="434328"/>
                  </a:lnTo>
                  <a:cubicBezTo>
                    <a:pt x="754394" y="413135"/>
                    <a:pt x="774732" y="397898"/>
                    <a:pt x="798776" y="397898"/>
                  </a:cubicBezTo>
                  <a:cubicBezTo>
                    <a:pt x="828303" y="397898"/>
                    <a:pt x="852239" y="420876"/>
                    <a:pt x="852239" y="449221"/>
                  </a:cubicBezTo>
                  <a:lnTo>
                    <a:pt x="852239" y="495617"/>
                  </a:lnTo>
                  <a:cubicBezTo>
                    <a:pt x="852239" y="523962"/>
                    <a:pt x="828302" y="546939"/>
                    <a:pt x="798775" y="546939"/>
                  </a:cubicBezTo>
                  <a:cubicBezTo>
                    <a:pt x="774730" y="546939"/>
                    <a:pt x="754394" y="531702"/>
                    <a:pt x="748444" y="510510"/>
                  </a:cubicBezTo>
                  <a:lnTo>
                    <a:pt x="720212" y="510510"/>
                  </a:lnTo>
                  <a:lnTo>
                    <a:pt x="720212" y="818097"/>
                  </a:lnTo>
                  <a:lnTo>
                    <a:pt x="521678" y="818097"/>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Freihandform: Form 26">
              <a:extLst>
                <a:ext uri="{FF2B5EF4-FFF2-40B4-BE49-F238E27FC236}">
                  <a16:creationId xmlns:a16="http://schemas.microsoft.com/office/drawing/2014/main" id="{EA3C58C9-487F-4F4F-B098-135B62CA04AE}"/>
                </a:ext>
              </a:extLst>
            </p:cNvPr>
            <p:cNvSpPr/>
            <p:nvPr/>
          </p:nvSpPr>
          <p:spPr bwMode="gray">
            <a:xfrm rot="16200000">
              <a:off x="5686965" y="3374194"/>
              <a:ext cx="703344" cy="852239"/>
            </a:xfrm>
            <a:custGeom>
              <a:avLst/>
              <a:gdLst>
                <a:gd name="connsiteX0" fmla="*/ 691840 w 691840"/>
                <a:gd name="connsiteY0" fmla="*/ 314321 h 852239"/>
                <a:gd name="connsiteX1" fmla="*/ 691840 w 691840"/>
                <a:gd name="connsiteY1" fmla="*/ 676271 h 852239"/>
                <a:gd name="connsiteX2" fmla="*/ 691358 w 691840"/>
                <a:gd name="connsiteY2" fmla="*/ 676271 h 852239"/>
                <a:gd name="connsiteX3" fmla="*/ 691358 w 691840"/>
                <a:gd name="connsiteY3" fmla="*/ 852239 h 852239"/>
                <a:gd name="connsiteX4" fmla="*/ 383770 w 691840"/>
                <a:gd name="connsiteY4" fmla="*/ 852239 h 852239"/>
                <a:gd name="connsiteX5" fmla="*/ 383770 w 691840"/>
                <a:gd name="connsiteY5" fmla="*/ 824007 h 852239"/>
                <a:gd name="connsiteX6" fmla="*/ 420200 w 691840"/>
                <a:gd name="connsiteY6" fmla="*/ 773676 h 852239"/>
                <a:gd name="connsiteX7" fmla="*/ 368878 w 691840"/>
                <a:gd name="connsiteY7" fmla="*/ 720212 h 852239"/>
                <a:gd name="connsiteX8" fmla="*/ 322481 w 691840"/>
                <a:gd name="connsiteY8" fmla="*/ 720212 h 852239"/>
                <a:gd name="connsiteX9" fmla="*/ 271159 w 691840"/>
                <a:gd name="connsiteY9" fmla="*/ 773676 h 852239"/>
                <a:gd name="connsiteX10" fmla="*/ 307589 w 691840"/>
                <a:gd name="connsiteY10" fmla="*/ 824007 h 852239"/>
                <a:gd name="connsiteX11" fmla="*/ 307589 w 691840"/>
                <a:gd name="connsiteY11" fmla="*/ 852239 h 852239"/>
                <a:gd name="connsiteX12" fmla="*/ 0 w 691840"/>
                <a:gd name="connsiteY12" fmla="*/ 852239 h 852239"/>
                <a:gd name="connsiteX13" fmla="*/ 0 w 691840"/>
                <a:gd name="connsiteY13" fmla="*/ 531826 h 852239"/>
                <a:gd name="connsiteX14" fmla="*/ 27101 w 691840"/>
                <a:gd name="connsiteY14" fmla="*/ 531826 h 852239"/>
                <a:gd name="connsiteX15" fmla="*/ 75417 w 691840"/>
                <a:gd name="connsiteY15" fmla="*/ 569775 h 852239"/>
                <a:gd name="connsiteX16" fmla="*/ 126739 w 691840"/>
                <a:gd name="connsiteY16" fmla="*/ 516312 h 852239"/>
                <a:gd name="connsiteX17" fmla="*/ 126739 w 691840"/>
                <a:gd name="connsiteY17" fmla="*/ 467979 h 852239"/>
                <a:gd name="connsiteX18" fmla="*/ 75417 w 691840"/>
                <a:gd name="connsiteY18" fmla="*/ 414516 h 852239"/>
                <a:gd name="connsiteX19" fmla="*/ 27101 w 691840"/>
                <a:gd name="connsiteY19" fmla="*/ 452465 h 852239"/>
                <a:gd name="connsiteX20" fmla="*/ 0 w 691840"/>
                <a:gd name="connsiteY20" fmla="*/ 452465 h 852239"/>
                <a:gd name="connsiteX21" fmla="*/ 0 w 691840"/>
                <a:gd name="connsiteY21" fmla="*/ 132027 h 852239"/>
                <a:gd name="connsiteX22" fmla="*/ 307589 w 691840"/>
                <a:gd name="connsiteY22" fmla="*/ 132027 h 852239"/>
                <a:gd name="connsiteX23" fmla="*/ 307589 w 691840"/>
                <a:gd name="connsiteY23" fmla="*/ 103795 h 852239"/>
                <a:gd name="connsiteX24" fmla="*/ 271159 w 691840"/>
                <a:gd name="connsiteY24" fmla="*/ 53464 h 852239"/>
                <a:gd name="connsiteX25" fmla="*/ 322481 w 691840"/>
                <a:gd name="connsiteY25" fmla="*/ 0 h 852239"/>
                <a:gd name="connsiteX26" fmla="*/ 368878 w 691840"/>
                <a:gd name="connsiteY26" fmla="*/ 0 h 852239"/>
                <a:gd name="connsiteX27" fmla="*/ 420200 w 691840"/>
                <a:gd name="connsiteY27" fmla="*/ 53464 h 852239"/>
                <a:gd name="connsiteX28" fmla="*/ 383771 w 691840"/>
                <a:gd name="connsiteY28" fmla="*/ 103795 h 852239"/>
                <a:gd name="connsiteX29" fmla="*/ 383771 w 691840"/>
                <a:gd name="connsiteY29" fmla="*/ 132027 h 852239"/>
                <a:gd name="connsiteX30" fmla="*/ 691358 w 691840"/>
                <a:gd name="connsiteY30" fmla="*/ 132027 h 852239"/>
                <a:gd name="connsiteX31" fmla="*/ 691358 w 691840"/>
                <a:gd name="connsiteY31" fmla="*/ 314321 h 85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1840" h="852239">
                  <a:moveTo>
                    <a:pt x="691840" y="314321"/>
                  </a:moveTo>
                  <a:lnTo>
                    <a:pt x="691840" y="676271"/>
                  </a:lnTo>
                  <a:lnTo>
                    <a:pt x="691358" y="676271"/>
                  </a:lnTo>
                  <a:lnTo>
                    <a:pt x="691358" y="852239"/>
                  </a:lnTo>
                  <a:lnTo>
                    <a:pt x="383770" y="852239"/>
                  </a:lnTo>
                  <a:lnTo>
                    <a:pt x="383770" y="824007"/>
                  </a:lnTo>
                  <a:cubicBezTo>
                    <a:pt x="404963" y="818057"/>
                    <a:pt x="420200" y="797721"/>
                    <a:pt x="420200" y="773676"/>
                  </a:cubicBezTo>
                  <a:cubicBezTo>
                    <a:pt x="420200" y="744149"/>
                    <a:pt x="397222" y="720212"/>
                    <a:pt x="368878" y="720212"/>
                  </a:cubicBezTo>
                  <a:lnTo>
                    <a:pt x="322481" y="720212"/>
                  </a:lnTo>
                  <a:cubicBezTo>
                    <a:pt x="294137" y="720212"/>
                    <a:pt x="271159" y="744149"/>
                    <a:pt x="271159" y="773676"/>
                  </a:cubicBezTo>
                  <a:cubicBezTo>
                    <a:pt x="271159" y="797720"/>
                    <a:pt x="286396" y="818057"/>
                    <a:pt x="307589" y="824007"/>
                  </a:cubicBezTo>
                  <a:lnTo>
                    <a:pt x="307589" y="852239"/>
                  </a:lnTo>
                  <a:lnTo>
                    <a:pt x="0" y="852239"/>
                  </a:lnTo>
                  <a:lnTo>
                    <a:pt x="0" y="531826"/>
                  </a:lnTo>
                  <a:lnTo>
                    <a:pt x="27101" y="531826"/>
                  </a:lnTo>
                  <a:cubicBezTo>
                    <a:pt x="32813" y="553902"/>
                    <a:pt x="52335" y="569775"/>
                    <a:pt x="75417" y="569775"/>
                  </a:cubicBezTo>
                  <a:cubicBezTo>
                    <a:pt x="103761" y="569775"/>
                    <a:pt x="126739" y="545839"/>
                    <a:pt x="126739" y="516312"/>
                  </a:cubicBezTo>
                  <a:lnTo>
                    <a:pt x="126739" y="467979"/>
                  </a:lnTo>
                  <a:cubicBezTo>
                    <a:pt x="126739" y="438452"/>
                    <a:pt x="103761" y="414516"/>
                    <a:pt x="75417" y="414516"/>
                  </a:cubicBezTo>
                  <a:cubicBezTo>
                    <a:pt x="52336" y="414516"/>
                    <a:pt x="32813" y="430388"/>
                    <a:pt x="27101" y="452465"/>
                  </a:cubicBezTo>
                  <a:lnTo>
                    <a:pt x="0" y="452465"/>
                  </a:lnTo>
                  <a:lnTo>
                    <a:pt x="0" y="132027"/>
                  </a:lnTo>
                  <a:lnTo>
                    <a:pt x="307589" y="132027"/>
                  </a:lnTo>
                  <a:lnTo>
                    <a:pt x="307589" y="103795"/>
                  </a:lnTo>
                  <a:cubicBezTo>
                    <a:pt x="286396" y="97845"/>
                    <a:pt x="271159" y="77508"/>
                    <a:pt x="271159" y="53464"/>
                  </a:cubicBezTo>
                  <a:cubicBezTo>
                    <a:pt x="271159" y="23937"/>
                    <a:pt x="294137" y="0"/>
                    <a:pt x="322481" y="0"/>
                  </a:cubicBezTo>
                  <a:lnTo>
                    <a:pt x="368878" y="0"/>
                  </a:lnTo>
                  <a:cubicBezTo>
                    <a:pt x="397222" y="0"/>
                    <a:pt x="420200" y="23937"/>
                    <a:pt x="420200" y="53464"/>
                  </a:cubicBezTo>
                  <a:cubicBezTo>
                    <a:pt x="420200" y="77509"/>
                    <a:pt x="404963" y="97845"/>
                    <a:pt x="383771" y="103795"/>
                  </a:cubicBezTo>
                  <a:lnTo>
                    <a:pt x="383771" y="132027"/>
                  </a:lnTo>
                  <a:lnTo>
                    <a:pt x="691358" y="132027"/>
                  </a:lnTo>
                  <a:lnTo>
                    <a:pt x="691358" y="314321"/>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Abgerundetes Rechteck 47">
              <a:extLst>
                <a:ext uri="{FF2B5EF4-FFF2-40B4-BE49-F238E27FC236}">
                  <a16:creationId xmlns:a16="http://schemas.microsoft.com/office/drawing/2014/main" id="{75496356-49B1-4CB2-8739-A83E79BEB8F6}"/>
                </a:ext>
              </a:extLst>
            </p:cNvPr>
            <p:cNvSpPr/>
            <p:nvPr/>
          </p:nvSpPr>
          <p:spPr bwMode="gray">
            <a:xfrm rot="16200000">
              <a:off x="6407422" y="4077293"/>
              <a:ext cx="702854" cy="852239"/>
            </a:xfrm>
            <a:custGeom>
              <a:avLst/>
              <a:gdLst/>
              <a:ahLst/>
              <a:cxnLst/>
              <a:rect l="l" t="t" r="r" b="b"/>
              <a:pathLst>
                <a:path w="1116000" h="1320597">
                  <a:moveTo>
                    <a:pt x="1116000" y="1320597"/>
                  </a:moveTo>
                  <a:lnTo>
                    <a:pt x="0" y="1320597"/>
                  </a:lnTo>
                  <a:lnTo>
                    <a:pt x="0" y="204584"/>
                  </a:lnTo>
                  <a:lnTo>
                    <a:pt x="496513" y="204584"/>
                  </a:lnTo>
                  <a:lnTo>
                    <a:pt x="496513" y="160837"/>
                  </a:lnTo>
                  <a:cubicBezTo>
                    <a:pt x="462303" y="151617"/>
                    <a:pt x="437708" y="120103"/>
                    <a:pt x="437708" y="82845"/>
                  </a:cubicBezTo>
                  <a:cubicBezTo>
                    <a:pt x="437708" y="37091"/>
                    <a:pt x="474799" y="0"/>
                    <a:pt x="520553" y="0"/>
                  </a:cubicBezTo>
                  <a:lnTo>
                    <a:pt x="595447" y="0"/>
                  </a:lnTo>
                  <a:cubicBezTo>
                    <a:pt x="641201" y="0"/>
                    <a:pt x="678292" y="37091"/>
                    <a:pt x="678292" y="82845"/>
                  </a:cubicBezTo>
                  <a:cubicBezTo>
                    <a:pt x="678292" y="120104"/>
                    <a:pt x="653696" y="151617"/>
                    <a:pt x="619487" y="160837"/>
                  </a:cubicBezTo>
                  <a:lnTo>
                    <a:pt x="619487" y="204584"/>
                  </a:lnTo>
                  <a:lnTo>
                    <a:pt x="1116000" y="204584"/>
                  </a:lnTo>
                  <a:lnTo>
                    <a:pt x="1116000" y="701111"/>
                  </a:lnTo>
                  <a:lnTo>
                    <a:pt x="1072253" y="701111"/>
                  </a:lnTo>
                  <a:cubicBezTo>
                    <a:pt x="1063033" y="666902"/>
                    <a:pt x="1031520" y="642306"/>
                    <a:pt x="994261" y="642306"/>
                  </a:cubicBezTo>
                  <a:cubicBezTo>
                    <a:pt x="948507" y="642306"/>
                    <a:pt x="911416" y="679397"/>
                    <a:pt x="911416" y="725151"/>
                  </a:cubicBezTo>
                  <a:lnTo>
                    <a:pt x="911416" y="800045"/>
                  </a:lnTo>
                  <a:cubicBezTo>
                    <a:pt x="911416" y="845799"/>
                    <a:pt x="948507" y="882890"/>
                    <a:pt x="994261" y="882890"/>
                  </a:cubicBezTo>
                  <a:cubicBezTo>
                    <a:pt x="1031519" y="882890"/>
                    <a:pt x="1063033" y="858295"/>
                    <a:pt x="1072253" y="824085"/>
                  </a:cubicBezTo>
                  <a:lnTo>
                    <a:pt x="1116000" y="824085"/>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Freihandform: Form 28">
              <a:extLst>
                <a:ext uri="{FF2B5EF4-FFF2-40B4-BE49-F238E27FC236}">
                  <a16:creationId xmlns:a16="http://schemas.microsoft.com/office/drawing/2014/main" id="{08230812-2322-40CC-895D-CC8CA0AB87FE}"/>
                </a:ext>
              </a:extLst>
            </p:cNvPr>
            <p:cNvSpPr/>
            <p:nvPr/>
          </p:nvSpPr>
          <p:spPr bwMode="gray">
            <a:xfrm rot="5400000">
              <a:off x="4763229" y="3890880"/>
              <a:ext cx="304544" cy="217663"/>
            </a:xfrm>
            <a:custGeom>
              <a:avLst/>
              <a:gdLst>
                <a:gd name="connsiteX0" fmla="*/ 0 w 299563"/>
                <a:gd name="connsiteY0" fmla="*/ 0 h 217663"/>
                <a:gd name="connsiteX1" fmla="*/ 299563 w 299563"/>
                <a:gd name="connsiteY1" fmla="*/ 0 h 217663"/>
                <a:gd name="connsiteX2" fmla="*/ 299563 w 299563"/>
                <a:gd name="connsiteY2" fmla="*/ 217663 h 217663"/>
              </a:gdLst>
              <a:ahLst/>
              <a:cxnLst>
                <a:cxn ang="0">
                  <a:pos x="connsiteX0" y="connsiteY0"/>
                </a:cxn>
                <a:cxn ang="0">
                  <a:pos x="connsiteX1" y="connsiteY1"/>
                </a:cxn>
                <a:cxn ang="0">
                  <a:pos x="connsiteX2" y="connsiteY2"/>
                </a:cxn>
              </a:cxnLst>
              <a:rect l="l" t="t" r="r" b="b"/>
              <a:pathLst>
                <a:path w="299563" h="217663">
                  <a:moveTo>
                    <a:pt x="0" y="0"/>
                  </a:moveTo>
                  <a:lnTo>
                    <a:pt x="299563" y="0"/>
                  </a:lnTo>
                  <a:lnTo>
                    <a:pt x="299563" y="217663"/>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buClrTx/>
              </a:pPr>
              <a:endParaRPr lang="en-US" kern="1200">
                <a:solidFill>
                  <a:prstClr val="white"/>
                </a:solidFill>
                <a:latin typeface="Arial"/>
              </a:endParaRPr>
            </a:p>
          </p:txBody>
        </p:sp>
        <p:sp>
          <p:nvSpPr>
            <p:cNvPr id="31" name="Freihandform: Form 29">
              <a:extLst>
                <a:ext uri="{FF2B5EF4-FFF2-40B4-BE49-F238E27FC236}">
                  <a16:creationId xmlns:a16="http://schemas.microsoft.com/office/drawing/2014/main" id="{FBFAA0B3-4BCC-421D-AE45-898605FB58AB}"/>
                </a:ext>
              </a:extLst>
            </p:cNvPr>
            <p:cNvSpPr/>
            <p:nvPr/>
          </p:nvSpPr>
          <p:spPr bwMode="gray">
            <a:xfrm rot="10800000">
              <a:off x="7047916" y="3728535"/>
              <a:ext cx="346867" cy="423451"/>
            </a:xfrm>
            <a:custGeom>
              <a:avLst/>
              <a:gdLst>
                <a:gd name="connsiteX0" fmla="*/ 214840 w 346867"/>
                <a:gd name="connsiteY0" fmla="*/ 295678 h 416525"/>
                <a:gd name="connsiteX1" fmla="*/ 0 w 346867"/>
                <a:gd name="connsiteY1" fmla="*/ 0 h 416525"/>
                <a:gd name="connsiteX2" fmla="*/ 214840 w 346867"/>
                <a:gd name="connsiteY2" fmla="*/ 0 h 416525"/>
                <a:gd name="connsiteX3" fmla="*/ 302647 w 346867"/>
                <a:gd name="connsiteY3" fmla="*/ 416525 h 416525"/>
                <a:gd name="connsiteX4" fmla="*/ 223495 w 346867"/>
                <a:gd name="connsiteY4" fmla="*/ 307589 h 416525"/>
                <a:gd name="connsiteX5" fmla="*/ 243072 w 346867"/>
                <a:gd name="connsiteY5" fmla="*/ 307589 h 416525"/>
                <a:gd name="connsiteX6" fmla="*/ 293404 w 346867"/>
                <a:gd name="connsiteY6" fmla="*/ 271159 h 416525"/>
                <a:gd name="connsiteX7" fmla="*/ 346867 w 346867"/>
                <a:gd name="connsiteY7" fmla="*/ 322482 h 416525"/>
                <a:gd name="connsiteX8" fmla="*/ 346867 w 346867"/>
                <a:gd name="connsiteY8" fmla="*/ 368878 h 416525"/>
                <a:gd name="connsiteX9" fmla="*/ 331207 w 346867"/>
                <a:gd name="connsiteY9" fmla="*/ 405169 h 41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867" h="416525">
                  <a:moveTo>
                    <a:pt x="214840" y="295678"/>
                  </a:moveTo>
                  <a:lnTo>
                    <a:pt x="0" y="0"/>
                  </a:lnTo>
                  <a:lnTo>
                    <a:pt x="214840" y="0"/>
                  </a:lnTo>
                  <a:close/>
                  <a:moveTo>
                    <a:pt x="302647" y="416525"/>
                  </a:moveTo>
                  <a:lnTo>
                    <a:pt x="223495" y="307589"/>
                  </a:lnTo>
                  <a:lnTo>
                    <a:pt x="243072" y="307589"/>
                  </a:lnTo>
                  <a:cubicBezTo>
                    <a:pt x="249022" y="286396"/>
                    <a:pt x="269360" y="271159"/>
                    <a:pt x="293404" y="271159"/>
                  </a:cubicBezTo>
                  <a:cubicBezTo>
                    <a:pt x="322931" y="271159"/>
                    <a:pt x="346867" y="294137"/>
                    <a:pt x="346867" y="322482"/>
                  </a:cubicBezTo>
                  <a:lnTo>
                    <a:pt x="346867" y="368878"/>
                  </a:lnTo>
                  <a:cubicBezTo>
                    <a:pt x="346867" y="383051"/>
                    <a:pt x="340882" y="395881"/>
                    <a:pt x="331207" y="405169"/>
                  </a:cubicBez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Freihandform: Form 30">
              <a:extLst>
                <a:ext uri="{FF2B5EF4-FFF2-40B4-BE49-F238E27FC236}">
                  <a16:creationId xmlns:a16="http://schemas.microsoft.com/office/drawing/2014/main" id="{20D6FC64-2B63-49B9-BD8E-E83639382341}"/>
                </a:ext>
              </a:extLst>
            </p:cNvPr>
            <p:cNvSpPr/>
            <p:nvPr/>
          </p:nvSpPr>
          <p:spPr bwMode="gray">
            <a:xfrm rot="16200000">
              <a:off x="7121095" y="4078809"/>
              <a:ext cx="702854" cy="849209"/>
            </a:xfrm>
            <a:custGeom>
              <a:avLst/>
              <a:gdLst>
                <a:gd name="connsiteX0" fmla="*/ 691358 w 691358"/>
                <a:gd name="connsiteY0" fmla="*/ 132027 h 849209"/>
                <a:gd name="connsiteX1" fmla="*/ 691358 w 691358"/>
                <a:gd name="connsiteY1" fmla="*/ 346867 h 849209"/>
                <a:gd name="connsiteX2" fmla="*/ 0 w 691358"/>
                <a:gd name="connsiteY2" fmla="*/ 849209 h 849209"/>
                <a:gd name="connsiteX3" fmla="*/ 0 w 691358"/>
                <a:gd name="connsiteY3" fmla="*/ 132027 h 849209"/>
                <a:gd name="connsiteX4" fmla="*/ 307588 w 691358"/>
                <a:gd name="connsiteY4" fmla="*/ 132027 h 849209"/>
                <a:gd name="connsiteX5" fmla="*/ 307588 w 691358"/>
                <a:gd name="connsiteY5" fmla="*/ 103795 h 849209"/>
                <a:gd name="connsiteX6" fmla="*/ 271159 w 691358"/>
                <a:gd name="connsiteY6" fmla="*/ 53464 h 849209"/>
                <a:gd name="connsiteX7" fmla="*/ 322481 w 691358"/>
                <a:gd name="connsiteY7" fmla="*/ 0 h 849209"/>
                <a:gd name="connsiteX8" fmla="*/ 368878 w 691358"/>
                <a:gd name="connsiteY8" fmla="*/ 0 h 849209"/>
                <a:gd name="connsiteX9" fmla="*/ 420200 w 691358"/>
                <a:gd name="connsiteY9" fmla="*/ 53464 h 849209"/>
                <a:gd name="connsiteX10" fmla="*/ 383770 w 691358"/>
                <a:gd name="connsiteY10" fmla="*/ 103795 h 849209"/>
                <a:gd name="connsiteX11" fmla="*/ 383770 w 691358"/>
                <a:gd name="connsiteY11" fmla="*/ 132027 h 84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1358" h="849209">
                  <a:moveTo>
                    <a:pt x="691358" y="132027"/>
                  </a:moveTo>
                  <a:lnTo>
                    <a:pt x="691358" y="346867"/>
                  </a:lnTo>
                  <a:lnTo>
                    <a:pt x="0" y="849209"/>
                  </a:lnTo>
                  <a:lnTo>
                    <a:pt x="0" y="132027"/>
                  </a:lnTo>
                  <a:lnTo>
                    <a:pt x="307588" y="132027"/>
                  </a:lnTo>
                  <a:lnTo>
                    <a:pt x="307588" y="103795"/>
                  </a:lnTo>
                  <a:cubicBezTo>
                    <a:pt x="286395" y="97845"/>
                    <a:pt x="271159" y="77508"/>
                    <a:pt x="271159" y="53464"/>
                  </a:cubicBezTo>
                  <a:cubicBezTo>
                    <a:pt x="271159" y="23937"/>
                    <a:pt x="294137" y="0"/>
                    <a:pt x="322481" y="0"/>
                  </a:cubicBezTo>
                  <a:lnTo>
                    <a:pt x="368878" y="0"/>
                  </a:lnTo>
                  <a:cubicBezTo>
                    <a:pt x="397222" y="0"/>
                    <a:pt x="420200" y="23937"/>
                    <a:pt x="420200" y="53464"/>
                  </a:cubicBezTo>
                  <a:cubicBezTo>
                    <a:pt x="420200" y="77509"/>
                    <a:pt x="404963" y="97845"/>
                    <a:pt x="383770" y="103795"/>
                  </a:cubicBezTo>
                  <a:lnTo>
                    <a:pt x="383770" y="132027"/>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33" name="Freihandform: Form 31">
            <a:extLst>
              <a:ext uri="{FF2B5EF4-FFF2-40B4-BE49-F238E27FC236}">
                <a16:creationId xmlns:a16="http://schemas.microsoft.com/office/drawing/2014/main" id="{B1185918-1E0A-4075-8342-B3AE53EEF664}"/>
              </a:ext>
            </a:extLst>
          </p:cNvPr>
          <p:cNvSpPr/>
          <p:nvPr/>
        </p:nvSpPr>
        <p:spPr bwMode="gray">
          <a:xfrm>
            <a:off x="5288690" y="2872842"/>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35" name="Textfeld 33">
            <a:extLst>
              <a:ext uri="{FF2B5EF4-FFF2-40B4-BE49-F238E27FC236}">
                <a16:creationId xmlns:a16="http://schemas.microsoft.com/office/drawing/2014/main" id="{22542C1F-4D7A-45F0-9614-CDFE25D0E8E0}"/>
              </a:ext>
            </a:extLst>
          </p:cNvPr>
          <p:cNvSpPr txBox="1">
            <a:spLocks/>
          </p:cNvSpPr>
          <p:nvPr/>
        </p:nvSpPr>
        <p:spPr bwMode="gray">
          <a:xfrm>
            <a:off x="4308652" y="3447027"/>
            <a:ext cx="248466" cy="215444"/>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OT</a:t>
            </a:r>
          </a:p>
        </p:txBody>
      </p:sp>
      <p:cxnSp>
        <p:nvCxnSpPr>
          <p:cNvPr id="36" name="Gerader Verbinder 34">
            <a:extLst>
              <a:ext uri="{FF2B5EF4-FFF2-40B4-BE49-F238E27FC236}">
                <a16:creationId xmlns:a16="http://schemas.microsoft.com/office/drawing/2014/main" id="{EAD4E4DB-B41B-4562-905B-F710B46E6F7F}"/>
              </a:ext>
            </a:extLst>
          </p:cNvPr>
          <p:cNvCxnSpPr>
            <a:cxnSpLocks/>
          </p:cNvCxnSpPr>
          <p:nvPr/>
        </p:nvCxnSpPr>
        <p:spPr bwMode="gray">
          <a:xfrm>
            <a:off x="4308652" y="3363701"/>
            <a:ext cx="3586273" cy="0"/>
          </a:xfrm>
          <a:prstGeom prst="line">
            <a:avLst/>
          </a:prstGeom>
          <a:ln w="12700">
            <a:solidFill>
              <a:srgbClr val="66667E"/>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7" name="Textfeld 35">
            <a:extLst>
              <a:ext uri="{FF2B5EF4-FFF2-40B4-BE49-F238E27FC236}">
                <a16:creationId xmlns:a16="http://schemas.microsoft.com/office/drawing/2014/main" id="{7A8E93B2-2745-4DE8-8085-FAC59E467A14}"/>
              </a:ext>
            </a:extLst>
          </p:cNvPr>
          <p:cNvSpPr txBox="1">
            <a:spLocks/>
          </p:cNvSpPr>
          <p:nvPr/>
        </p:nvSpPr>
        <p:spPr bwMode="gray">
          <a:xfrm>
            <a:off x="4308652" y="2344779"/>
            <a:ext cx="158698" cy="215444"/>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IT</a:t>
            </a:r>
          </a:p>
        </p:txBody>
      </p:sp>
      <p:sp>
        <p:nvSpPr>
          <p:cNvPr id="38" name="Freihandform: Form 36">
            <a:extLst>
              <a:ext uri="{FF2B5EF4-FFF2-40B4-BE49-F238E27FC236}">
                <a16:creationId xmlns:a16="http://schemas.microsoft.com/office/drawing/2014/main" id="{18D8068A-CA9F-4AC4-930F-68B383B69E38}"/>
              </a:ext>
            </a:extLst>
          </p:cNvPr>
          <p:cNvSpPr/>
          <p:nvPr/>
        </p:nvSpPr>
        <p:spPr bwMode="gray">
          <a:xfrm>
            <a:off x="6140929" y="2872842"/>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39" name="Freihandform: Form 37">
            <a:extLst>
              <a:ext uri="{FF2B5EF4-FFF2-40B4-BE49-F238E27FC236}">
                <a16:creationId xmlns:a16="http://schemas.microsoft.com/office/drawing/2014/main" id="{6171A282-D7DC-444A-9EB7-6E17E55E6216}"/>
              </a:ext>
            </a:extLst>
          </p:cNvPr>
          <p:cNvSpPr/>
          <p:nvPr/>
        </p:nvSpPr>
        <p:spPr bwMode="gray">
          <a:xfrm>
            <a:off x="5744545" y="2372199"/>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40" name="Ellipse 38">
            <a:extLst>
              <a:ext uri="{FF2B5EF4-FFF2-40B4-BE49-F238E27FC236}">
                <a16:creationId xmlns:a16="http://schemas.microsoft.com/office/drawing/2014/main" id="{1BCB76E0-7D14-4DDB-9DE0-25F6F561B285}"/>
              </a:ext>
            </a:extLst>
          </p:cNvPr>
          <p:cNvSpPr/>
          <p:nvPr/>
        </p:nvSpPr>
        <p:spPr bwMode="gray">
          <a:xfrm>
            <a:off x="4895457" y="2190087"/>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Ellipse 39">
            <a:extLst>
              <a:ext uri="{FF2B5EF4-FFF2-40B4-BE49-F238E27FC236}">
                <a16:creationId xmlns:a16="http://schemas.microsoft.com/office/drawing/2014/main" id="{C0C41A3C-76C5-4184-AC6B-91E8F67EF5C6}"/>
              </a:ext>
            </a:extLst>
          </p:cNvPr>
          <p:cNvSpPr/>
          <p:nvPr/>
        </p:nvSpPr>
        <p:spPr bwMode="gray">
          <a:xfrm>
            <a:off x="5627796" y="2190087"/>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rtl="0">
              <a:buClrTx/>
            </a:pPr>
            <a:endParaRPr lang="en-US" kern="1200">
              <a:solidFill>
                <a:prstClr val="white"/>
              </a:solidFill>
              <a:latin typeface="Arial"/>
            </a:endParaRPr>
          </a:p>
        </p:txBody>
      </p:sp>
      <p:sp>
        <p:nvSpPr>
          <p:cNvPr id="42" name="Ellipse 40">
            <a:extLst>
              <a:ext uri="{FF2B5EF4-FFF2-40B4-BE49-F238E27FC236}">
                <a16:creationId xmlns:a16="http://schemas.microsoft.com/office/drawing/2014/main" id="{B4BDF140-8D17-44C1-A75A-1C111B160EC4}"/>
              </a:ext>
            </a:extLst>
          </p:cNvPr>
          <p:cNvSpPr/>
          <p:nvPr/>
        </p:nvSpPr>
        <p:spPr bwMode="gray">
          <a:xfrm>
            <a:off x="6360135" y="2190087"/>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rtl="0">
              <a:buClrTx/>
            </a:pPr>
            <a:endParaRPr lang="en-US" kern="1200">
              <a:solidFill>
                <a:prstClr val="white"/>
              </a:solidFill>
              <a:latin typeface="Arial"/>
            </a:endParaRPr>
          </a:p>
        </p:txBody>
      </p:sp>
      <p:cxnSp>
        <p:nvCxnSpPr>
          <p:cNvPr id="46" name="Gerader Verbinder 45">
            <a:extLst>
              <a:ext uri="{FF2B5EF4-FFF2-40B4-BE49-F238E27FC236}">
                <a16:creationId xmlns:a16="http://schemas.microsoft.com/office/drawing/2014/main" id="{04BE9799-0132-4C87-BE28-402D81FE4DD4}"/>
              </a:ext>
            </a:extLst>
          </p:cNvPr>
          <p:cNvCxnSpPr>
            <a:stCxn id="40" idx="5"/>
            <a:endCxn id="33" idx="4"/>
          </p:cNvCxnSpPr>
          <p:nvPr/>
        </p:nvCxnSpPr>
        <p:spPr bwMode="gray">
          <a:xfrm>
            <a:off x="5050420" y="2347627"/>
            <a:ext cx="602071" cy="525242"/>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EC8EAE53-5E0A-41AA-857E-F83DA716766B}"/>
              </a:ext>
            </a:extLst>
          </p:cNvPr>
          <p:cNvCxnSpPr>
            <a:cxnSpLocks/>
            <a:stCxn id="41" idx="4"/>
            <a:endCxn id="33" idx="4"/>
          </p:cNvCxnSpPr>
          <p:nvPr/>
        </p:nvCxnSpPr>
        <p:spPr bwMode="gray">
          <a:xfrm flipH="1">
            <a:off x="5652491" y="2374656"/>
            <a:ext cx="66080" cy="49821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E2450006-7083-4681-8EF8-8E3766B5F130}"/>
              </a:ext>
            </a:extLst>
          </p:cNvPr>
          <p:cNvCxnSpPr>
            <a:cxnSpLocks/>
            <a:stCxn id="41" idx="6"/>
            <a:endCxn id="39" idx="4"/>
          </p:cNvCxnSpPr>
          <p:nvPr/>
        </p:nvCxnSpPr>
        <p:spPr bwMode="gray">
          <a:xfrm>
            <a:off x="5809346" y="2282371"/>
            <a:ext cx="299000" cy="89854"/>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CEDC45E6-0EC4-475D-949B-7DF539783176}"/>
              </a:ext>
            </a:extLst>
          </p:cNvPr>
          <p:cNvCxnSpPr>
            <a:cxnSpLocks/>
            <a:stCxn id="42" idx="2"/>
            <a:endCxn id="39" idx="4"/>
          </p:cNvCxnSpPr>
          <p:nvPr/>
        </p:nvCxnSpPr>
        <p:spPr bwMode="gray">
          <a:xfrm flipH="1">
            <a:off x="6108346" y="2282371"/>
            <a:ext cx="251789" cy="89854"/>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41C5E5BE-50AB-4FE5-B60F-481AD29FA722}"/>
              </a:ext>
            </a:extLst>
          </p:cNvPr>
          <p:cNvCxnSpPr>
            <a:cxnSpLocks/>
            <a:stCxn id="42" idx="4"/>
            <a:endCxn id="38" idx="4"/>
          </p:cNvCxnSpPr>
          <p:nvPr/>
        </p:nvCxnSpPr>
        <p:spPr bwMode="gray">
          <a:xfrm>
            <a:off x="6450910" y="2374656"/>
            <a:ext cx="53820" cy="49821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4EAF1EA8-7AB4-4BCF-8CC0-4970CCB7E191}"/>
              </a:ext>
            </a:extLst>
          </p:cNvPr>
          <p:cNvCxnSpPr>
            <a:cxnSpLocks/>
            <a:endCxn id="38" idx="4"/>
          </p:cNvCxnSpPr>
          <p:nvPr/>
        </p:nvCxnSpPr>
        <p:spPr bwMode="gray">
          <a:xfrm flipH="1">
            <a:off x="6504730" y="2318810"/>
            <a:ext cx="609613" cy="554058"/>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BD889752-8FCC-456B-A4B7-29234B520A39}"/>
              </a:ext>
            </a:extLst>
          </p:cNvPr>
          <p:cNvSpPr/>
          <p:nvPr/>
        </p:nvSpPr>
        <p:spPr bwMode="gray">
          <a:xfrm>
            <a:off x="8450869" y="2190087"/>
            <a:ext cx="181550" cy="184569"/>
          </a:xfrm>
          <a:prstGeom prst="ellipse">
            <a:avLst/>
          </a:prstGeom>
          <a:solidFill>
            <a:srgbClr val="73FFD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Ellipse 56">
            <a:extLst>
              <a:ext uri="{FF2B5EF4-FFF2-40B4-BE49-F238E27FC236}">
                <a16:creationId xmlns:a16="http://schemas.microsoft.com/office/drawing/2014/main" id="{1EDC42B8-684F-4D74-8569-357ADCF41ED5}"/>
              </a:ext>
            </a:extLst>
          </p:cNvPr>
          <p:cNvSpPr/>
          <p:nvPr/>
        </p:nvSpPr>
        <p:spPr bwMode="gray">
          <a:xfrm>
            <a:off x="9183208" y="2190087"/>
            <a:ext cx="181550" cy="184569"/>
          </a:xfrm>
          <a:prstGeom prst="ellipse">
            <a:avLst/>
          </a:prstGeom>
          <a:solidFill>
            <a:srgbClr val="66C4F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Ellipse 57">
            <a:extLst>
              <a:ext uri="{FF2B5EF4-FFF2-40B4-BE49-F238E27FC236}">
                <a16:creationId xmlns:a16="http://schemas.microsoft.com/office/drawing/2014/main" id="{1A2A3AAA-D7A4-4485-BF4E-B2F7E60DB070}"/>
              </a:ext>
            </a:extLst>
          </p:cNvPr>
          <p:cNvSpPr/>
          <p:nvPr/>
        </p:nvSpPr>
        <p:spPr bwMode="gray">
          <a:xfrm>
            <a:off x="9915547" y="2190087"/>
            <a:ext cx="181550" cy="184569"/>
          </a:xfrm>
          <a:prstGeom prst="ellipse">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Ellipse 58">
            <a:extLst>
              <a:ext uri="{FF2B5EF4-FFF2-40B4-BE49-F238E27FC236}">
                <a16:creationId xmlns:a16="http://schemas.microsoft.com/office/drawing/2014/main" id="{B0B0D3AC-2381-4DF8-853B-0E3F62AA80C3}"/>
              </a:ext>
            </a:extLst>
          </p:cNvPr>
          <p:cNvSpPr/>
          <p:nvPr/>
        </p:nvSpPr>
        <p:spPr bwMode="gray">
          <a:xfrm>
            <a:off x="10647886" y="2190087"/>
            <a:ext cx="181550" cy="184569"/>
          </a:xfrm>
          <a:prstGeom prst="ellipse">
            <a:avLst/>
          </a:prstGeom>
          <a:solidFill>
            <a:srgbClr val="73FFD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3" name="Gerader Verbinder 62">
            <a:extLst>
              <a:ext uri="{FF2B5EF4-FFF2-40B4-BE49-F238E27FC236}">
                <a16:creationId xmlns:a16="http://schemas.microsoft.com/office/drawing/2014/main" id="{13B49FE6-E54E-4FFE-818F-BEF4B13440F7}"/>
              </a:ext>
            </a:extLst>
          </p:cNvPr>
          <p:cNvCxnSpPr>
            <a:stCxn id="56" idx="5"/>
            <a:endCxn id="227" idx="4"/>
          </p:cNvCxnSpPr>
          <p:nvPr/>
        </p:nvCxnSpPr>
        <p:spPr bwMode="gray">
          <a:xfrm>
            <a:off x="8605832" y="2347627"/>
            <a:ext cx="602071" cy="525242"/>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A2799D3B-AE79-443E-BFCB-37779C147054}"/>
              </a:ext>
            </a:extLst>
          </p:cNvPr>
          <p:cNvCxnSpPr>
            <a:cxnSpLocks/>
            <a:stCxn id="57" idx="4"/>
            <a:endCxn id="227" idx="4"/>
          </p:cNvCxnSpPr>
          <p:nvPr/>
        </p:nvCxnSpPr>
        <p:spPr bwMode="gray">
          <a:xfrm flipH="1">
            <a:off x="9207903" y="2374656"/>
            <a:ext cx="66080" cy="49821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09038C63-7749-4ACB-931A-7A97B17D9CD0}"/>
              </a:ext>
            </a:extLst>
          </p:cNvPr>
          <p:cNvCxnSpPr>
            <a:cxnSpLocks/>
            <a:stCxn id="57" idx="6"/>
            <a:endCxn id="229" idx="4"/>
          </p:cNvCxnSpPr>
          <p:nvPr/>
        </p:nvCxnSpPr>
        <p:spPr bwMode="gray">
          <a:xfrm>
            <a:off x="9364758" y="2282371"/>
            <a:ext cx="299000" cy="89854"/>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3157D7D2-766A-4F5E-AD5F-6227B008ECA2}"/>
              </a:ext>
            </a:extLst>
          </p:cNvPr>
          <p:cNvCxnSpPr>
            <a:cxnSpLocks/>
            <a:stCxn id="58" idx="2"/>
            <a:endCxn id="229" idx="4"/>
          </p:cNvCxnSpPr>
          <p:nvPr/>
        </p:nvCxnSpPr>
        <p:spPr bwMode="gray">
          <a:xfrm flipH="1">
            <a:off x="9663758" y="2282371"/>
            <a:ext cx="251789" cy="89854"/>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4C194384-FCFA-4CAF-80D9-53EE727DFD01}"/>
              </a:ext>
            </a:extLst>
          </p:cNvPr>
          <p:cNvCxnSpPr>
            <a:cxnSpLocks/>
            <a:stCxn id="58" idx="4"/>
            <a:endCxn id="228" idx="4"/>
          </p:cNvCxnSpPr>
          <p:nvPr/>
        </p:nvCxnSpPr>
        <p:spPr bwMode="gray">
          <a:xfrm>
            <a:off x="10006322" y="2374656"/>
            <a:ext cx="53820" cy="49821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FA3AEFA9-B136-446B-A415-4560BE8508B6}"/>
              </a:ext>
            </a:extLst>
          </p:cNvPr>
          <p:cNvCxnSpPr>
            <a:cxnSpLocks/>
            <a:stCxn id="59" idx="3"/>
            <a:endCxn id="228" idx="4"/>
          </p:cNvCxnSpPr>
          <p:nvPr/>
        </p:nvCxnSpPr>
        <p:spPr bwMode="gray">
          <a:xfrm flipH="1">
            <a:off x="10060142" y="2347627"/>
            <a:ext cx="614331" cy="525242"/>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1DEE063C-FA89-4670-8F5F-8AB30DEC7E5C}"/>
              </a:ext>
            </a:extLst>
          </p:cNvPr>
          <p:cNvSpPr/>
          <p:nvPr/>
        </p:nvSpPr>
        <p:spPr bwMode="gray">
          <a:xfrm>
            <a:off x="10647886" y="2982512"/>
            <a:ext cx="181550" cy="184569"/>
          </a:xfrm>
          <a:prstGeom prst="ellipse">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71" name="Gerader Verbinder 70">
            <a:extLst>
              <a:ext uri="{FF2B5EF4-FFF2-40B4-BE49-F238E27FC236}">
                <a16:creationId xmlns:a16="http://schemas.microsoft.com/office/drawing/2014/main" id="{1FD5A7F6-CB83-468C-AF88-FA1C2AB88450}"/>
              </a:ext>
            </a:extLst>
          </p:cNvPr>
          <p:cNvCxnSpPr>
            <a:cxnSpLocks/>
            <a:stCxn id="70" idx="2"/>
          </p:cNvCxnSpPr>
          <p:nvPr/>
        </p:nvCxnSpPr>
        <p:spPr bwMode="gray">
          <a:xfrm flipH="1">
            <a:off x="10334972" y="3074796"/>
            <a:ext cx="312914" cy="65488"/>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27237980-F009-4980-8FFD-1C1C74B47322}"/>
              </a:ext>
            </a:extLst>
          </p:cNvPr>
          <p:cNvCxnSpPr>
            <a:cxnSpLocks/>
          </p:cNvCxnSpPr>
          <p:nvPr/>
        </p:nvCxnSpPr>
        <p:spPr bwMode="gray">
          <a:xfrm flipH="1">
            <a:off x="9663758" y="2782290"/>
            <a:ext cx="0" cy="613798"/>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3AF68441-85A4-48D1-85C9-9D934228026F}"/>
              </a:ext>
            </a:extLst>
          </p:cNvPr>
          <p:cNvCxnSpPr>
            <a:cxnSpLocks/>
            <a:stCxn id="227" idx="1"/>
            <a:endCxn id="230" idx="5"/>
          </p:cNvCxnSpPr>
          <p:nvPr/>
        </p:nvCxnSpPr>
        <p:spPr bwMode="gray">
          <a:xfrm>
            <a:off x="9363499" y="3295129"/>
            <a:ext cx="137804" cy="214122"/>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D32AC9A9-436F-41BB-9BAD-762AC7A0D472}"/>
              </a:ext>
            </a:extLst>
          </p:cNvPr>
          <p:cNvCxnSpPr>
            <a:cxnSpLocks/>
            <a:endCxn id="230" idx="3"/>
          </p:cNvCxnSpPr>
          <p:nvPr/>
        </p:nvCxnSpPr>
        <p:spPr bwMode="gray">
          <a:xfrm flipH="1">
            <a:off x="9827354" y="3295129"/>
            <a:ext cx="205746" cy="25494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1F49A632-583D-44AC-91D3-3EC80CD9C001}"/>
              </a:ext>
            </a:extLst>
          </p:cNvPr>
          <p:cNvSpPr/>
          <p:nvPr/>
        </p:nvSpPr>
        <p:spPr bwMode="gray">
          <a:xfrm>
            <a:off x="10246611" y="3600416"/>
            <a:ext cx="181550" cy="184569"/>
          </a:xfrm>
          <a:prstGeom prst="ellipse">
            <a:avLst/>
          </a:prstGeom>
          <a:solidFill>
            <a:srgbClr val="66C4F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77" name="Gerader Verbinder 76">
            <a:extLst>
              <a:ext uri="{FF2B5EF4-FFF2-40B4-BE49-F238E27FC236}">
                <a16:creationId xmlns:a16="http://schemas.microsoft.com/office/drawing/2014/main" id="{52061640-FB02-46A8-A060-37B6FDDC786B}"/>
              </a:ext>
            </a:extLst>
          </p:cNvPr>
          <p:cNvCxnSpPr>
            <a:cxnSpLocks/>
            <a:stCxn id="76" idx="2"/>
            <a:endCxn id="230" idx="2"/>
          </p:cNvCxnSpPr>
          <p:nvPr/>
        </p:nvCxnSpPr>
        <p:spPr bwMode="gray">
          <a:xfrm flipH="1">
            <a:off x="9947488" y="3692701"/>
            <a:ext cx="299123" cy="836"/>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94A293E4-D871-4F30-9C97-6FEE777A7290}"/>
              </a:ext>
            </a:extLst>
          </p:cNvPr>
          <p:cNvSpPr txBox="1">
            <a:spLocks/>
          </p:cNvSpPr>
          <p:nvPr/>
        </p:nvSpPr>
        <p:spPr bwMode="gray">
          <a:xfrm>
            <a:off x="9982321" y="3412276"/>
            <a:ext cx="710131" cy="156447"/>
          </a:xfrm>
          <a:prstGeom prst="rect">
            <a:avLst/>
          </a:prstGeom>
          <a:noFill/>
        </p:spPr>
        <p:txBody>
          <a:bodyPr wrap="none" lIns="0" tIns="0" rIns="0" bIns="0" rtlCol="0" anchor="b">
            <a:spAutoFit/>
          </a:bodyPr>
          <a:lstStyle/>
          <a:p>
            <a:pPr marL="0" marR="0" lvl="0" indent="0" algn="ctr" defTabSz="913029" rtl="0" eaLnBrk="1" fontAlgn="auto" latinLnBrk="0" hangingPunct="1">
              <a:lnSpc>
                <a:spcPct val="100000"/>
              </a:lnSpc>
              <a:spcBef>
                <a:spcPts val="300"/>
              </a:spcBef>
              <a:spcAft>
                <a:spcPts val="0"/>
              </a:spcAft>
              <a:buClr>
                <a:srgbClr val="009999"/>
              </a:buClr>
              <a:buSzTx/>
              <a:buFontTx/>
              <a:buNone/>
              <a:tabLst/>
              <a:defRPr/>
            </a:pPr>
            <a:r>
              <a:rPr kumimoji="0" lang="en-US" sz="10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rPr>
              <a:t>Asset Mgmt.</a:t>
            </a:r>
          </a:p>
        </p:txBody>
      </p:sp>
      <p:sp>
        <p:nvSpPr>
          <p:cNvPr id="80" name="Textfeld 79">
            <a:extLst>
              <a:ext uri="{FF2B5EF4-FFF2-40B4-BE49-F238E27FC236}">
                <a16:creationId xmlns:a16="http://schemas.microsoft.com/office/drawing/2014/main" id="{A41CEEB2-7448-4F4B-94B9-1487D57AB851}"/>
              </a:ext>
            </a:extLst>
          </p:cNvPr>
          <p:cNvSpPr txBox="1">
            <a:spLocks/>
          </p:cNvSpPr>
          <p:nvPr/>
        </p:nvSpPr>
        <p:spPr bwMode="gray">
          <a:xfrm>
            <a:off x="11215518" y="2854236"/>
            <a:ext cx="468077" cy="215444"/>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Cloud</a:t>
            </a:r>
          </a:p>
        </p:txBody>
      </p:sp>
      <p:grpSp>
        <p:nvGrpSpPr>
          <p:cNvPr id="81" name="Gruppieren 80">
            <a:extLst>
              <a:ext uri="{FF2B5EF4-FFF2-40B4-BE49-F238E27FC236}">
                <a16:creationId xmlns:a16="http://schemas.microsoft.com/office/drawing/2014/main" id="{D65FE32E-6256-4664-912E-A0B435BBE254}"/>
              </a:ext>
            </a:extLst>
          </p:cNvPr>
          <p:cNvGrpSpPr/>
          <p:nvPr/>
        </p:nvGrpSpPr>
        <p:grpSpPr bwMode="gray">
          <a:xfrm>
            <a:off x="8796288" y="3967180"/>
            <a:ext cx="346868" cy="249410"/>
            <a:chOff x="8200915" y="3876916"/>
            <a:chExt cx="346868" cy="245331"/>
          </a:xfrm>
        </p:grpSpPr>
        <p:sp>
          <p:nvSpPr>
            <p:cNvPr id="82" name="Rechteck 81">
              <a:extLst>
                <a:ext uri="{FF2B5EF4-FFF2-40B4-BE49-F238E27FC236}">
                  <a16:creationId xmlns:a16="http://schemas.microsoft.com/office/drawing/2014/main" id="{C07E5FC7-BF05-464B-93D8-DEF0A846724F}"/>
                </a:ext>
              </a:extLst>
            </p:cNvPr>
            <p:cNvSpPr/>
            <p:nvPr/>
          </p:nvSpPr>
          <p:spPr bwMode="gray">
            <a:xfrm>
              <a:off x="8200915" y="3876916"/>
              <a:ext cx="346868" cy="245331"/>
            </a:xfrm>
            <a:prstGeom prst="rect">
              <a:avLst/>
            </a:prstGeom>
            <a:solidFill>
              <a:srgbClr val="009999"/>
            </a:solidFill>
            <a:ln w="952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83" name="Gruppieren 82">
              <a:extLst>
                <a:ext uri="{FF2B5EF4-FFF2-40B4-BE49-F238E27FC236}">
                  <a16:creationId xmlns:a16="http://schemas.microsoft.com/office/drawing/2014/main" id="{DEE79F3D-4968-431D-B1D7-E9FBBFB17BA8}"/>
                </a:ext>
              </a:extLst>
            </p:cNvPr>
            <p:cNvGrpSpPr/>
            <p:nvPr/>
          </p:nvGrpSpPr>
          <p:grpSpPr bwMode="gray">
            <a:xfrm>
              <a:off x="8253283" y="3923507"/>
              <a:ext cx="278975" cy="152147"/>
              <a:chOff x="8508247" y="4342361"/>
              <a:chExt cx="527629" cy="287757"/>
            </a:xfrm>
          </p:grpSpPr>
          <p:grpSp>
            <p:nvGrpSpPr>
              <p:cNvPr id="84" name="Gruppieren 83">
                <a:extLst>
                  <a:ext uri="{FF2B5EF4-FFF2-40B4-BE49-F238E27FC236}">
                    <a16:creationId xmlns:a16="http://schemas.microsoft.com/office/drawing/2014/main" id="{B3CACA54-5E2F-4F83-88D8-19A655E59A90}"/>
                  </a:ext>
                </a:extLst>
              </p:cNvPr>
              <p:cNvGrpSpPr/>
              <p:nvPr/>
            </p:nvGrpSpPr>
            <p:grpSpPr bwMode="gray">
              <a:xfrm>
                <a:off x="8508247" y="4404665"/>
                <a:ext cx="373088" cy="225453"/>
                <a:chOff x="9367583" y="4922970"/>
                <a:chExt cx="373088" cy="225453"/>
              </a:xfrm>
            </p:grpSpPr>
            <p:grpSp>
              <p:nvGrpSpPr>
                <p:cNvPr id="86" name="Gruppieren 85">
                  <a:extLst>
                    <a:ext uri="{FF2B5EF4-FFF2-40B4-BE49-F238E27FC236}">
                      <a16:creationId xmlns:a16="http://schemas.microsoft.com/office/drawing/2014/main" id="{4A2ADF22-C031-4E59-B1FE-FFFE7009642D}"/>
                    </a:ext>
                  </a:extLst>
                </p:cNvPr>
                <p:cNvGrpSpPr/>
                <p:nvPr/>
              </p:nvGrpSpPr>
              <p:grpSpPr bwMode="gray">
                <a:xfrm>
                  <a:off x="9367583" y="4922970"/>
                  <a:ext cx="182149" cy="225453"/>
                  <a:chOff x="9356487" y="4922970"/>
                  <a:chExt cx="193245" cy="225453"/>
                </a:xfrm>
              </p:grpSpPr>
              <p:sp>
                <p:nvSpPr>
                  <p:cNvPr id="102" name="Grafik 170">
                    <a:extLst>
                      <a:ext uri="{FF2B5EF4-FFF2-40B4-BE49-F238E27FC236}">
                        <a16:creationId xmlns:a16="http://schemas.microsoft.com/office/drawing/2014/main" id="{9F57C06A-F1C5-498D-A817-2B395FDBDA53}"/>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3" name="Grafik 170">
                    <a:extLst>
                      <a:ext uri="{FF2B5EF4-FFF2-40B4-BE49-F238E27FC236}">
                        <a16:creationId xmlns:a16="http://schemas.microsoft.com/office/drawing/2014/main" id="{258C27F5-DDFF-4522-A961-714CB2F408D4}"/>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4" name="Grafik 170">
                    <a:extLst>
                      <a:ext uri="{FF2B5EF4-FFF2-40B4-BE49-F238E27FC236}">
                        <a16:creationId xmlns:a16="http://schemas.microsoft.com/office/drawing/2014/main" id="{7BFF814D-98D3-4DBF-8096-80700F9DF0EA}"/>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5" name="Grafik 170">
                    <a:extLst>
                      <a:ext uri="{FF2B5EF4-FFF2-40B4-BE49-F238E27FC236}">
                        <a16:creationId xmlns:a16="http://schemas.microsoft.com/office/drawing/2014/main" id="{3E8B576F-F923-40ED-A3C0-F79BB33E568F}"/>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6" name="Grafik 170">
                    <a:extLst>
                      <a:ext uri="{FF2B5EF4-FFF2-40B4-BE49-F238E27FC236}">
                        <a16:creationId xmlns:a16="http://schemas.microsoft.com/office/drawing/2014/main" id="{84982307-825B-44D5-9B08-E60A71DCF6A5}"/>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7" name="Grafik 170">
                    <a:extLst>
                      <a:ext uri="{FF2B5EF4-FFF2-40B4-BE49-F238E27FC236}">
                        <a16:creationId xmlns:a16="http://schemas.microsoft.com/office/drawing/2014/main" id="{8C5408A6-F556-47E8-A3CE-890B9A2F3E35}"/>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8" name="Grafik 170">
                    <a:extLst>
                      <a:ext uri="{FF2B5EF4-FFF2-40B4-BE49-F238E27FC236}">
                        <a16:creationId xmlns:a16="http://schemas.microsoft.com/office/drawing/2014/main" id="{9435A004-39A6-4339-8E17-58C45C4D7837}"/>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9" name="Grafik 170">
                    <a:extLst>
                      <a:ext uri="{FF2B5EF4-FFF2-40B4-BE49-F238E27FC236}">
                        <a16:creationId xmlns:a16="http://schemas.microsoft.com/office/drawing/2014/main" id="{3123085E-487E-4268-A1B5-31A2F0A1AA25}"/>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0" name="Grafik 170">
                    <a:extLst>
                      <a:ext uri="{FF2B5EF4-FFF2-40B4-BE49-F238E27FC236}">
                        <a16:creationId xmlns:a16="http://schemas.microsoft.com/office/drawing/2014/main" id="{FD162C8F-0F1B-4B89-9906-41F0D3D3F102}"/>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1" name="Grafik 170">
                    <a:extLst>
                      <a:ext uri="{FF2B5EF4-FFF2-40B4-BE49-F238E27FC236}">
                        <a16:creationId xmlns:a16="http://schemas.microsoft.com/office/drawing/2014/main" id="{2A8C6651-1142-4B3D-8140-4838C51A279F}"/>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2" name="Grafik 170">
                    <a:extLst>
                      <a:ext uri="{FF2B5EF4-FFF2-40B4-BE49-F238E27FC236}">
                        <a16:creationId xmlns:a16="http://schemas.microsoft.com/office/drawing/2014/main" id="{D3AA1B41-325A-4DC0-AFCF-A1DDC561B469}"/>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3" name="Grafik 170">
                    <a:extLst>
                      <a:ext uri="{FF2B5EF4-FFF2-40B4-BE49-F238E27FC236}">
                        <a16:creationId xmlns:a16="http://schemas.microsoft.com/office/drawing/2014/main" id="{5BE2BFD7-5048-4AEB-8FE0-0F8BF9111EB2}"/>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Grafik 170">
                    <a:extLst>
                      <a:ext uri="{FF2B5EF4-FFF2-40B4-BE49-F238E27FC236}">
                        <a16:creationId xmlns:a16="http://schemas.microsoft.com/office/drawing/2014/main" id="{82CCDB6A-D8CC-4AE1-B05B-C3ADA0C73668}"/>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5" name="Grafik 170">
                    <a:extLst>
                      <a:ext uri="{FF2B5EF4-FFF2-40B4-BE49-F238E27FC236}">
                        <a16:creationId xmlns:a16="http://schemas.microsoft.com/office/drawing/2014/main" id="{1E650D95-68AD-46F3-9C17-C8075BE14275}"/>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87" name="Gruppieren 86">
                  <a:extLst>
                    <a:ext uri="{FF2B5EF4-FFF2-40B4-BE49-F238E27FC236}">
                      <a16:creationId xmlns:a16="http://schemas.microsoft.com/office/drawing/2014/main" id="{F917ADEF-0D95-432A-A631-92C14250F732}"/>
                    </a:ext>
                  </a:extLst>
                </p:cNvPr>
                <p:cNvGrpSpPr/>
                <p:nvPr/>
              </p:nvGrpSpPr>
              <p:grpSpPr bwMode="gray">
                <a:xfrm>
                  <a:off x="9558522" y="4922970"/>
                  <a:ext cx="182149" cy="225453"/>
                  <a:chOff x="9356487" y="4922970"/>
                  <a:chExt cx="193245" cy="225453"/>
                </a:xfrm>
              </p:grpSpPr>
              <p:sp>
                <p:nvSpPr>
                  <p:cNvPr id="88" name="Grafik 170">
                    <a:extLst>
                      <a:ext uri="{FF2B5EF4-FFF2-40B4-BE49-F238E27FC236}">
                        <a16:creationId xmlns:a16="http://schemas.microsoft.com/office/drawing/2014/main" id="{279D4136-FF29-4F62-8BA3-A44AE2A18CB8}"/>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9" name="Grafik 170">
                    <a:extLst>
                      <a:ext uri="{FF2B5EF4-FFF2-40B4-BE49-F238E27FC236}">
                        <a16:creationId xmlns:a16="http://schemas.microsoft.com/office/drawing/2014/main" id="{AB5B5C09-4936-4FA3-9714-06C8F84CC702}"/>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0" name="Grafik 170">
                    <a:extLst>
                      <a:ext uri="{FF2B5EF4-FFF2-40B4-BE49-F238E27FC236}">
                        <a16:creationId xmlns:a16="http://schemas.microsoft.com/office/drawing/2014/main" id="{772EDFA1-88F5-44FC-A92F-936C0FE5FD3E}"/>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1" name="Grafik 170">
                    <a:extLst>
                      <a:ext uri="{FF2B5EF4-FFF2-40B4-BE49-F238E27FC236}">
                        <a16:creationId xmlns:a16="http://schemas.microsoft.com/office/drawing/2014/main" id="{E784768B-ECD4-4272-A86F-F8BAE008D5C0}"/>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2" name="Grafik 170">
                    <a:extLst>
                      <a:ext uri="{FF2B5EF4-FFF2-40B4-BE49-F238E27FC236}">
                        <a16:creationId xmlns:a16="http://schemas.microsoft.com/office/drawing/2014/main" id="{D8F4438C-38B5-4C20-A922-F231137780B5}"/>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3" name="Grafik 170">
                    <a:extLst>
                      <a:ext uri="{FF2B5EF4-FFF2-40B4-BE49-F238E27FC236}">
                        <a16:creationId xmlns:a16="http://schemas.microsoft.com/office/drawing/2014/main" id="{1E1572DF-5CB8-4CA1-A681-D4A4BF0BD1BF}"/>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4" name="Grafik 170">
                    <a:extLst>
                      <a:ext uri="{FF2B5EF4-FFF2-40B4-BE49-F238E27FC236}">
                        <a16:creationId xmlns:a16="http://schemas.microsoft.com/office/drawing/2014/main" id="{657357CC-D7B7-4EB3-B515-637048D62BE6}"/>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5" name="Grafik 170">
                    <a:extLst>
                      <a:ext uri="{FF2B5EF4-FFF2-40B4-BE49-F238E27FC236}">
                        <a16:creationId xmlns:a16="http://schemas.microsoft.com/office/drawing/2014/main" id="{DF98BE0D-6390-437E-8839-F5A2126A7E6F}"/>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6" name="Grafik 170">
                    <a:extLst>
                      <a:ext uri="{FF2B5EF4-FFF2-40B4-BE49-F238E27FC236}">
                        <a16:creationId xmlns:a16="http://schemas.microsoft.com/office/drawing/2014/main" id="{D2C0BC5F-B257-471D-9119-439105A36F71}"/>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7" name="Grafik 170">
                    <a:extLst>
                      <a:ext uri="{FF2B5EF4-FFF2-40B4-BE49-F238E27FC236}">
                        <a16:creationId xmlns:a16="http://schemas.microsoft.com/office/drawing/2014/main" id="{CC47EB86-5205-43AC-B6E0-564431EBB143}"/>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8" name="Grafik 170">
                    <a:extLst>
                      <a:ext uri="{FF2B5EF4-FFF2-40B4-BE49-F238E27FC236}">
                        <a16:creationId xmlns:a16="http://schemas.microsoft.com/office/drawing/2014/main" id="{998D67BF-A09A-4B63-8B7A-AD190329AF13}"/>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9" name="Grafik 170">
                    <a:extLst>
                      <a:ext uri="{FF2B5EF4-FFF2-40B4-BE49-F238E27FC236}">
                        <a16:creationId xmlns:a16="http://schemas.microsoft.com/office/drawing/2014/main" id="{38BED42B-DA9A-4407-9F54-69F6239FC6EF}"/>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0" name="Grafik 170">
                    <a:extLst>
                      <a:ext uri="{FF2B5EF4-FFF2-40B4-BE49-F238E27FC236}">
                        <a16:creationId xmlns:a16="http://schemas.microsoft.com/office/drawing/2014/main" id="{19C1DC9A-8989-4565-B39C-2E0DF0465F59}"/>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1" name="Grafik 170">
                    <a:extLst>
                      <a:ext uri="{FF2B5EF4-FFF2-40B4-BE49-F238E27FC236}">
                        <a16:creationId xmlns:a16="http://schemas.microsoft.com/office/drawing/2014/main" id="{598A546D-2EE5-46E6-84FC-D004AA390365}"/>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85" name="Freeform 13">
                <a:extLst>
                  <a:ext uri="{FF2B5EF4-FFF2-40B4-BE49-F238E27FC236}">
                    <a16:creationId xmlns:a16="http://schemas.microsoft.com/office/drawing/2014/main" id="{5B6068D2-A303-43BD-BD00-197D40461325}"/>
                  </a:ext>
                </a:extLst>
              </p:cNvPr>
              <p:cNvSpPr>
                <a:spLocks noChangeAspect="1" noEditPoints="1"/>
              </p:cNvSpPr>
              <p:nvPr/>
            </p:nvSpPr>
            <p:spPr bwMode="gray">
              <a:xfrm>
                <a:off x="8813030" y="4342361"/>
                <a:ext cx="222846" cy="132857"/>
              </a:xfrm>
              <a:custGeom>
                <a:avLst/>
                <a:gdLst>
                  <a:gd name="T0" fmla="*/ 3525 w 5344"/>
                  <a:gd name="T1" fmla="*/ 0 h 3640"/>
                  <a:gd name="T2" fmla="*/ 3261 w 5344"/>
                  <a:gd name="T3" fmla="*/ 264 h 3640"/>
                  <a:gd name="T4" fmla="*/ 4647 w 5344"/>
                  <a:gd name="T5" fmla="*/ 1660 h 3640"/>
                  <a:gd name="T6" fmla="*/ 4807 w 5344"/>
                  <a:gd name="T7" fmla="*/ 1820 h 3640"/>
                  <a:gd name="T8" fmla="*/ 4647 w 5344"/>
                  <a:gd name="T9" fmla="*/ 1980 h 3640"/>
                  <a:gd name="T10" fmla="*/ 3261 w 5344"/>
                  <a:gd name="T11" fmla="*/ 3375 h 3640"/>
                  <a:gd name="T12" fmla="*/ 3525 w 5344"/>
                  <a:gd name="T13" fmla="*/ 3640 h 3640"/>
                  <a:gd name="T14" fmla="*/ 5344 w 5344"/>
                  <a:gd name="T15" fmla="*/ 1820 h 3640"/>
                  <a:gd name="T16" fmla="*/ 3525 w 5344"/>
                  <a:gd name="T17" fmla="*/ 0 h 3640"/>
                  <a:gd name="T18" fmla="*/ 1819 w 5344"/>
                  <a:gd name="T19" fmla="*/ 3640 h 3640"/>
                  <a:gd name="T20" fmla="*/ 3637 w 5344"/>
                  <a:gd name="T21" fmla="*/ 1820 h 3640"/>
                  <a:gd name="T22" fmla="*/ 1819 w 5344"/>
                  <a:gd name="T23" fmla="*/ 0 h 3640"/>
                  <a:gd name="T24" fmla="*/ 0 w 5344"/>
                  <a:gd name="T25" fmla="*/ 1820 h 3640"/>
                  <a:gd name="T26" fmla="*/ 1819 w 5344"/>
                  <a:gd name="T27" fmla="*/ 3640 h 3640"/>
                  <a:gd name="T28" fmla="*/ 2668 w 5344"/>
                  <a:gd name="T29" fmla="*/ 0 h 3640"/>
                  <a:gd name="T30" fmla="*/ 2404 w 5344"/>
                  <a:gd name="T31" fmla="*/ 264 h 3640"/>
                  <a:gd name="T32" fmla="*/ 3798 w 5344"/>
                  <a:gd name="T33" fmla="*/ 1660 h 3640"/>
                  <a:gd name="T34" fmla="*/ 3958 w 5344"/>
                  <a:gd name="T35" fmla="*/ 1820 h 3640"/>
                  <a:gd name="T36" fmla="*/ 3798 w 5344"/>
                  <a:gd name="T37" fmla="*/ 1980 h 3640"/>
                  <a:gd name="T38" fmla="*/ 2404 w 5344"/>
                  <a:gd name="T39" fmla="*/ 3375 h 3640"/>
                  <a:gd name="T40" fmla="*/ 2668 w 5344"/>
                  <a:gd name="T41" fmla="*/ 3640 h 3640"/>
                  <a:gd name="T42" fmla="*/ 4487 w 5344"/>
                  <a:gd name="T43" fmla="*/ 1820 h 3640"/>
                  <a:gd name="T44" fmla="*/ 2668 w 5344"/>
                  <a:gd name="T45" fmla="*/ 0 h 3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44" h="3640">
                    <a:moveTo>
                      <a:pt x="3525" y="0"/>
                    </a:moveTo>
                    <a:lnTo>
                      <a:pt x="3261" y="264"/>
                    </a:lnTo>
                    <a:lnTo>
                      <a:pt x="4647" y="1660"/>
                    </a:lnTo>
                    <a:lnTo>
                      <a:pt x="4807" y="1820"/>
                    </a:lnTo>
                    <a:lnTo>
                      <a:pt x="4647" y="1980"/>
                    </a:lnTo>
                    <a:lnTo>
                      <a:pt x="3261" y="3375"/>
                    </a:lnTo>
                    <a:lnTo>
                      <a:pt x="3525" y="3640"/>
                    </a:lnTo>
                    <a:lnTo>
                      <a:pt x="5344" y="1820"/>
                    </a:lnTo>
                    <a:lnTo>
                      <a:pt x="3525" y="0"/>
                    </a:lnTo>
                    <a:close/>
                    <a:moveTo>
                      <a:pt x="1819" y="3640"/>
                    </a:moveTo>
                    <a:lnTo>
                      <a:pt x="3637" y="1820"/>
                    </a:lnTo>
                    <a:lnTo>
                      <a:pt x="1819" y="0"/>
                    </a:lnTo>
                    <a:lnTo>
                      <a:pt x="0" y="1820"/>
                    </a:lnTo>
                    <a:lnTo>
                      <a:pt x="1819" y="3640"/>
                    </a:lnTo>
                    <a:close/>
                    <a:moveTo>
                      <a:pt x="2668" y="0"/>
                    </a:moveTo>
                    <a:lnTo>
                      <a:pt x="2404" y="264"/>
                    </a:lnTo>
                    <a:lnTo>
                      <a:pt x="3798" y="1660"/>
                    </a:lnTo>
                    <a:lnTo>
                      <a:pt x="3958" y="1820"/>
                    </a:lnTo>
                    <a:lnTo>
                      <a:pt x="3798" y="1980"/>
                    </a:lnTo>
                    <a:lnTo>
                      <a:pt x="2404" y="3375"/>
                    </a:lnTo>
                    <a:lnTo>
                      <a:pt x="2668" y="3640"/>
                    </a:lnTo>
                    <a:lnTo>
                      <a:pt x="4487" y="1820"/>
                    </a:lnTo>
                    <a:lnTo>
                      <a:pt x="2668" y="0"/>
                    </a:lnTo>
                    <a:close/>
                  </a:path>
                </a:pathLst>
              </a:custGeom>
              <a:solidFill>
                <a:schemeClr val="accent1"/>
              </a:solidFill>
              <a:ln w="3175">
                <a:solidFill>
                  <a:schemeClr val="bg1"/>
                </a:solidFill>
              </a:ln>
            </p:spPr>
            <p:txBody>
              <a:bodyPr vert="horz" wrap="square" lIns="91296" tIns="45648" rIns="91296" bIns="45648" numCol="1" anchor="t" anchorCtr="0" compatLnSpc="1">
                <a:prstTxWarp prst="textNoShape">
                  <a:avLst/>
                </a:prstTxWarp>
              </a:bodyPr>
              <a:lstStyle/>
              <a:p>
                <a:pPr marL="0" marR="0" lvl="0" indent="0" algn="l" defTabSz="913029"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16" name="Gruppieren 115">
            <a:extLst>
              <a:ext uri="{FF2B5EF4-FFF2-40B4-BE49-F238E27FC236}">
                <a16:creationId xmlns:a16="http://schemas.microsoft.com/office/drawing/2014/main" id="{3F619C69-60CC-4F43-B30F-F3DC030FCF03}"/>
              </a:ext>
            </a:extLst>
          </p:cNvPr>
          <p:cNvGrpSpPr/>
          <p:nvPr/>
        </p:nvGrpSpPr>
        <p:grpSpPr bwMode="gray">
          <a:xfrm>
            <a:off x="9235817" y="3967180"/>
            <a:ext cx="346868" cy="249410"/>
            <a:chOff x="8200915" y="3876916"/>
            <a:chExt cx="346868" cy="245331"/>
          </a:xfrm>
        </p:grpSpPr>
        <p:sp>
          <p:nvSpPr>
            <p:cNvPr id="117" name="Rechteck 116">
              <a:extLst>
                <a:ext uri="{FF2B5EF4-FFF2-40B4-BE49-F238E27FC236}">
                  <a16:creationId xmlns:a16="http://schemas.microsoft.com/office/drawing/2014/main" id="{1E8210A4-1ADD-4A97-9384-D3EC04509713}"/>
                </a:ext>
              </a:extLst>
            </p:cNvPr>
            <p:cNvSpPr/>
            <p:nvPr/>
          </p:nvSpPr>
          <p:spPr bwMode="gray">
            <a:xfrm>
              <a:off x="8200915" y="3876916"/>
              <a:ext cx="346868" cy="245331"/>
            </a:xfrm>
            <a:prstGeom prst="rect">
              <a:avLst/>
            </a:prstGeom>
            <a:solidFill>
              <a:srgbClr val="66C4FF"/>
            </a:solidFill>
            <a:ln w="952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18" name="Gruppieren 117">
              <a:extLst>
                <a:ext uri="{FF2B5EF4-FFF2-40B4-BE49-F238E27FC236}">
                  <a16:creationId xmlns:a16="http://schemas.microsoft.com/office/drawing/2014/main" id="{075B35CB-697C-45EB-8D9A-328B9E11A220}"/>
                </a:ext>
              </a:extLst>
            </p:cNvPr>
            <p:cNvGrpSpPr/>
            <p:nvPr/>
          </p:nvGrpSpPr>
          <p:grpSpPr bwMode="gray">
            <a:xfrm>
              <a:off x="8253283" y="3923507"/>
              <a:ext cx="278975" cy="152147"/>
              <a:chOff x="8508247" y="4342361"/>
              <a:chExt cx="527629" cy="287757"/>
            </a:xfrm>
          </p:grpSpPr>
          <p:grpSp>
            <p:nvGrpSpPr>
              <p:cNvPr id="119" name="Gruppieren 118">
                <a:extLst>
                  <a:ext uri="{FF2B5EF4-FFF2-40B4-BE49-F238E27FC236}">
                    <a16:creationId xmlns:a16="http://schemas.microsoft.com/office/drawing/2014/main" id="{94CF5266-99E2-417A-861B-FFB6B31E9F5D}"/>
                  </a:ext>
                </a:extLst>
              </p:cNvPr>
              <p:cNvGrpSpPr/>
              <p:nvPr/>
            </p:nvGrpSpPr>
            <p:grpSpPr bwMode="gray">
              <a:xfrm>
                <a:off x="8508247" y="4404665"/>
                <a:ext cx="373088" cy="225453"/>
                <a:chOff x="9367583" y="4922970"/>
                <a:chExt cx="373088" cy="225453"/>
              </a:xfrm>
            </p:grpSpPr>
            <p:grpSp>
              <p:nvGrpSpPr>
                <p:cNvPr id="121" name="Gruppieren 120">
                  <a:extLst>
                    <a:ext uri="{FF2B5EF4-FFF2-40B4-BE49-F238E27FC236}">
                      <a16:creationId xmlns:a16="http://schemas.microsoft.com/office/drawing/2014/main" id="{7E384B39-F7E7-4BBB-815E-60E4012EC6B0}"/>
                    </a:ext>
                  </a:extLst>
                </p:cNvPr>
                <p:cNvGrpSpPr/>
                <p:nvPr/>
              </p:nvGrpSpPr>
              <p:grpSpPr bwMode="gray">
                <a:xfrm>
                  <a:off x="9367583" y="4922970"/>
                  <a:ext cx="182149" cy="225453"/>
                  <a:chOff x="9356487" y="4922970"/>
                  <a:chExt cx="193245" cy="225453"/>
                </a:xfrm>
              </p:grpSpPr>
              <p:sp>
                <p:nvSpPr>
                  <p:cNvPr id="137" name="Grafik 170">
                    <a:extLst>
                      <a:ext uri="{FF2B5EF4-FFF2-40B4-BE49-F238E27FC236}">
                        <a16:creationId xmlns:a16="http://schemas.microsoft.com/office/drawing/2014/main" id="{61D39901-09AD-4384-8BC3-0A0CA80B4F15}"/>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8" name="Grafik 170">
                    <a:extLst>
                      <a:ext uri="{FF2B5EF4-FFF2-40B4-BE49-F238E27FC236}">
                        <a16:creationId xmlns:a16="http://schemas.microsoft.com/office/drawing/2014/main" id="{D5BA1591-AE5D-4BEA-8D2C-67E780CB7538}"/>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9" name="Grafik 170">
                    <a:extLst>
                      <a:ext uri="{FF2B5EF4-FFF2-40B4-BE49-F238E27FC236}">
                        <a16:creationId xmlns:a16="http://schemas.microsoft.com/office/drawing/2014/main" id="{0E9E152F-F106-4EAE-9E75-5D087CA0E721}"/>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0" name="Grafik 170">
                    <a:extLst>
                      <a:ext uri="{FF2B5EF4-FFF2-40B4-BE49-F238E27FC236}">
                        <a16:creationId xmlns:a16="http://schemas.microsoft.com/office/drawing/2014/main" id="{86DC5EF4-11EA-4ABF-9EC6-9A3AED9D646B}"/>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1" name="Grafik 170">
                    <a:extLst>
                      <a:ext uri="{FF2B5EF4-FFF2-40B4-BE49-F238E27FC236}">
                        <a16:creationId xmlns:a16="http://schemas.microsoft.com/office/drawing/2014/main" id="{999B1179-3D4B-4199-983F-0BBC750D4C75}"/>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2" name="Grafik 170">
                    <a:extLst>
                      <a:ext uri="{FF2B5EF4-FFF2-40B4-BE49-F238E27FC236}">
                        <a16:creationId xmlns:a16="http://schemas.microsoft.com/office/drawing/2014/main" id="{F7B6F8FD-6AA6-48D4-AEFC-361820C6AE68}"/>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3" name="Grafik 170">
                    <a:extLst>
                      <a:ext uri="{FF2B5EF4-FFF2-40B4-BE49-F238E27FC236}">
                        <a16:creationId xmlns:a16="http://schemas.microsoft.com/office/drawing/2014/main" id="{93475C5C-92AC-45DF-8E2F-5B940FDBC394}"/>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4" name="Grafik 170">
                    <a:extLst>
                      <a:ext uri="{FF2B5EF4-FFF2-40B4-BE49-F238E27FC236}">
                        <a16:creationId xmlns:a16="http://schemas.microsoft.com/office/drawing/2014/main" id="{C2A3C722-2566-4AA5-8FF4-A9E639D6E876}"/>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5" name="Grafik 170">
                    <a:extLst>
                      <a:ext uri="{FF2B5EF4-FFF2-40B4-BE49-F238E27FC236}">
                        <a16:creationId xmlns:a16="http://schemas.microsoft.com/office/drawing/2014/main" id="{53DF2FB2-6CE3-4BBC-9393-0508883F16C5}"/>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6" name="Grafik 170">
                    <a:extLst>
                      <a:ext uri="{FF2B5EF4-FFF2-40B4-BE49-F238E27FC236}">
                        <a16:creationId xmlns:a16="http://schemas.microsoft.com/office/drawing/2014/main" id="{BD6F4923-E9C8-4065-BF37-1FF03D7EB661}"/>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7" name="Grafik 170">
                    <a:extLst>
                      <a:ext uri="{FF2B5EF4-FFF2-40B4-BE49-F238E27FC236}">
                        <a16:creationId xmlns:a16="http://schemas.microsoft.com/office/drawing/2014/main" id="{E57FC140-5373-44C7-81CF-751DF04A291E}"/>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8" name="Grafik 170">
                    <a:extLst>
                      <a:ext uri="{FF2B5EF4-FFF2-40B4-BE49-F238E27FC236}">
                        <a16:creationId xmlns:a16="http://schemas.microsoft.com/office/drawing/2014/main" id="{2CE3DCD5-5AFD-4C5D-A91E-B5D32FF11B32}"/>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9" name="Grafik 170">
                    <a:extLst>
                      <a:ext uri="{FF2B5EF4-FFF2-40B4-BE49-F238E27FC236}">
                        <a16:creationId xmlns:a16="http://schemas.microsoft.com/office/drawing/2014/main" id="{37A31E6C-2AB6-49A0-808A-06C09D8C7107}"/>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0" name="Grafik 170">
                    <a:extLst>
                      <a:ext uri="{FF2B5EF4-FFF2-40B4-BE49-F238E27FC236}">
                        <a16:creationId xmlns:a16="http://schemas.microsoft.com/office/drawing/2014/main" id="{ED022D0B-A576-4833-8942-EF36499BDC85}"/>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22" name="Gruppieren 121">
                  <a:extLst>
                    <a:ext uri="{FF2B5EF4-FFF2-40B4-BE49-F238E27FC236}">
                      <a16:creationId xmlns:a16="http://schemas.microsoft.com/office/drawing/2014/main" id="{903006F7-E39E-4643-8221-3C6960391CEA}"/>
                    </a:ext>
                  </a:extLst>
                </p:cNvPr>
                <p:cNvGrpSpPr/>
                <p:nvPr/>
              </p:nvGrpSpPr>
              <p:grpSpPr bwMode="gray">
                <a:xfrm>
                  <a:off x="9558522" y="4922970"/>
                  <a:ext cx="182149" cy="225453"/>
                  <a:chOff x="9356487" y="4922970"/>
                  <a:chExt cx="193245" cy="225453"/>
                </a:xfrm>
              </p:grpSpPr>
              <p:sp>
                <p:nvSpPr>
                  <p:cNvPr id="123" name="Grafik 170">
                    <a:extLst>
                      <a:ext uri="{FF2B5EF4-FFF2-40B4-BE49-F238E27FC236}">
                        <a16:creationId xmlns:a16="http://schemas.microsoft.com/office/drawing/2014/main" id="{1A540EBC-66B2-4FC9-BB73-207B3B8E73FD}"/>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4" name="Grafik 170">
                    <a:extLst>
                      <a:ext uri="{FF2B5EF4-FFF2-40B4-BE49-F238E27FC236}">
                        <a16:creationId xmlns:a16="http://schemas.microsoft.com/office/drawing/2014/main" id="{EADCD495-7C28-443A-9256-57F2906CDAAF}"/>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5" name="Grafik 170">
                    <a:extLst>
                      <a:ext uri="{FF2B5EF4-FFF2-40B4-BE49-F238E27FC236}">
                        <a16:creationId xmlns:a16="http://schemas.microsoft.com/office/drawing/2014/main" id="{5AFF0B01-3AF4-4A32-AAF7-259AD5DB85B8}"/>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6" name="Grafik 170">
                    <a:extLst>
                      <a:ext uri="{FF2B5EF4-FFF2-40B4-BE49-F238E27FC236}">
                        <a16:creationId xmlns:a16="http://schemas.microsoft.com/office/drawing/2014/main" id="{8533A8C9-086C-4B45-A737-E6ACB78DF443}"/>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7" name="Grafik 170">
                    <a:extLst>
                      <a:ext uri="{FF2B5EF4-FFF2-40B4-BE49-F238E27FC236}">
                        <a16:creationId xmlns:a16="http://schemas.microsoft.com/office/drawing/2014/main" id="{2CCB57B6-66D8-4812-B52C-F9664D31830F}"/>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8" name="Grafik 170">
                    <a:extLst>
                      <a:ext uri="{FF2B5EF4-FFF2-40B4-BE49-F238E27FC236}">
                        <a16:creationId xmlns:a16="http://schemas.microsoft.com/office/drawing/2014/main" id="{BC0A9EED-FB21-4DF9-A97A-5045AEBA42CE}"/>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9" name="Grafik 170">
                    <a:extLst>
                      <a:ext uri="{FF2B5EF4-FFF2-40B4-BE49-F238E27FC236}">
                        <a16:creationId xmlns:a16="http://schemas.microsoft.com/office/drawing/2014/main" id="{6BD66DF3-1DB4-4D4C-B26C-9A5351EEC246}"/>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0" name="Grafik 170">
                    <a:extLst>
                      <a:ext uri="{FF2B5EF4-FFF2-40B4-BE49-F238E27FC236}">
                        <a16:creationId xmlns:a16="http://schemas.microsoft.com/office/drawing/2014/main" id="{CB33B74F-8184-413C-B12A-D6F24FC4FB34}"/>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1" name="Grafik 170">
                    <a:extLst>
                      <a:ext uri="{FF2B5EF4-FFF2-40B4-BE49-F238E27FC236}">
                        <a16:creationId xmlns:a16="http://schemas.microsoft.com/office/drawing/2014/main" id="{4AE75C68-32AA-4B94-B931-EA4CCD61F544}"/>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2" name="Grafik 170">
                    <a:extLst>
                      <a:ext uri="{FF2B5EF4-FFF2-40B4-BE49-F238E27FC236}">
                        <a16:creationId xmlns:a16="http://schemas.microsoft.com/office/drawing/2014/main" id="{AC4980D4-2534-46E9-A9C4-CC59B239494F}"/>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3" name="Grafik 170">
                    <a:extLst>
                      <a:ext uri="{FF2B5EF4-FFF2-40B4-BE49-F238E27FC236}">
                        <a16:creationId xmlns:a16="http://schemas.microsoft.com/office/drawing/2014/main" id="{B7FCBEA1-AC47-480E-87EC-30AE8BA9F3E9}"/>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4" name="Grafik 170">
                    <a:extLst>
                      <a:ext uri="{FF2B5EF4-FFF2-40B4-BE49-F238E27FC236}">
                        <a16:creationId xmlns:a16="http://schemas.microsoft.com/office/drawing/2014/main" id="{7C70B084-0B4D-48E2-A9CA-BA18BE87C8D9}"/>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5" name="Grafik 170">
                    <a:extLst>
                      <a:ext uri="{FF2B5EF4-FFF2-40B4-BE49-F238E27FC236}">
                        <a16:creationId xmlns:a16="http://schemas.microsoft.com/office/drawing/2014/main" id="{498AC3A8-826B-4E0B-BB0F-8B29C100BC06}"/>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6" name="Grafik 170">
                    <a:extLst>
                      <a:ext uri="{FF2B5EF4-FFF2-40B4-BE49-F238E27FC236}">
                        <a16:creationId xmlns:a16="http://schemas.microsoft.com/office/drawing/2014/main" id="{23552C84-7F23-4D76-89E3-F9FA23872D7D}"/>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120" name="Freeform 13">
                <a:extLst>
                  <a:ext uri="{FF2B5EF4-FFF2-40B4-BE49-F238E27FC236}">
                    <a16:creationId xmlns:a16="http://schemas.microsoft.com/office/drawing/2014/main" id="{D3086CEC-BD40-43F4-8108-5AA8E1F79907}"/>
                  </a:ext>
                </a:extLst>
              </p:cNvPr>
              <p:cNvSpPr>
                <a:spLocks noChangeAspect="1" noEditPoints="1"/>
              </p:cNvSpPr>
              <p:nvPr/>
            </p:nvSpPr>
            <p:spPr bwMode="gray">
              <a:xfrm>
                <a:off x="8813030" y="4342361"/>
                <a:ext cx="222846" cy="132857"/>
              </a:xfrm>
              <a:custGeom>
                <a:avLst/>
                <a:gdLst>
                  <a:gd name="T0" fmla="*/ 3525 w 5344"/>
                  <a:gd name="T1" fmla="*/ 0 h 3640"/>
                  <a:gd name="T2" fmla="*/ 3261 w 5344"/>
                  <a:gd name="T3" fmla="*/ 264 h 3640"/>
                  <a:gd name="T4" fmla="*/ 4647 w 5344"/>
                  <a:gd name="T5" fmla="*/ 1660 h 3640"/>
                  <a:gd name="T6" fmla="*/ 4807 w 5344"/>
                  <a:gd name="T7" fmla="*/ 1820 h 3640"/>
                  <a:gd name="T8" fmla="*/ 4647 w 5344"/>
                  <a:gd name="T9" fmla="*/ 1980 h 3640"/>
                  <a:gd name="T10" fmla="*/ 3261 w 5344"/>
                  <a:gd name="T11" fmla="*/ 3375 h 3640"/>
                  <a:gd name="T12" fmla="*/ 3525 w 5344"/>
                  <a:gd name="T13" fmla="*/ 3640 h 3640"/>
                  <a:gd name="T14" fmla="*/ 5344 w 5344"/>
                  <a:gd name="T15" fmla="*/ 1820 h 3640"/>
                  <a:gd name="T16" fmla="*/ 3525 w 5344"/>
                  <a:gd name="T17" fmla="*/ 0 h 3640"/>
                  <a:gd name="T18" fmla="*/ 1819 w 5344"/>
                  <a:gd name="T19" fmla="*/ 3640 h 3640"/>
                  <a:gd name="T20" fmla="*/ 3637 w 5344"/>
                  <a:gd name="T21" fmla="*/ 1820 h 3640"/>
                  <a:gd name="T22" fmla="*/ 1819 w 5344"/>
                  <a:gd name="T23" fmla="*/ 0 h 3640"/>
                  <a:gd name="T24" fmla="*/ 0 w 5344"/>
                  <a:gd name="T25" fmla="*/ 1820 h 3640"/>
                  <a:gd name="T26" fmla="*/ 1819 w 5344"/>
                  <a:gd name="T27" fmla="*/ 3640 h 3640"/>
                  <a:gd name="T28" fmla="*/ 2668 w 5344"/>
                  <a:gd name="T29" fmla="*/ 0 h 3640"/>
                  <a:gd name="T30" fmla="*/ 2404 w 5344"/>
                  <a:gd name="T31" fmla="*/ 264 h 3640"/>
                  <a:gd name="T32" fmla="*/ 3798 w 5344"/>
                  <a:gd name="T33" fmla="*/ 1660 h 3640"/>
                  <a:gd name="T34" fmla="*/ 3958 w 5344"/>
                  <a:gd name="T35" fmla="*/ 1820 h 3640"/>
                  <a:gd name="T36" fmla="*/ 3798 w 5344"/>
                  <a:gd name="T37" fmla="*/ 1980 h 3640"/>
                  <a:gd name="T38" fmla="*/ 2404 w 5344"/>
                  <a:gd name="T39" fmla="*/ 3375 h 3640"/>
                  <a:gd name="T40" fmla="*/ 2668 w 5344"/>
                  <a:gd name="T41" fmla="*/ 3640 h 3640"/>
                  <a:gd name="T42" fmla="*/ 4487 w 5344"/>
                  <a:gd name="T43" fmla="*/ 1820 h 3640"/>
                  <a:gd name="T44" fmla="*/ 2668 w 5344"/>
                  <a:gd name="T45" fmla="*/ 0 h 3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44" h="3640">
                    <a:moveTo>
                      <a:pt x="3525" y="0"/>
                    </a:moveTo>
                    <a:lnTo>
                      <a:pt x="3261" y="264"/>
                    </a:lnTo>
                    <a:lnTo>
                      <a:pt x="4647" y="1660"/>
                    </a:lnTo>
                    <a:lnTo>
                      <a:pt x="4807" y="1820"/>
                    </a:lnTo>
                    <a:lnTo>
                      <a:pt x="4647" y="1980"/>
                    </a:lnTo>
                    <a:lnTo>
                      <a:pt x="3261" y="3375"/>
                    </a:lnTo>
                    <a:lnTo>
                      <a:pt x="3525" y="3640"/>
                    </a:lnTo>
                    <a:lnTo>
                      <a:pt x="5344" y="1820"/>
                    </a:lnTo>
                    <a:lnTo>
                      <a:pt x="3525" y="0"/>
                    </a:lnTo>
                    <a:close/>
                    <a:moveTo>
                      <a:pt x="1819" y="3640"/>
                    </a:moveTo>
                    <a:lnTo>
                      <a:pt x="3637" y="1820"/>
                    </a:lnTo>
                    <a:lnTo>
                      <a:pt x="1819" y="0"/>
                    </a:lnTo>
                    <a:lnTo>
                      <a:pt x="0" y="1820"/>
                    </a:lnTo>
                    <a:lnTo>
                      <a:pt x="1819" y="3640"/>
                    </a:lnTo>
                    <a:close/>
                    <a:moveTo>
                      <a:pt x="2668" y="0"/>
                    </a:moveTo>
                    <a:lnTo>
                      <a:pt x="2404" y="264"/>
                    </a:lnTo>
                    <a:lnTo>
                      <a:pt x="3798" y="1660"/>
                    </a:lnTo>
                    <a:lnTo>
                      <a:pt x="3958" y="1820"/>
                    </a:lnTo>
                    <a:lnTo>
                      <a:pt x="3798" y="1980"/>
                    </a:lnTo>
                    <a:lnTo>
                      <a:pt x="2404" y="3375"/>
                    </a:lnTo>
                    <a:lnTo>
                      <a:pt x="2668" y="3640"/>
                    </a:lnTo>
                    <a:lnTo>
                      <a:pt x="4487" y="1820"/>
                    </a:lnTo>
                    <a:lnTo>
                      <a:pt x="2668" y="0"/>
                    </a:lnTo>
                    <a:close/>
                  </a:path>
                </a:pathLst>
              </a:custGeom>
              <a:solidFill>
                <a:schemeClr val="accent1"/>
              </a:solidFill>
              <a:ln w="3175">
                <a:solidFill>
                  <a:schemeClr val="bg1"/>
                </a:solidFill>
              </a:ln>
            </p:spPr>
            <p:txBody>
              <a:bodyPr vert="horz" wrap="square" lIns="91296" tIns="45648" rIns="91296" bIns="45648" numCol="1" anchor="t" anchorCtr="0" compatLnSpc="1">
                <a:prstTxWarp prst="textNoShape">
                  <a:avLst/>
                </a:prstTxWarp>
              </a:bodyPr>
              <a:lstStyle/>
              <a:p>
                <a:pPr marL="0" marR="0" lvl="0" indent="0" algn="l" defTabSz="913029"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51" name="Gruppieren 150">
            <a:extLst>
              <a:ext uri="{FF2B5EF4-FFF2-40B4-BE49-F238E27FC236}">
                <a16:creationId xmlns:a16="http://schemas.microsoft.com/office/drawing/2014/main" id="{17337611-2E54-4C3A-9B83-C9FAB78E7D89}"/>
              </a:ext>
            </a:extLst>
          </p:cNvPr>
          <p:cNvGrpSpPr/>
          <p:nvPr/>
        </p:nvGrpSpPr>
        <p:grpSpPr bwMode="gray">
          <a:xfrm>
            <a:off x="9675346" y="3967180"/>
            <a:ext cx="346868" cy="249410"/>
            <a:chOff x="8200915" y="3876916"/>
            <a:chExt cx="346868" cy="245331"/>
          </a:xfrm>
        </p:grpSpPr>
        <p:sp>
          <p:nvSpPr>
            <p:cNvPr id="152" name="Rechteck 151">
              <a:extLst>
                <a:ext uri="{FF2B5EF4-FFF2-40B4-BE49-F238E27FC236}">
                  <a16:creationId xmlns:a16="http://schemas.microsoft.com/office/drawing/2014/main" id="{266475CB-548A-4F3F-9AAD-537F06604809}"/>
                </a:ext>
              </a:extLst>
            </p:cNvPr>
            <p:cNvSpPr/>
            <p:nvPr/>
          </p:nvSpPr>
          <p:spPr bwMode="gray">
            <a:xfrm>
              <a:off x="8200915" y="3876916"/>
              <a:ext cx="346868" cy="245331"/>
            </a:xfrm>
            <a:prstGeom prst="rect">
              <a:avLst/>
            </a:prstGeom>
            <a:solidFill>
              <a:srgbClr val="00FFB9"/>
            </a:solidFill>
            <a:ln w="952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53" name="Gruppieren 152">
              <a:extLst>
                <a:ext uri="{FF2B5EF4-FFF2-40B4-BE49-F238E27FC236}">
                  <a16:creationId xmlns:a16="http://schemas.microsoft.com/office/drawing/2014/main" id="{9D645368-A13E-414A-A4F6-912A78B3CF35}"/>
                </a:ext>
              </a:extLst>
            </p:cNvPr>
            <p:cNvGrpSpPr/>
            <p:nvPr/>
          </p:nvGrpSpPr>
          <p:grpSpPr bwMode="gray">
            <a:xfrm>
              <a:off x="8253283" y="3923507"/>
              <a:ext cx="278975" cy="152147"/>
              <a:chOff x="8508247" y="4342361"/>
              <a:chExt cx="527629" cy="287757"/>
            </a:xfrm>
          </p:grpSpPr>
          <p:grpSp>
            <p:nvGrpSpPr>
              <p:cNvPr id="154" name="Gruppieren 153">
                <a:extLst>
                  <a:ext uri="{FF2B5EF4-FFF2-40B4-BE49-F238E27FC236}">
                    <a16:creationId xmlns:a16="http://schemas.microsoft.com/office/drawing/2014/main" id="{D03C827D-83EE-456B-8F38-6A90A07E5229}"/>
                  </a:ext>
                </a:extLst>
              </p:cNvPr>
              <p:cNvGrpSpPr/>
              <p:nvPr/>
            </p:nvGrpSpPr>
            <p:grpSpPr bwMode="gray">
              <a:xfrm>
                <a:off x="8508247" y="4404665"/>
                <a:ext cx="373088" cy="225453"/>
                <a:chOff x="9367583" y="4922970"/>
                <a:chExt cx="373088" cy="225453"/>
              </a:xfrm>
            </p:grpSpPr>
            <p:grpSp>
              <p:nvGrpSpPr>
                <p:cNvPr id="156" name="Gruppieren 155">
                  <a:extLst>
                    <a:ext uri="{FF2B5EF4-FFF2-40B4-BE49-F238E27FC236}">
                      <a16:creationId xmlns:a16="http://schemas.microsoft.com/office/drawing/2014/main" id="{2A479393-A523-40FA-9504-BEB0FCE4AF92}"/>
                    </a:ext>
                  </a:extLst>
                </p:cNvPr>
                <p:cNvGrpSpPr/>
                <p:nvPr/>
              </p:nvGrpSpPr>
              <p:grpSpPr bwMode="gray">
                <a:xfrm>
                  <a:off x="9367583" y="4922970"/>
                  <a:ext cx="182149" cy="225453"/>
                  <a:chOff x="9356487" y="4922970"/>
                  <a:chExt cx="193245" cy="225453"/>
                </a:xfrm>
              </p:grpSpPr>
              <p:sp>
                <p:nvSpPr>
                  <p:cNvPr id="172" name="Grafik 170">
                    <a:extLst>
                      <a:ext uri="{FF2B5EF4-FFF2-40B4-BE49-F238E27FC236}">
                        <a16:creationId xmlns:a16="http://schemas.microsoft.com/office/drawing/2014/main" id="{8E2C2779-E564-4AB3-9A03-F2CD13AE63C7}"/>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3" name="Grafik 170">
                    <a:extLst>
                      <a:ext uri="{FF2B5EF4-FFF2-40B4-BE49-F238E27FC236}">
                        <a16:creationId xmlns:a16="http://schemas.microsoft.com/office/drawing/2014/main" id="{6B580B49-1636-4D29-9FE4-B8E1282CCBF0}"/>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4" name="Grafik 170">
                    <a:extLst>
                      <a:ext uri="{FF2B5EF4-FFF2-40B4-BE49-F238E27FC236}">
                        <a16:creationId xmlns:a16="http://schemas.microsoft.com/office/drawing/2014/main" id="{B190CD42-9C0B-4835-A149-358949E9654D}"/>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5" name="Grafik 170">
                    <a:extLst>
                      <a:ext uri="{FF2B5EF4-FFF2-40B4-BE49-F238E27FC236}">
                        <a16:creationId xmlns:a16="http://schemas.microsoft.com/office/drawing/2014/main" id="{0FEE4719-7536-4F60-B5B2-9C949A91CA0F}"/>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6" name="Grafik 170">
                    <a:extLst>
                      <a:ext uri="{FF2B5EF4-FFF2-40B4-BE49-F238E27FC236}">
                        <a16:creationId xmlns:a16="http://schemas.microsoft.com/office/drawing/2014/main" id="{859D9ABD-1766-4FC3-8169-5A2FE6311429}"/>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7" name="Grafik 170">
                    <a:extLst>
                      <a:ext uri="{FF2B5EF4-FFF2-40B4-BE49-F238E27FC236}">
                        <a16:creationId xmlns:a16="http://schemas.microsoft.com/office/drawing/2014/main" id="{BD180806-E6B5-4087-AA05-8091820C36A5}"/>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8" name="Grafik 170">
                    <a:extLst>
                      <a:ext uri="{FF2B5EF4-FFF2-40B4-BE49-F238E27FC236}">
                        <a16:creationId xmlns:a16="http://schemas.microsoft.com/office/drawing/2014/main" id="{BC979BAB-D4F6-4AE7-9222-8D2B1880D6F8}"/>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9" name="Grafik 170">
                    <a:extLst>
                      <a:ext uri="{FF2B5EF4-FFF2-40B4-BE49-F238E27FC236}">
                        <a16:creationId xmlns:a16="http://schemas.microsoft.com/office/drawing/2014/main" id="{CA0FCEFD-7FB7-4BF0-A0FC-88C58259212A}"/>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0" name="Grafik 170">
                    <a:extLst>
                      <a:ext uri="{FF2B5EF4-FFF2-40B4-BE49-F238E27FC236}">
                        <a16:creationId xmlns:a16="http://schemas.microsoft.com/office/drawing/2014/main" id="{7DE931D6-9D69-43A8-A4CE-757EF16B4483}"/>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1" name="Grafik 170">
                    <a:extLst>
                      <a:ext uri="{FF2B5EF4-FFF2-40B4-BE49-F238E27FC236}">
                        <a16:creationId xmlns:a16="http://schemas.microsoft.com/office/drawing/2014/main" id="{7C5B8F66-3DBC-4CF9-9BAB-0B5477D4FF98}"/>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2" name="Grafik 170">
                    <a:extLst>
                      <a:ext uri="{FF2B5EF4-FFF2-40B4-BE49-F238E27FC236}">
                        <a16:creationId xmlns:a16="http://schemas.microsoft.com/office/drawing/2014/main" id="{8337C7B1-CCFC-465F-9FC9-F181573A63D2}"/>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3" name="Grafik 170">
                    <a:extLst>
                      <a:ext uri="{FF2B5EF4-FFF2-40B4-BE49-F238E27FC236}">
                        <a16:creationId xmlns:a16="http://schemas.microsoft.com/office/drawing/2014/main" id="{79123DC8-2429-450C-B5F8-52E3395ABE30}"/>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4" name="Grafik 170">
                    <a:extLst>
                      <a:ext uri="{FF2B5EF4-FFF2-40B4-BE49-F238E27FC236}">
                        <a16:creationId xmlns:a16="http://schemas.microsoft.com/office/drawing/2014/main" id="{0A14C43E-4D7C-4DA9-8F94-89619D49709B}"/>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5" name="Grafik 170">
                    <a:extLst>
                      <a:ext uri="{FF2B5EF4-FFF2-40B4-BE49-F238E27FC236}">
                        <a16:creationId xmlns:a16="http://schemas.microsoft.com/office/drawing/2014/main" id="{1B990DE6-993E-4238-A271-3DAD3046C01F}"/>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57" name="Gruppieren 156">
                  <a:extLst>
                    <a:ext uri="{FF2B5EF4-FFF2-40B4-BE49-F238E27FC236}">
                      <a16:creationId xmlns:a16="http://schemas.microsoft.com/office/drawing/2014/main" id="{DAB5AE32-C6A9-426C-903F-52D581DD097B}"/>
                    </a:ext>
                  </a:extLst>
                </p:cNvPr>
                <p:cNvGrpSpPr/>
                <p:nvPr/>
              </p:nvGrpSpPr>
              <p:grpSpPr bwMode="gray">
                <a:xfrm>
                  <a:off x="9558522" y="4922970"/>
                  <a:ext cx="182149" cy="225453"/>
                  <a:chOff x="9356487" y="4922970"/>
                  <a:chExt cx="193245" cy="225453"/>
                </a:xfrm>
              </p:grpSpPr>
              <p:sp>
                <p:nvSpPr>
                  <p:cNvPr id="158" name="Grafik 170">
                    <a:extLst>
                      <a:ext uri="{FF2B5EF4-FFF2-40B4-BE49-F238E27FC236}">
                        <a16:creationId xmlns:a16="http://schemas.microsoft.com/office/drawing/2014/main" id="{171593D4-F968-4EC8-B24A-EBF78BF6561C}"/>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9" name="Grafik 170">
                    <a:extLst>
                      <a:ext uri="{FF2B5EF4-FFF2-40B4-BE49-F238E27FC236}">
                        <a16:creationId xmlns:a16="http://schemas.microsoft.com/office/drawing/2014/main" id="{A988920C-5FFF-4CC4-B52C-0401B0EDB53A}"/>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0" name="Grafik 170">
                    <a:extLst>
                      <a:ext uri="{FF2B5EF4-FFF2-40B4-BE49-F238E27FC236}">
                        <a16:creationId xmlns:a16="http://schemas.microsoft.com/office/drawing/2014/main" id="{BE66DDF3-5F2B-4638-82EB-043065BD3ACA}"/>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1" name="Grafik 170">
                    <a:extLst>
                      <a:ext uri="{FF2B5EF4-FFF2-40B4-BE49-F238E27FC236}">
                        <a16:creationId xmlns:a16="http://schemas.microsoft.com/office/drawing/2014/main" id="{D1011DEB-0A04-459A-9DF1-30E1F3A02432}"/>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2" name="Grafik 170">
                    <a:extLst>
                      <a:ext uri="{FF2B5EF4-FFF2-40B4-BE49-F238E27FC236}">
                        <a16:creationId xmlns:a16="http://schemas.microsoft.com/office/drawing/2014/main" id="{54556DEA-4A7B-4E5F-AF7C-BFA49965A7A4}"/>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3" name="Grafik 170">
                    <a:extLst>
                      <a:ext uri="{FF2B5EF4-FFF2-40B4-BE49-F238E27FC236}">
                        <a16:creationId xmlns:a16="http://schemas.microsoft.com/office/drawing/2014/main" id="{89336A28-9860-41F2-9B73-1921F2EE2C21}"/>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4" name="Grafik 170">
                    <a:extLst>
                      <a:ext uri="{FF2B5EF4-FFF2-40B4-BE49-F238E27FC236}">
                        <a16:creationId xmlns:a16="http://schemas.microsoft.com/office/drawing/2014/main" id="{16E78946-6127-4103-855E-A197DB52BE42}"/>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5" name="Grafik 170">
                    <a:extLst>
                      <a:ext uri="{FF2B5EF4-FFF2-40B4-BE49-F238E27FC236}">
                        <a16:creationId xmlns:a16="http://schemas.microsoft.com/office/drawing/2014/main" id="{8EC9AA37-422A-44AF-9052-551BEF5B0976}"/>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6" name="Grafik 170">
                    <a:extLst>
                      <a:ext uri="{FF2B5EF4-FFF2-40B4-BE49-F238E27FC236}">
                        <a16:creationId xmlns:a16="http://schemas.microsoft.com/office/drawing/2014/main" id="{5062E152-4AC2-43F2-80FC-85527532895D}"/>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7" name="Grafik 170">
                    <a:extLst>
                      <a:ext uri="{FF2B5EF4-FFF2-40B4-BE49-F238E27FC236}">
                        <a16:creationId xmlns:a16="http://schemas.microsoft.com/office/drawing/2014/main" id="{F36AFD98-8C2F-4E64-85C9-2D7F4F90D171}"/>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8" name="Grafik 170">
                    <a:extLst>
                      <a:ext uri="{FF2B5EF4-FFF2-40B4-BE49-F238E27FC236}">
                        <a16:creationId xmlns:a16="http://schemas.microsoft.com/office/drawing/2014/main" id="{B2FF7A5F-7CAB-468C-B72B-53E47C165890}"/>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9" name="Grafik 170">
                    <a:extLst>
                      <a:ext uri="{FF2B5EF4-FFF2-40B4-BE49-F238E27FC236}">
                        <a16:creationId xmlns:a16="http://schemas.microsoft.com/office/drawing/2014/main" id="{5B95D54B-E759-4298-909E-4A9D53ABE040}"/>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0" name="Grafik 170">
                    <a:extLst>
                      <a:ext uri="{FF2B5EF4-FFF2-40B4-BE49-F238E27FC236}">
                        <a16:creationId xmlns:a16="http://schemas.microsoft.com/office/drawing/2014/main" id="{4F7F2F4D-0071-4BE1-8E29-C2D4DB94309E}"/>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1" name="Grafik 170">
                    <a:extLst>
                      <a:ext uri="{FF2B5EF4-FFF2-40B4-BE49-F238E27FC236}">
                        <a16:creationId xmlns:a16="http://schemas.microsoft.com/office/drawing/2014/main" id="{1930217B-9362-4CD1-96F7-7BAA4C5B9EE9}"/>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155" name="Freeform 13">
                <a:extLst>
                  <a:ext uri="{FF2B5EF4-FFF2-40B4-BE49-F238E27FC236}">
                    <a16:creationId xmlns:a16="http://schemas.microsoft.com/office/drawing/2014/main" id="{2B8B574E-DF7D-4766-BB13-48125A5DCA47}"/>
                  </a:ext>
                </a:extLst>
              </p:cNvPr>
              <p:cNvSpPr>
                <a:spLocks noChangeAspect="1" noEditPoints="1"/>
              </p:cNvSpPr>
              <p:nvPr/>
            </p:nvSpPr>
            <p:spPr bwMode="gray">
              <a:xfrm>
                <a:off x="8813030" y="4342361"/>
                <a:ext cx="222846" cy="132857"/>
              </a:xfrm>
              <a:custGeom>
                <a:avLst/>
                <a:gdLst>
                  <a:gd name="T0" fmla="*/ 3525 w 5344"/>
                  <a:gd name="T1" fmla="*/ 0 h 3640"/>
                  <a:gd name="T2" fmla="*/ 3261 w 5344"/>
                  <a:gd name="T3" fmla="*/ 264 h 3640"/>
                  <a:gd name="T4" fmla="*/ 4647 w 5344"/>
                  <a:gd name="T5" fmla="*/ 1660 h 3640"/>
                  <a:gd name="T6" fmla="*/ 4807 w 5344"/>
                  <a:gd name="T7" fmla="*/ 1820 h 3640"/>
                  <a:gd name="T8" fmla="*/ 4647 w 5344"/>
                  <a:gd name="T9" fmla="*/ 1980 h 3640"/>
                  <a:gd name="T10" fmla="*/ 3261 w 5344"/>
                  <a:gd name="T11" fmla="*/ 3375 h 3640"/>
                  <a:gd name="T12" fmla="*/ 3525 w 5344"/>
                  <a:gd name="T13" fmla="*/ 3640 h 3640"/>
                  <a:gd name="T14" fmla="*/ 5344 w 5344"/>
                  <a:gd name="T15" fmla="*/ 1820 h 3640"/>
                  <a:gd name="T16" fmla="*/ 3525 w 5344"/>
                  <a:gd name="T17" fmla="*/ 0 h 3640"/>
                  <a:gd name="T18" fmla="*/ 1819 w 5344"/>
                  <a:gd name="T19" fmla="*/ 3640 h 3640"/>
                  <a:gd name="T20" fmla="*/ 3637 w 5344"/>
                  <a:gd name="T21" fmla="*/ 1820 h 3640"/>
                  <a:gd name="T22" fmla="*/ 1819 w 5344"/>
                  <a:gd name="T23" fmla="*/ 0 h 3640"/>
                  <a:gd name="T24" fmla="*/ 0 w 5344"/>
                  <a:gd name="T25" fmla="*/ 1820 h 3640"/>
                  <a:gd name="T26" fmla="*/ 1819 w 5344"/>
                  <a:gd name="T27" fmla="*/ 3640 h 3640"/>
                  <a:gd name="T28" fmla="*/ 2668 w 5344"/>
                  <a:gd name="T29" fmla="*/ 0 h 3640"/>
                  <a:gd name="T30" fmla="*/ 2404 w 5344"/>
                  <a:gd name="T31" fmla="*/ 264 h 3640"/>
                  <a:gd name="T32" fmla="*/ 3798 w 5344"/>
                  <a:gd name="T33" fmla="*/ 1660 h 3640"/>
                  <a:gd name="T34" fmla="*/ 3958 w 5344"/>
                  <a:gd name="T35" fmla="*/ 1820 h 3640"/>
                  <a:gd name="T36" fmla="*/ 3798 w 5344"/>
                  <a:gd name="T37" fmla="*/ 1980 h 3640"/>
                  <a:gd name="T38" fmla="*/ 2404 w 5344"/>
                  <a:gd name="T39" fmla="*/ 3375 h 3640"/>
                  <a:gd name="T40" fmla="*/ 2668 w 5344"/>
                  <a:gd name="T41" fmla="*/ 3640 h 3640"/>
                  <a:gd name="T42" fmla="*/ 4487 w 5344"/>
                  <a:gd name="T43" fmla="*/ 1820 h 3640"/>
                  <a:gd name="T44" fmla="*/ 2668 w 5344"/>
                  <a:gd name="T45" fmla="*/ 0 h 3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44" h="3640">
                    <a:moveTo>
                      <a:pt x="3525" y="0"/>
                    </a:moveTo>
                    <a:lnTo>
                      <a:pt x="3261" y="264"/>
                    </a:lnTo>
                    <a:lnTo>
                      <a:pt x="4647" y="1660"/>
                    </a:lnTo>
                    <a:lnTo>
                      <a:pt x="4807" y="1820"/>
                    </a:lnTo>
                    <a:lnTo>
                      <a:pt x="4647" y="1980"/>
                    </a:lnTo>
                    <a:lnTo>
                      <a:pt x="3261" y="3375"/>
                    </a:lnTo>
                    <a:lnTo>
                      <a:pt x="3525" y="3640"/>
                    </a:lnTo>
                    <a:lnTo>
                      <a:pt x="5344" y="1820"/>
                    </a:lnTo>
                    <a:lnTo>
                      <a:pt x="3525" y="0"/>
                    </a:lnTo>
                    <a:close/>
                    <a:moveTo>
                      <a:pt x="1819" y="3640"/>
                    </a:moveTo>
                    <a:lnTo>
                      <a:pt x="3637" y="1820"/>
                    </a:lnTo>
                    <a:lnTo>
                      <a:pt x="1819" y="0"/>
                    </a:lnTo>
                    <a:lnTo>
                      <a:pt x="0" y="1820"/>
                    </a:lnTo>
                    <a:lnTo>
                      <a:pt x="1819" y="3640"/>
                    </a:lnTo>
                    <a:close/>
                    <a:moveTo>
                      <a:pt x="2668" y="0"/>
                    </a:moveTo>
                    <a:lnTo>
                      <a:pt x="2404" y="264"/>
                    </a:lnTo>
                    <a:lnTo>
                      <a:pt x="3798" y="1660"/>
                    </a:lnTo>
                    <a:lnTo>
                      <a:pt x="3958" y="1820"/>
                    </a:lnTo>
                    <a:lnTo>
                      <a:pt x="3798" y="1980"/>
                    </a:lnTo>
                    <a:lnTo>
                      <a:pt x="2404" y="3375"/>
                    </a:lnTo>
                    <a:lnTo>
                      <a:pt x="2668" y="3640"/>
                    </a:lnTo>
                    <a:lnTo>
                      <a:pt x="4487" y="1820"/>
                    </a:lnTo>
                    <a:lnTo>
                      <a:pt x="2668" y="0"/>
                    </a:lnTo>
                    <a:close/>
                  </a:path>
                </a:pathLst>
              </a:custGeom>
              <a:solidFill>
                <a:schemeClr val="accent1"/>
              </a:solidFill>
              <a:ln w="3175">
                <a:solidFill>
                  <a:schemeClr val="bg1"/>
                </a:solidFill>
              </a:ln>
            </p:spPr>
            <p:txBody>
              <a:bodyPr vert="horz" wrap="square" lIns="91296" tIns="45648" rIns="91296" bIns="45648" numCol="1" anchor="t" anchorCtr="0" compatLnSpc="1">
                <a:prstTxWarp prst="textNoShape">
                  <a:avLst/>
                </a:prstTxWarp>
              </a:bodyPr>
              <a:lstStyle/>
              <a:p>
                <a:pPr marL="0" marR="0" lvl="0" indent="0" algn="l" defTabSz="913029"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86" name="Gruppieren 185">
            <a:extLst>
              <a:ext uri="{FF2B5EF4-FFF2-40B4-BE49-F238E27FC236}">
                <a16:creationId xmlns:a16="http://schemas.microsoft.com/office/drawing/2014/main" id="{1A405792-1BF5-4980-8EF1-962BE53AEBD2}"/>
              </a:ext>
            </a:extLst>
          </p:cNvPr>
          <p:cNvGrpSpPr/>
          <p:nvPr/>
        </p:nvGrpSpPr>
        <p:grpSpPr bwMode="gray">
          <a:xfrm>
            <a:off x="10114874" y="3967180"/>
            <a:ext cx="346868" cy="249410"/>
            <a:chOff x="8200915" y="3876916"/>
            <a:chExt cx="346868" cy="245331"/>
          </a:xfrm>
        </p:grpSpPr>
        <p:sp>
          <p:nvSpPr>
            <p:cNvPr id="187" name="Rechteck 186">
              <a:extLst>
                <a:ext uri="{FF2B5EF4-FFF2-40B4-BE49-F238E27FC236}">
                  <a16:creationId xmlns:a16="http://schemas.microsoft.com/office/drawing/2014/main" id="{689DDAD0-6BBC-4CD2-96F3-33E75D464074}"/>
                </a:ext>
              </a:extLst>
            </p:cNvPr>
            <p:cNvSpPr/>
            <p:nvPr/>
          </p:nvSpPr>
          <p:spPr bwMode="gray">
            <a:xfrm>
              <a:off x="8200915" y="3876916"/>
              <a:ext cx="346868" cy="245331"/>
            </a:xfrm>
            <a:prstGeom prst="rect">
              <a:avLst/>
            </a:prstGeom>
            <a:solidFill>
              <a:srgbClr val="009999"/>
            </a:solidFill>
            <a:ln w="952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88" name="Gruppieren 187">
              <a:extLst>
                <a:ext uri="{FF2B5EF4-FFF2-40B4-BE49-F238E27FC236}">
                  <a16:creationId xmlns:a16="http://schemas.microsoft.com/office/drawing/2014/main" id="{EE2BC3B5-117E-4048-84B9-1C1CA284EDDE}"/>
                </a:ext>
              </a:extLst>
            </p:cNvPr>
            <p:cNvGrpSpPr/>
            <p:nvPr/>
          </p:nvGrpSpPr>
          <p:grpSpPr bwMode="gray">
            <a:xfrm>
              <a:off x="8253283" y="3923507"/>
              <a:ext cx="278975" cy="152147"/>
              <a:chOff x="8508247" y="4342361"/>
              <a:chExt cx="527629" cy="287757"/>
            </a:xfrm>
          </p:grpSpPr>
          <p:grpSp>
            <p:nvGrpSpPr>
              <p:cNvPr id="189" name="Gruppieren 188">
                <a:extLst>
                  <a:ext uri="{FF2B5EF4-FFF2-40B4-BE49-F238E27FC236}">
                    <a16:creationId xmlns:a16="http://schemas.microsoft.com/office/drawing/2014/main" id="{59B0399A-B2E9-40EE-A2D7-B40BA6DC5659}"/>
                  </a:ext>
                </a:extLst>
              </p:cNvPr>
              <p:cNvGrpSpPr/>
              <p:nvPr/>
            </p:nvGrpSpPr>
            <p:grpSpPr bwMode="gray">
              <a:xfrm>
                <a:off x="8508247" y="4404665"/>
                <a:ext cx="373088" cy="225453"/>
                <a:chOff x="9367583" y="4922970"/>
                <a:chExt cx="373088" cy="225453"/>
              </a:xfrm>
            </p:grpSpPr>
            <p:grpSp>
              <p:nvGrpSpPr>
                <p:cNvPr id="191" name="Gruppieren 190">
                  <a:extLst>
                    <a:ext uri="{FF2B5EF4-FFF2-40B4-BE49-F238E27FC236}">
                      <a16:creationId xmlns:a16="http://schemas.microsoft.com/office/drawing/2014/main" id="{00A5852F-739C-40B4-9B69-AD8FE637DCA5}"/>
                    </a:ext>
                  </a:extLst>
                </p:cNvPr>
                <p:cNvGrpSpPr/>
                <p:nvPr/>
              </p:nvGrpSpPr>
              <p:grpSpPr bwMode="gray">
                <a:xfrm>
                  <a:off x="9367583" y="4922970"/>
                  <a:ext cx="182149" cy="225453"/>
                  <a:chOff x="9356487" y="4922970"/>
                  <a:chExt cx="193245" cy="225453"/>
                </a:xfrm>
              </p:grpSpPr>
              <p:sp>
                <p:nvSpPr>
                  <p:cNvPr id="207" name="Grafik 170">
                    <a:extLst>
                      <a:ext uri="{FF2B5EF4-FFF2-40B4-BE49-F238E27FC236}">
                        <a16:creationId xmlns:a16="http://schemas.microsoft.com/office/drawing/2014/main" id="{8332B5AE-1789-4DE3-BD5C-25E0CAD33F49}"/>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8" name="Grafik 170">
                    <a:extLst>
                      <a:ext uri="{FF2B5EF4-FFF2-40B4-BE49-F238E27FC236}">
                        <a16:creationId xmlns:a16="http://schemas.microsoft.com/office/drawing/2014/main" id="{4D08623E-4DE1-48EA-B6E3-0E5C1878A46C}"/>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9" name="Grafik 170">
                    <a:extLst>
                      <a:ext uri="{FF2B5EF4-FFF2-40B4-BE49-F238E27FC236}">
                        <a16:creationId xmlns:a16="http://schemas.microsoft.com/office/drawing/2014/main" id="{B27AC7E6-D074-4C4F-9868-BE71F0D5EEA1}"/>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0" name="Grafik 170">
                    <a:extLst>
                      <a:ext uri="{FF2B5EF4-FFF2-40B4-BE49-F238E27FC236}">
                        <a16:creationId xmlns:a16="http://schemas.microsoft.com/office/drawing/2014/main" id="{E4648408-11F3-4BA1-A440-7DAF73118C2E}"/>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1" name="Grafik 170">
                    <a:extLst>
                      <a:ext uri="{FF2B5EF4-FFF2-40B4-BE49-F238E27FC236}">
                        <a16:creationId xmlns:a16="http://schemas.microsoft.com/office/drawing/2014/main" id="{7FB842BD-2BA8-4B57-B0B8-DA39B4B0048A}"/>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2" name="Grafik 170">
                    <a:extLst>
                      <a:ext uri="{FF2B5EF4-FFF2-40B4-BE49-F238E27FC236}">
                        <a16:creationId xmlns:a16="http://schemas.microsoft.com/office/drawing/2014/main" id="{0370D2A6-57CA-4135-B5D6-C734E55E3EF9}"/>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3" name="Grafik 170">
                    <a:extLst>
                      <a:ext uri="{FF2B5EF4-FFF2-40B4-BE49-F238E27FC236}">
                        <a16:creationId xmlns:a16="http://schemas.microsoft.com/office/drawing/2014/main" id="{9F57CA02-A9B8-492C-A5DE-5446949CF689}"/>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4" name="Grafik 170">
                    <a:extLst>
                      <a:ext uri="{FF2B5EF4-FFF2-40B4-BE49-F238E27FC236}">
                        <a16:creationId xmlns:a16="http://schemas.microsoft.com/office/drawing/2014/main" id="{D81EFD81-B234-49A4-8E7B-F8314A2B1660}"/>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5" name="Grafik 170">
                    <a:extLst>
                      <a:ext uri="{FF2B5EF4-FFF2-40B4-BE49-F238E27FC236}">
                        <a16:creationId xmlns:a16="http://schemas.microsoft.com/office/drawing/2014/main" id="{0B38F45A-03B5-469A-92B7-5E3378A37D08}"/>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6" name="Grafik 170">
                    <a:extLst>
                      <a:ext uri="{FF2B5EF4-FFF2-40B4-BE49-F238E27FC236}">
                        <a16:creationId xmlns:a16="http://schemas.microsoft.com/office/drawing/2014/main" id="{DB683D2A-249A-4698-9B26-C657801781F3}"/>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7" name="Grafik 170">
                    <a:extLst>
                      <a:ext uri="{FF2B5EF4-FFF2-40B4-BE49-F238E27FC236}">
                        <a16:creationId xmlns:a16="http://schemas.microsoft.com/office/drawing/2014/main" id="{D0E58CF0-1320-4E70-A5E5-0298B695612F}"/>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8" name="Grafik 170">
                    <a:extLst>
                      <a:ext uri="{FF2B5EF4-FFF2-40B4-BE49-F238E27FC236}">
                        <a16:creationId xmlns:a16="http://schemas.microsoft.com/office/drawing/2014/main" id="{98AA9F1A-6283-479B-B1B8-76584B50BB82}"/>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9" name="Grafik 170">
                    <a:extLst>
                      <a:ext uri="{FF2B5EF4-FFF2-40B4-BE49-F238E27FC236}">
                        <a16:creationId xmlns:a16="http://schemas.microsoft.com/office/drawing/2014/main" id="{30773B40-41FA-4213-B233-7142385AB939}"/>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0" name="Grafik 170">
                    <a:extLst>
                      <a:ext uri="{FF2B5EF4-FFF2-40B4-BE49-F238E27FC236}">
                        <a16:creationId xmlns:a16="http://schemas.microsoft.com/office/drawing/2014/main" id="{2E98D9C6-6683-4922-865A-1B674ECCA4CD}"/>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92" name="Gruppieren 191">
                  <a:extLst>
                    <a:ext uri="{FF2B5EF4-FFF2-40B4-BE49-F238E27FC236}">
                      <a16:creationId xmlns:a16="http://schemas.microsoft.com/office/drawing/2014/main" id="{A2695303-8BA0-43B6-9A0A-627FC85FF4AB}"/>
                    </a:ext>
                  </a:extLst>
                </p:cNvPr>
                <p:cNvGrpSpPr/>
                <p:nvPr/>
              </p:nvGrpSpPr>
              <p:grpSpPr bwMode="gray">
                <a:xfrm>
                  <a:off x="9558522" y="4922970"/>
                  <a:ext cx="182149" cy="225453"/>
                  <a:chOff x="9356487" y="4922970"/>
                  <a:chExt cx="193245" cy="225453"/>
                </a:xfrm>
              </p:grpSpPr>
              <p:sp>
                <p:nvSpPr>
                  <p:cNvPr id="193" name="Grafik 170">
                    <a:extLst>
                      <a:ext uri="{FF2B5EF4-FFF2-40B4-BE49-F238E27FC236}">
                        <a16:creationId xmlns:a16="http://schemas.microsoft.com/office/drawing/2014/main" id="{D99CDD3B-42A2-4D62-82E2-A6E7459C582F}"/>
                      </a:ext>
                    </a:extLst>
                  </p:cNvPr>
                  <p:cNvSpPr/>
                  <p:nvPr/>
                </p:nvSpPr>
                <p:spPr bwMode="gray">
                  <a:xfrm>
                    <a:off x="9489343"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4" name="Grafik 170">
                    <a:extLst>
                      <a:ext uri="{FF2B5EF4-FFF2-40B4-BE49-F238E27FC236}">
                        <a16:creationId xmlns:a16="http://schemas.microsoft.com/office/drawing/2014/main" id="{FDD593C2-92E2-4116-8A0F-BAB3F9E7DB7C}"/>
                      </a:ext>
                    </a:extLst>
                  </p:cNvPr>
                  <p:cNvSpPr/>
                  <p:nvPr/>
                </p:nvSpPr>
                <p:spPr bwMode="gray">
                  <a:xfrm>
                    <a:off x="9525577"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5" name="Grafik 170">
                    <a:extLst>
                      <a:ext uri="{FF2B5EF4-FFF2-40B4-BE49-F238E27FC236}">
                        <a16:creationId xmlns:a16="http://schemas.microsoft.com/office/drawing/2014/main" id="{64E610CC-09C5-400A-A304-F237AE1CCE74}"/>
                      </a:ext>
                    </a:extLst>
                  </p:cNvPr>
                  <p:cNvSpPr/>
                  <p:nvPr/>
                </p:nvSpPr>
                <p:spPr bwMode="gray">
                  <a:xfrm>
                    <a:off x="9489343"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6" name="Grafik 170">
                    <a:extLst>
                      <a:ext uri="{FF2B5EF4-FFF2-40B4-BE49-F238E27FC236}">
                        <a16:creationId xmlns:a16="http://schemas.microsoft.com/office/drawing/2014/main" id="{31F010E5-C04B-46F9-AD19-3A0987457342}"/>
                      </a:ext>
                    </a:extLst>
                  </p:cNvPr>
                  <p:cNvSpPr/>
                  <p:nvPr/>
                </p:nvSpPr>
                <p:spPr bwMode="gray">
                  <a:xfrm>
                    <a:off x="9453110"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7" name="Grafik 170">
                    <a:extLst>
                      <a:ext uri="{FF2B5EF4-FFF2-40B4-BE49-F238E27FC236}">
                        <a16:creationId xmlns:a16="http://schemas.microsoft.com/office/drawing/2014/main" id="{F9F9A1D3-07E2-4888-9ABF-A8C5417E26FD}"/>
                      </a:ext>
                    </a:extLst>
                  </p:cNvPr>
                  <p:cNvSpPr/>
                  <p:nvPr/>
                </p:nvSpPr>
                <p:spPr bwMode="gray">
                  <a:xfrm>
                    <a:off x="9525577" y="4922970"/>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8" name="Grafik 170">
                    <a:extLst>
                      <a:ext uri="{FF2B5EF4-FFF2-40B4-BE49-F238E27FC236}">
                        <a16:creationId xmlns:a16="http://schemas.microsoft.com/office/drawing/2014/main" id="{DABCDB98-C782-44D8-B816-26E48A8FD5AB}"/>
                      </a:ext>
                    </a:extLst>
                  </p:cNvPr>
                  <p:cNvSpPr/>
                  <p:nvPr/>
                </p:nvSpPr>
                <p:spPr bwMode="gray">
                  <a:xfrm>
                    <a:off x="9453110" y="4959204"/>
                    <a:ext cx="24155" cy="48311"/>
                  </a:xfrm>
                  <a:custGeom>
                    <a:avLst/>
                    <a:gdLst>
                      <a:gd name="connsiteX0" fmla="*/ 0 w 24155"/>
                      <a:gd name="connsiteY0" fmla="*/ 0 h 48311"/>
                      <a:gd name="connsiteX1" fmla="*/ 24156 w 24155"/>
                      <a:gd name="connsiteY1" fmla="*/ 0 h 48311"/>
                      <a:gd name="connsiteX2" fmla="*/ 24156 w 24155"/>
                      <a:gd name="connsiteY2" fmla="*/ 48312 h 48311"/>
                      <a:gd name="connsiteX3" fmla="*/ 0 w 24155"/>
                      <a:gd name="connsiteY3" fmla="*/ 48312 h 48311"/>
                    </a:gdLst>
                    <a:ahLst/>
                    <a:cxnLst>
                      <a:cxn ang="0">
                        <a:pos x="connsiteX0" y="connsiteY0"/>
                      </a:cxn>
                      <a:cxn ang="0">
                        <a:pos x="connsiteX1" y="connsiteY1"/>
                      </a:cxn>
                      <a:cxn ang="0">
                        <a:pos x="connsiteX2" y="connsiteY2"/>
                      </a:cxn>
                      <a:cxn ang="0">
                        <a:pos x="connsiteX3" y="connsiteY3"/>
                      </a:cxn>
                    </a:cxnLst>
                    <a:rect l="l" t="t" r="r" b="b"/>
                    <a:pathLst>
                      <a:path w="24155" h="48311">
                        <a:moveTo>
                          <a:pt x="0" y="0"/>
                        </a:moveTo>
                        <a:lnTo>
                          <a:pt x="24156" y="0"/>
                        </a:lnTo>
                        <a:lnTo>
                          <a:pt x="24156"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9" name="Grafik 170">
                    <a:extLst>
                      <a:ext uri="{FF2B5EF4-FFF2-40B4-BE49-F238E27FC236}">
                        <a16:creationId xmlns:a16="http://schemas.microsoft.com/office/drawing/2014/main" id="{65D46332-385B-4A4E-9A28-17EAD9CA7BBA}"/>
                      </a:ext>
                    </a:extLst>
                  </p:cNvPr>
                  <p:cNvSpPr/>
                  <p:nvPr/>
                </p:nvSpPr>
                <p:spPr bwMode="gray">
                  <a:xfrm>
                    <a:off x="9392720" y="4959204"/>
                    <a:ext cx="48311" cy="48311"/>
                  </a:xfrm>
                  <a:custGeom>
                    <a:avLst/>
                    <a:gdLst>
                      <a:gd name="connsiteX0" fmla="*/ 0 w 48311"/>
                      <a:gd name="connsiteY0" fmla="*/ 0 h 48311"/>
                      <a:gd name="connsiteX1" fmla="*/ 48312 w 48311"/>
                      <a:gd name="connsiteY1" fmla="*/ 0 h 48311"/>
                      <a:gd name="connsiteX2" fmla="*/ 48312 w 48311"/>
                      <a:gd name="connsiteY2" fmla="*/ 48312 h 48311"/>
                      <a:gd name="connsiteX3" fmla="*/ 0 w 48311"/>
                      <a:gd name="connsiteY3" fmla="*/ 48312 h 48311"/>
                    </a:gdLst>
                    <a:ahLst/>
                    <a:cxnLst>
                      <a:cxn ang="0">
                        <a:pos x="connsiteX0" y="connsiteY0"/>
                      </a:cxn>
                      <a:cxn ang="0">
                        <a:pos x="connsiteX1" y="connsiteY1"/>
                      </a:cxn>
                      <a:cxn ang="0">
                        <a:pos x="connsiteX2" y="connsiteY2"/>
                      </a:cxn>
                      <a:cxn ang="0">
                        <a:pos x="connsiteX3" y="connsiteY3"/>
                      </a:cxn>
                    </a:cxnLst>
                    <a:rect l="l" t="t" r="r" b="b"/>
                    <a:pathLst>
                      <a:path w="48311" h="48311">
                        <a:moveTo>
                          <a:pt x="0" y="0"/>
                        </a:moveTo>
                        <a:lnTo>
                          <a:pt x="48312" y="0"/>
                        </a:lnTo>
                        <a:lnTo>
                          <a:pt x="48312" y="48312"/>
                        </a:lnTo>
                        <a:lnTo>
                          <a:pt x="0" y="4831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0" name="Grafik 170">
                    <a:extLst>
                      <a:ext uri="{FF2B5EF4-FFF2-40B4-BE49-F238E27FC236}">
                        <a16:creationId xmlns:a16="http://schemas.microsoft.com/office/drawing/2014/main" id="{667C6B88-B426-460A-8039-2769328D413B}"/>
                      </a:ext>
                    </a:extLst>
                  </p:cNvPr>
                  <p:cNvSpPr/>
                  <p:nvPr/>
                </p:nvSpPr>
                <p:spPr bwMode="gray">
                  <a:xfrm>
                    <a:off x="9489343"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1" name="Grafik 170">
                    <a:extLst>
                      <a:ext uri="{FF2B5EF4-FFF2-40B4-BE49-F238E27FC236}">
                        <a16:creationId xmlns:a16="http://schemas.microsoft.com/office/drawing/2014/main" id="{6664BDA3-B53B-4E60-8209-68508D60C8DA}"/>
                      </a:ext>
                    </a:extLst>
                  </p:cNvPr>
                  <p:cNvSpPr/>
                  <p:nvPr/>
                </p:nvSpPr>
                <p:spPr bwMode="gray">
                  <a:xfrm>
                    <a:off x="9453110"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2" name="Grafik 170">
                    <a:extLst>
                      <a:ext uri="{FF2B5EF4-FFF2-40B4-BE49-F238E27FC236}">
                        <a16:creationId xmlns:a16="http://schemas.microsoft.com/office/drawing/2014/main" id="{493C2762-6F8D-4AC9-8720-EE292691C6D3}"/>
                      </a:ext>
                    </a:extLst>
                  </p:cNvPr>
                  <p:cNvSpPr/>
                  <p:nvPr/>
                </p:nvSpPr>
                <p:spPr bwMode="gray">
                  <a:xfrm>
                    <a:off x="9392720" y="4922970"/>
                    <a:ext cx="48311" cy="28181"/>
                  </a:xfrm>
                  <a:custGeom>
                    <a:avLst/>
                    <a:gdLst>
                      <a:gd name="connsiteX0" fmla="*/ 0 w 48311"/>
                      <a:gd name="connsiteY0" fmla="*/ 0 h 28181"/>
                      <a:gd name="connsiteX1" fmla="*/ 48312 w 48311"/>
                      <a:gd name="connsiteY1" fmla="*/ 0 h 28181"/>
                      <a:gd name="connsiteX2" fmla="*/ 48312 w 48311"/>
                      <a:gd name="connsiteY2" fmla="*/ 28182 h 28181"/>
                      <a:gd name="connsiteX3" fmla="*/ 0 w 48311"/>
                      <a:gd name="connsiteY3" fmla="*/ 28182 h 28181"/>
                    </a:gdLst>
                    <a:ahLst/>
                    <a:cxnLst>
                      <a:cxn ang="0">
                        <a:pos x="connsiteX0" y="connsiteY0"/>
                      </a:cxn>
                      <a:cxn ang="0">
                        <a:pos x="connsiteX1" y="connsiteY1"/>
                      </a:cxn>
                      <a:cxn ang="0">
                        <a:pos x="connsiteX2" y="connsiteY2"/>
                      </a:cxn>
                      <a:cxn ang="0">
                        <a:pos x="connsiteX3" y="connsiteY3"/>
                      </a:cxn>
                    </a:cxnLst>
                    <a:rect l="l" t="t" r="r" b="b"/>
                    <a:pathLst>
                      <a:path w="48311" h="28181">
                        <a:moveTo>
                          <a:pt x="0" y="0"/>
                        </a:moveTo>
                        <a:lnTo>
                          <a:pt x="48312" y="0"/>
                        </a:lnTo>
                        <a:lnTo>
                          <a:pt x="48312"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3" name="Grafik 170">
                    <a:extLst>
                      <a:ext uri="{FF2B5EF4-FFF2-40B4-BE49-F238E27FC236}">
                        <a16:creationId xmlns:a16="http://schemas.microsoft.com/office/drawing/2014/main" id="{555E7EA3-A4DB-4389-BABB-339EF06FFA5D}"/>
                      </a:ext>
                    </a:extLst>
                  </p:cNvPr>
                  <p:cNvSpPr/>
                  <p:nvPr/>
                </p:nvSpPr>
                <p:spPr bwMode="gray">
                  <a:xfrm>
                    <a:off x="9525577" y="5015567"/>
                    <a:ext cx="24155" cy="132856"/>
                  </a:xfrm>
                  <a:custGeom>
                    <a:avLst/>
                    <a:gdLst>
                      <a:gd name="connsiteX0" fmla="*/ 0 w 24155"/>
                      <a:gd name="connsiteY0" fmla="*/ 0 h 132856"/>
                      <a:gd name="connsiteX1" fmla="*/ 24156 w 24155"/>
                      <a:gd name="connsiteY1" fmla="*/ 0 h 132856"/>
                      <a:gd name="connsiteX2" fmla="*/ 24156 w 24155"/>
                      <a:gd name="connsiteY2" fmla="*/ 132857 h 132856"/>
                      <a:gd name="connsiteX3" fmla="*/ 0 w 24155"/>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24155" h="132856">
                        <a:moveTo>
                          <a:pt x="0" y="0"/>
                        </a:moveTo>
                        <a:lnTo>
                          <a:pt x="24156" y="0"/>
                        </a:lnTo>
                        <a:lnTo>
                          <a:pt x="24156"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4" name="Grafik 170">
                    <a:extLst>
                      <a:ext uri="{FF2B5EF4-FFF2-40B4-BE49-F238E27FC236}">
                        <a16:creationId xmlns:a16="http://schemas.microsoft.com/office/drawing/2014/main" id="{0E844378-A7AB-4445-92EE-CEE3E44065DB}"/>
                      </a:ext>
                    </a:extLst>
                  </p:cNvPr>
                  <p:cNvSpPr/>
                  <p:nvPr/>
                </p:nvSpPr>
                <p:spPr bwMode="gray">
                  <a:xfrm>
                    <a:off x="9392720" y="5015567"/>
                    <a:ext cx="48311" cy="132856"/>
                  </a:xfrm>
                  <a:custGeom>
                    <a:avLst/>
                    <a:gdLst>
                      <a:gd name="connsiteX0" fmla="*/ 0 w 48311"/>
                      <a:gd name="connsiteY0" fmla="*/ 0 h 132856"/>
                      <a:gd name="connsiteX1" fmla="*/ 48312 w 48311"/>
                      <a:gd name="connsiteY1" fmla="*/ 0 h 132856"/>
                      <a:gd name="connsiteX2" fmla="*/ 48312 w 48311"/>
                      <a:gd name="connsiteY2" fmla="*/ 132857 h 132856"/>
                      <a:gd name="connsiteX3" fmla="*/ 0 w 48311"/>
                      <a:gd name="connsiteY3" fmla="*/ 132857 h 132856"/>
                    </a:gdLst>
                    <a:ahLst/>
                    <a:cxnLst>
                      <a:cxn ang="0">
                        <a:pos x="connsiteX0" y="connsiteY0"/>
                      </a:cxn>
                      <a:cxn ang="0">
                        <a:pos x="connsiteX1" y="connsiteY1"/>
                      </a:cxn>
                      <a:cxn ang="0">
                        <a:pos x="connsiteX2" y="connsiteY2"/>
                      </a:cxn>
                      <a:cxn ang="0">
                        <a:pos x="connsiteX3" y="connsiteY3"/>
                      </a:cxn>
                    </a:cxnLst>
                    <a:rect l="l" t="t" r="r" b="b"/>
                    <a:pathLst>
                      <a:path w="48311" h="132856">
                        <a:moveTo>
                          <a:pt x="0" y="0"/>
                        </a:moveTo>
                        <a:lnTo>
                          <a:pt x="48312" y="0"/>
                        </a:lnTo>
                        <a:lnTo>
                          <a:pt x="48312" y="132857"/>
                        </a:lnTo>
                        <a:lnTo>
                          <a:pt x="0" y="132857"/>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5" name="Grafik 170">
                    <a:extLst>
                      <a:ext uri="{FF2B5EF4-FFF2-40B4-BE49-F238E27FC236}">
                        <a16:creationId xmlns:a16="http://schemas.microsoft.com/office/drawing/2014/main" id="{38B737AD-D924-4E5B-A3D5-1A760218E60B}"/>
                      </a:ext>
                    </a:extLst>
                  </p:cNvPr>
                  <p:cNvSpPr/>
                  <p:nvPr/>
                </p:nvSpPr>
                <p:spPr bwMode="gray">
                  <a:xfrm>
                    <a:off x="9356487" y="5120242"/>
                    <a:ext cx="24155" cy="28181"/>
                  </a:xfrm>
                  <a:custGeom>
                    <a:avLst/>
                    <a:gdLst>
                      <a:gd name="connsiteX0" fmla="*/ 0 w 24155"/>
                      <a:gd name="connsiteY0" fmla="*/ 0 h 28181"/>
                      <a:gd name="connsiteX1" fmla="*/ 24156 w 24155"/>
                      <a:gd name="connsiteY1" fmla="*/ 0 h 28181"/>
                      <a:gd name="connsiteX2" fmla="*/ 24156 w 24155"/>
                      <a:gd name="connsiteY2" fmla="*/ 28182 h 28181"/>
                      <a:gd name="connsiteX3" fmla="*/ 0 w 24155"/>
                      <a:gd name="connsiteY3" fmla="*/ 28182 h 28181"/>
                    </a:gdLst>
                    <a:ahLst/>
                    <a:cxnLst>
                      <a:cxn ang="0">
                        <a:pos x="connsiteX0" y="connsiteY0"/>
                      </a:cxn>
                      <a:cxn ang="0">
                        <a:pos x="connsiteX1" y="connsiteY1"/>
                      </a:cxn>
                      <a:cxn ang="0">
                        <a:pos x="connsiteX2" y="connsiteY2"/>
                      </a:cxn>
                      <a:cxn ang="0">
                        <a:pos x="connsiteX3" y="connsiteY3"/>
                      </a:cxn>
                    </a:cxnLst>
                    <a:rect l="l" t="t" r="r" b="b"/>
                    <a:pathLst>
                      <a:path w="24155" h="28181">
                        <a:moveTo>
                          <a:pt x="0" y="0"/>
                        </a:moveTo>
                        <a:lnTo>
                          <a:pt x="24156" y="0"/>
                        </a:lnTo>
                        <a:lnTo>
                          <a:pt x="24156" y="28182"/>
                        </a:lnTo>
                        <a:lnTo>
                          <a:pt x="0" y="28182"/>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6" name="Grafik 170">
                    <a:extLst>
                      <a:ext uri="{FF2B5EF4-FFF2-40B4-BE49-F238E27FC236}">
                        <a16:creationId xmlns:a16="http://schemas.microsoft.com/office/drawing/2014/main" id="{CB8411D4-6D9E-4768-AF59-1C003E9D8DAE}"/>
                      </a:ext>
                    </a:extLst>
                  </p:cNvPr>
                  <p:cNvSpPr/>
                  <p:nvPr/>
                </p:nvSpPr>
                <p:spPr bwMode="gray">
                  <a:xfrm>
                    <a:off x="9356487" y="4922970"/>
                    <a:ext cx="24155" cy="189220"/>
                  </a:xfrm>
                  <a:custGeom>
                    <a:avLst/>
                    <a:gdLst>
                      <a:gd name="connsiteX0" fmla="*/ 0 w 24155"/>
                      <a:gd name="connsiteY0" fmla="*/ 0 h 189220"/>
                      <a:gd name="connsiteX1" fmla="*/ 24156 w 24155"/>
                      <a:gd name="connsiteY1" fmla="*/ 0 h 189220"/>
                      <a:gd name="connsiteX2" fmla="*/ 24156 w 24155"/>
                      <a:gd name="connsiteY2" fmla="*/ 189220 h 189220"/>
                      <a:gd name="connsiteX3" fmla="*/ 0 w 24155"/>
                      <a:gd name="connsiteY3" fmla="*/ 189220 h 189220"/>
                    </a:gdLst>
                    <a:ahLst/>
                    <a:cxnLst>
                      <a:cxn ang="0">
                        <a:pos x="connsiteX0" y="connsiteY0"/>
                      </a:cxn>
                      <a:cxn ang="0">
                        <a:pos x="connsiteX1" y="connsiteY1"/>
                      </a:cxn>
                      <a:cxn ang="0">
                        <a:pos x="connsiteX2" y="connsiteY2"/>
                      </a:cxn>
                      <a:cxn ang="0">
                        <a:pos x="connsiteX3" y="connsiteY3"/>
                      </a:cxn>
                    </a:cxnLst>
                    <a:rect l="l" t="t" r="r" b="b"/>
                    <a:pathLst>
                      <a:path w="24155" h="189220">
                        <a:moveTo>
                          <a:pt x="0" y="0"/>
                        </a:moveTo>
                        <a:lnTo>
                          <a:pt x="24156" y="0"/>
                        </a:lnTo>
                        <a:lnTo>
                          <a:pt x="24156" y="189220"/>
                        </a:lnTo>
                        <a:lnTo>
                          <a:pt x="0" y="189220"/>
                        </a:lnTo>
                        <a:close/>
                      </a:path>
                    </a:pathLst>
                  </a:custGeom>
                  <a:solidFill>
                    <a:srgbClr val="9999A9"/>
                  </a:solidFill>
                  <a:ln w="7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sp>
            <p:nvSpPr>
              <p:cNvPr id="190" name="Freeform 13">
                <a:extLst>
                  <a:ext uri="{FF2B5EF4-FFF2-40B4-BE49-F238E27FC236}">
                    <a16:creationId xmlns:a16="http://schemas.microsoft.com/office/drawing/2014/main" id="{9C9ACF41-00F8-4A86-B7DB-97382F0A54DB}"/>
                  </a:ext>
                </a:extLst>
              </p:cNvPr>
              <p:cNvSpPr>
                <a:spLocks noChangeAspect="1" noEditPoints="1"/>
              </p:cNvSpPr>
              <p:nvPr/>
            </p:nvSpPr>
            <p:spPr bwMode="gray">
              <a:xfrm>
                <a:off x="8813030" y="4342361"/>
                <a:ext cx="222846" cy="132857"/>
              </a:xfrm>
              <a:custGeom>
                <a:avLst/>
                <a:gdLst>
                  <a:gd name="T0" fmla="*/ 3525 w 5344"/>
                  <a:gd name="T1" fmla="*/ 0 h 3640"/>
                  <a:gd name="T2" fmla="*/ 3261 w 5344"/>
                  <a:gd name="T3" fmla="*/ 264 h 3640"/>
                  <a:gd name="T4" fmla="*/ 4647 w 5344"/>
                  <a:gd name="T5" fmla="*/ 1660 h 3640"/>
                  <a:gd name="T6" fmla="*/ 4807 w 5344"/>
                  <a:gd name="T7" fmla="*/ 1820 h 3640"/>
                  <a:gd name="T8" fmla="*/ 4647 w 5344"/>
                  <a:gd name="T9" fmla="*/ 1980 h 3640"/>
                  <a:gd name="T10" fmla="*/ 3261 w 5344"/>
                  <a:gd name="T11" fmla="*/ 3375 h 3640"/>
                  <a:gd name="T12" fmla="*/ 3525 w 5344"/>
                  <a:gd name="T13" fmla="*/ 3640 h 3640"/>
                  <a:gd name="T14" fmla="*/ 5344 w 5344"/>
                  <a:gd name="T15" fmla="*/ 1820 h 3640"/>
                  <a:gd name="T16" fmla="*/ 3525 w 5344"/>
                  <a:gd name="T17" fmla="*/ 0 h 3640"/>
                  <a:gd name="T18" fmla="*/ 1819 w 5344"/>
                  <a:gd name="T19" fmla="*/ 3640 h 3640"/>
                  <a:gd name="T20" fmla="*/ 3637 w 5344"/>
                  <a:gd name="T21" fmla="*/ 1820 h 3640"/>
                  <a:gd name="T22" fmla="*/ 1819 w 5344"/>
                  <a:gd name="T23" fmla="*/ 0 h 3640"/>
                  <a:gd name="T24" fmla="*/ 0 w 5344"/>
                  <a:gd name="T25" fmla="*/ 1820 h 3640"/>
                  <a:gd name="T26" fmla="*/ 1819 w 5344"/>
                  <a:gd name="T27" fmla="*/ 3640 h 3640"/>
                  <a:gd name="T28" fmla="*/ 2668 w 5344"/>
                  <a:gd name="T29" fmla="*/ 0 h 3640"/>
                  <a:gd name="T30" fmla="*/ 2404 w 5344"/>
                  <a:gd name="T31" fmla="*/ 264 h 3640"/>
                  <a:gd name="T32" fmla="*/ 3798 w 5344"/>
                  <a:gd name="T33" fmla="*/ 1660 h 3640"/>
                  <a:gd name="T34" fmla="*/ 3958 w 5344"/>
                  <a:gd name="T35" fmla="*/ 1820 h 3640"/>
                  <a:gd name="T36" fmla="*/ 3798 w 5344"/>
                  <a:gd name="T37" fmla="*/ 1980 h 3640"/>
                  <a:gd name="T38" fmla="*/ 2404 w 5344"/>
                  <a:gd name="T39" fmla="*/ 3375 h 3640"/>
                  <a:gd name="T40" fmla="*/ 2668 w 5344"/>
                  <a:gd name="T41" fmla="*/ 3640 h 3640"/>
                  <a:gd name="T42" fmla="*/ 4487 w 5344"/>
                  <a:gd name="T43" fmla="*/ 1820 h 3640"/>
                  <a:gd name="T44" fmla="*/ 2668 w 5344"/>
                  <a:gd name="T45" fmla="*/ 0 h 3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44" h="3640">
                    <a:moveTo>
                      <a:pt x="3525" y="0"/>
                    </a:moveTo>
                    <a:lnTo>
                      <a:pt x="3261" y="264"/>
                    </a:lnTo>
                    <a:lnTo>
                      <a:pt x="4647" y="1660"/>
                    </a:lnTo>
                    <a:lnTo>
                      <a:pt x="4807" y="1820"/>
                    </a:lnTo>
                    <a:lnTo>
                      <a:pt x="4647" y="1980"/>
                    </a:lnTo>
                    <a:lnTo>
                      <a:pt x="3261" y="3375"/>
                    </a:lnTo>
                    <a:lnTo>
                      <a:pt x="3525" y="3640"/>
                    </a:lnTo>
                    <a:lnTo>
                      <a:pt x="5344" y="1820"/>
                    </a:lnTo>
                    <a:lnTo>
                      <a:pt x="3525" y="0"/>
                    </a:lnTo>
                    <a:close/>
                    <a:moveTo>
                      <a:pt x="1819" y="3640"/>
                    </a:moveTo>
                    <a:lnTo>
                      <a:pt x="3637" y="1820"/>
                    </a:lnTo>
                    <a:lnTo>
                      <a:pt x="1819" y="0"/>
                    </a:lnTo>
                    <a:lnTo>
                      <a:pt x="0" y="1820"/>
                    </a:lnTo>
                    <a:lnTo>
                      <a:pt x="1819" y="3640"/>
                    </a:lnTo>
                    <a:close/>
                    <a:moveTo>
                      <a:pt x="2668" y="0"/>
                    </a:moveTo>
                    <a:lnTo>
                      <a:pt x="2404" y="264"/>
                    </a:lnTo>
                    <a:lnTo>
                      <a:pt x="3798" y="1660"/>
                    </a:lnTo>
                    <a:lnTo>
                      <a:pt x="3958" y="1820"/>
                    </a:lnTo>
                    <a:lnTo>
                      <a:pt x="3798" y="1980"/>
                    </a:lnTo>
                    <a:lnTo>
                      <a:pt x="2404" y="3375"/>
                    </a:lnTo>
                    <a:lnTo>
                      <a:pt x="2668" y="3640"/>
                    </a:lnTo>
                    <a:lnTo>
                      <a:pt x="4487" y="1820"/>
                    </a:lnTo>
                    <a:lnTo>
                      <a:pt x="2668" y="0"/>
                    </a:lnTo>
                    <a:close/>
                  </a:path>
                </a:pathLst>
              </a:custGeom>
              <a:solidFill>
                <a:schemeClr val="accent1"/>
              </a:solidFill>
              <a:ln w="3175">
                <a:solidFill>
                  <a:schemeClr val="bg1"/>
                </a:solidFill>
              </a:ln>
            </p:spPr>
            <p:txBody>
              <a:bodyPr vert="horz" wrap="square" lIns="91296" tIns="45648" rIns="91296" bIns="45648" numCol="1" anchor="t" anchorCtr="0" compatLnSpc="1">
                <a:prstTxWarp prst="textNoShape">
                  <a:avLst/>
                </a:prstTxWarp>
              </a:bodyPr>
              <a:lstStyle/>
              <a:p>
                <a:pPr marL="0" marR="0" lvl="0" indent="0" algn="l" defTabSz="913029"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21" name="Textfeld 220">
            <a:extLst>
              <a:ext uri="{FF2B5EF4-FFF2-40B4-BE49-F238E27FC236}">
                <a16:creationId xmlns:a16="http://schemas.microsoft.com/office/drawing/2014/main" id="{AA6BC054-67FA-4898-AAF5-6C564E4676FF}"/>
              </a:ext>
            </a:extLst>
          </p:cNvPr>
          <p:cNvSpPr txBox="1">
            <a:spLocks/>
          </p:cNvSpPr>
          <p:nvPr/>
        </p:nvSpPr>
        <p:spPr bwMode="gray">
          <a:xfrm>
            <a:off x="11181271" y="3939803"/>
            <a:ext cx="418384" cy="215444"/>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Edge</a:t>
            </a:r>
          </a:p>
        </p:txBody>
      </p:sp>
      <p:cxnSp>
        <p:nvCxnSpPr>
          <p:cNvPr id="225" name="Gerader Verbinder 224">
            <a:extLst>
              <a:ext uri="{FF2B5EF4-FFF2-40B4-BE49-F238E27FC236}">
                <a16:creationId xmlns:a16="http://schemas.microsoft.com/office/drawing/2014/main" id="{ED42B216-382B-4905-9307-3D18342C5DAD}"/>
              </a:ext>
            </a:extLst>
          </p:cNvPr>
          <p:cNvCxnSpPr>
            <a:cxnSpLocks/>
            <a:stCxn id="82" idx="3"/>
            <a:endCxn id="117" idx="1"/>
          </p:cNvCxnSpPr>
          <p:nvPr/>
        </p:nvCxnSpPr>
        <p:spPr bwMode="gray">
          <a:xfrm>
            <a:off x="9143156" y="4091886"/>
            <a:ext cx="92661" cy="0"/>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26" name="Gerader Verbinder 225">
            <a:extLst>
              <a:ext uri="{FF2B5EF4-FFF2-40B4-BE49-F238E27FC236}">
                <a16:creationId xmlns:a16="http://schemas.microsoft.com/office/drawing/2014/main" id="{0500E78C-8045-4827-A62D-5C520D4536BA}"/>
              </a:ext>
            </a:extLst>
          </p:cNvPr>
          <p:cNvCxnSpPr>
            <a:cxnSpLocks/>
          </p:cNvCxnSpPr>
          <p:nvPr/>
        </p:nvCxnSpPr>
        <p:spPr bwMode="gray">
          <a:xfrm flipV="1">
            <a:off x="9623783" y="3808568"/>
            <a:ext cx="0" cy="75347"/>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7" name="Freihandform: Form 226">
            <a:extLst>
              <a:ext uri="{FF2B5EF4-FFF2-40B4-BE49-F238E27FC236}">
                <a16:creationId xmlns:a16="http://schemas.microsoft.com/office/drawing/2014/main" id="{DABF902C-3E95-4816-8271-00EDBD16E74A}"/>
              </a:ext>
            </a:extLst>
          </p:cNvPr>
          <p:cNvSpPr/>
          <p:nvPr/>
        </p:nvSpPr>
        <p:spPr bwMode="gray">
          <a:xfrm>
            <a:off x="8844102" y="2872842"/>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228" name="Freihandform: Form 227">
            <a:extLst>
              <a:ext uri="{FF2B5EF4-FFF2-40B4-BE49-F238E27FC236}">
                <a16:creationId xmlns:a16="http://schemas.microsoft.com/office/drawing/2014/main" id="{93B54A58-678D-4F4D-BDBD-B6725F255BEA}"/>
              </a:ext>
            </a:extLst>
          </p:cNvPr>
          <p:cNvSpPr/>
          <p:nvPr/>
        </p:nvSpPr>
        <p:spPr bwMode="gray">
          <a:xfrm>
            <a:off x="9696341" y="2872842"/>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229" name="Freihandform: Form 228">
            <a:extLst>
              <a:ext uri="{FF2B5EF4-FFF2-40B4-BE49-F238E27FC236}">
                <a16:creationId xmlns:a16="http://schemas.microsoft.com/office/drawing/2014/main" id="{F2E42A24-2775-4DFD-8466-5CC497F84229}"/>
              </a:ext>
            </a:extLst>
          </p:cNvPr>
          <p:cNvSpPr/>
          <p:nvPr/>
        </p:nvSpPr>
        <p:spPr bwMode="gray">
          <a:xfrm>
            <a:off x="9299957" y="2372199"/>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rgbClr val="66C4FF"/>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230" name="Freihandform: Form 229">
            <a:extLst>
              <a:ext uri="{FF2B5EF4-FFF2-40B4-BE49-F238E27FC236}">
                <a16:creationId xmlns:a16="http://schemas.microsoft.com/office/drawing/2014/main" id="{743DB810-5411-4DFB-BA36-80DA7E3953A7}"/>
              </a:ext>
            </a:extLst>
          </p:cNvPr>
          <p:cNvSpPr/>
          <p:nvPr/>
        </p:nvSpPr>
        <p:spPr bwMode="gray">
          <a:xfrm>
            <a:off x="9299957" y="3396062"/>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231" name="Freihandform: Form 230">
            <a:extLst>
              <a:ext uri="{FF2B5EF4-FFF2-40B4-BE49-F238E27FC236}">
                <a16:creationId xmlns:a16="http://schemas.microsoft.com/office/drawing/2014/main" id="{5FD0C4E3-8A9E-49EA-9330-EA7536929E77}"/>
              </a:ext>
            </a:extLst>
          </p:cNvPr>
          <p:cNvSpPr/>
          <p:nvPr/>
        </p:nvSpPr>
        <p:spPr bwMode="gray">
          <a:xfrm>
            <a:off x="9638618" y="3885905"/>
            <a:ext cx="214313" cy="77467"/>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2" name="Freihandform: Form 231">
            <a:extLst>
              <a:ext uri="{FF2B5EF4-FFF2-40B4-BE49-F238E27FC236}">
                <a16:creationId xmlns:a16="http://schemas.microsoft.com/office/drawing/2014/main" id="{8DB7F64A-24BB-4A86-A71C-4D1C9148077F}"/>
              </a:ext>
            </a:extLst>
          </p:cNvPr>
          <p:cNvSpPr/>
          <p:nvPr/>
        </p:nvSpPr>
        <p:spPr bwMode="gray">
          <a:xfrm>
            <a:off x="9818416" y="3885905"/>
            <a:ext cx="475253" cy="77467"/>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3" name="Freihandform: Form 232">
            <a:extLst>
              <a:ext uri="{FF2B5EF4-FFF2-40B4-BE49-F238E27FC236}">
                <a16:creationId xmlns:a16="http://schemas.microsoft.com/office/drawing/2014/main" id="{D700FB86-760C-4CCF-8349-6D6F7A5A53D3}"/>
              </a:ext>
            </a:extLst>
          </p:cNvPr>
          <p:cNvSpPr/>
          <p:nvPr/>
        </p:nvSpPr>
        <p:spPr bwMode="gray">
          <a:xfrm flipH="1">
            <a:off x="8971590" y="3885905"/>
            <a:ext cx="475253" cy="77467"/>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4" name="Freihandform: Form 233">
            <a:extLst>
              <a:ext uri="{FF2B5EF4-FFF2-40B4-BE49-F238E27FC236}">
                <a16:creationId xmlns:a16="http://schemas.microsoft.com/office/drawing/2014/main" id="{F2FA8703-3CAA-4569-98AC-676867483CF0}"/>
              </a:ext>
            </a:extLst>
          </p:cNvPr>
          <p:cNvSpPr/>
          <p:nvPr/>
        </p:nvSpPr>
        <p:spPr bwMode="gray">
          <a:xfrm flipH="1">
            <a:off x="9413612" y="3885905"/>
            <a:ext cx="475253" cy="77467"/>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35" name="Gerader Verbinder 234">
            <a:extLst>
              <a:ext uri="{FF2B5EF4-FFF2-40B4-BE49-F238E27FC236}">
                <a16:creationId xmlns:a16="http://schemas.microsoft.com/office/drawing/2014/main" id="{BB70596D-18A3-4E4A-AAD6-D148B625CAC6}"/>
              </a:ext>
            </a:extLst>
          </p:cNvPr>
          <p:cNvCxnSpPr>
            <a:cxnSpLocks/>
            <a:stCxn id="117" idx="3"/>
            <a:endCxn id="152" idx="1"/>
          </p:cNvCxnSpPr>
          <p:nvPr/>
        </p:nvCxnSpPr>
        <p:spPr bwMode="gray">
          <a:xfrm>
            <a:off x="9582685" y="4091886"/>
            <a:ext cx="92661" cy="0"/>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21865E5A-014D-4C6E-83F3-A9BC7A253107}"/>
              </a:ext>
            </a:extLst>
          </p:cNvPr>
          <p:cNvCxnSpPr>
            <a:cxnSpLocks/>
            <a:stCxn id="152" idx="3"/>
          </p:cNvCxnSpPr>
          <p:nvPr/>
        </p:nvCxnSpPr>
        <p:spPr bwMode="gray">
          <a:xfrm>
            <a:off x="10022214" y="4091886"/>
            <a:ext cx="92660" cy="0"/>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7" name="Verbinder: gewinkelt 236">
            <a:extLst>
              <a:ext uri="{FF2B5EF4-FFF2-40B4-BE49-F238E27FC236}">
                <a16:creationId xmlns:a16="http://schemas.microsoft.com/office/drawing/2014/main" id="{EA9CF3D9-63F7-4DFE-8564-7FE20C4AA4F1}"/>
              </a:ext>
            </a:extLst>
          </p:cNvPr>
          <p:cNvCxnSpPr>
            <a:cxnSpLocks/>
            <a:stCxn id="117" idx="2"/>
          </p:cNvCxnSpPr>
          <p:nvPr/>
        </p:nvCxnSpPr>
        <p:spPr bwMode="gray">
          <a:xfrm rot="16200000" flipH="1">
            <a:off x="9403510" y="4222331"/>
            <a:ext cx="230387" cy="218905"/>
          </a:xfrm>
          <a:prstGeom prst="bentConnector3">
            <a:avLst>
              <a:gd name="adj1" fmla="val 20579"/>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8" name="Verbinder: gewinkelt 237">
            <a:extLst>
              <a:ext uri="{FF2B5EF4-FFF2-40B4-BE49-F238E27FC236}">
                <a16:creationId xmlns:a16="http://schemas.microsoft.com/office/drawing/2014/main" id="{93439B6B-F1CD-495B-BB43-0ED720BCE644}"/>
              </a:ext>
            </a:extLst>
          </p:cNvPr>
          <p:cNvCxnSpPr>
            <a:cxnSpLocks/>
            <a:stCxn id="152" idx="2"/>
          </p:cNvCxnSpPr>
          <p:nvPr/>
        </p:nvCxnSpPr>
        <p:spPr bwMode="gray">
          <a:xfrm rot="5400000">
            <a:off x="9623275" y="4221472"/>
            <a:ext cx="230387" cy="220624"/>
          </a:xfrm>
          <a:prstGeom prst="bentConnector3">
            <a:avLst>
              <a:gd name="adj1" fmla="val 20577"/>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39" name="Rechteck 238">
            <a:extLst>
              <a:ext uri="{FF2B5EF4-FFF2-40B4-BE49-F238E27FC236}">
                <a16:creationId xmlns:a16="http://schemas.microsoft.com/office/drawing/2014/main" id="{5A655B1A-18D4-4767-99D6-57D447D417DF}"/>
              </a:ext>
            </a:extLst>
          </p:cNvPr>
          <p:cNvSpPr/>
          <p:nvPr/>
        </p:nvSpPr>
        <p:spPr bwMode="gray">
          <a:xfrm>
            <a:off x="9605519" y="4285626"/>
            <a:ext cx="45719" cy="464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40" name="Gerader Verbinder 239">
            <a:extLst>
              <a:ext uri="{FF2B5EF4-FFF2-40B4-BE49-F238E27FC236}">
                <a16:creationId xmlns:a16="http://schemas.microsoft.com/office/drawing/2014/main" id="{A6CEFDB6-56B6-4EF6-9925-E01B0040F0AD}"/>
              </a:ext>
            </a:extLst>
          </p:cNvPr>
          <p:cNvCxnSpPr>
            <a:cxnSpLocks/>
          </p:cNvCxnSpPr>
          <p:nvPr/>
        </p:nvCxnSpPr>
        <p:spPr bwMode="gray">
          <a:xfrm flipV="1">
            <a:off x="10360309" y="4216589"/>
            <a:ext cx="0" cy="222399"/>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41" name="Freihandform: Form 240">
            <a:extLst>
              <a:ext uri="{FF2B5EF4-FFF2-40B4-BE49-F238E27FC236}">
                <a16:creationId xmlns:a16="http://schemas.microsoft.com/office/drawing/2014/main" id="{9C3A3E4F-DD2F-4C18-ACF4-32BAC77ED976}"/>
              </a:ext>
            </a:extLst>
          </p:cNvPr>
          <p:cNvSpPr/>
          <p:nvPr/>
        </p:nvSpPr>
        <p:spPr bwMode="gray">
          <a:xfrm flipH="1" flipV="1">
            <a:off x="9888863" y="4218182"/>
            <a:ext cx="475253" cy="88102"/>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2" name="Rechteck 241">
            <a:extLst>
              <a:ext uri="{FF2B5EF4-FFF2-40B4-BE49-F238E27FC236}">
                <a16:creationId xmlns:a16="http://schemas.microsoft.com/office/drawing/2014/main" id="{707256F0-4742-4AF8-8BCA-6F0596360332}"/>
              </a:ext>
            </a:extLst>
          </p:cNvPr>
          <p:cNvSpPr/>
          <p:nvPr/>
        </p:nvSpPr>
        <p:spPr bwMode="gray">
          <a:xfrm>
            <a:off x="9477746" y="4240553"/>
            <a:ext cx="45719" cy="464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3" name="Freihandform: Form 242">
            <a:extLst>
              <a:ext uri="{FF2B5EF4-FFF2-40B4-BE49-F238E27FC236}">
                <a16:creationId xmlns:a16="http://schemas.microsoft.com/office/drawing/2014/main" id="{5D9A5F44-26AC-4E38-AB56-C881E73B2AE0}"/>
              </a:ext>
            </a:extLst>
          </p:cNvPr>
          <p:cNvSpPr/>
          <p:nvPr/>
        </p:nvSpPr>
        <p:spPr bwMode="gray">
          <a:xfrm flipH="1" flipV="1">
            <a:off x="9500840" y="4218182"/>
            <a:ext cx="475253" cy="88102"/>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44" name="Gerader Verbinder 243">
            <a:extLst>
              <a:ext uri="{FF2B5EF4-FFF2-40B4-BE49-F238E27FC236}">
                <a16:creationId xmlns:a16="http://schemas.microsoft.com/office/drawing/2014/main" id="{C0AEC4AD-54D1-4F62-B6B3-2E03CEF30FD6}"/>
              </a:ext>
            </a:extLst>
          </p:cNvPr>
          <p:cNvCxnSpPr>
            <a:cxnSpLocks/>
          </p:cNvCxnSpPr>
          <p:nvPr/>
        </p:nvCxnSpPr>
        <p:spPr bwMode="gray">
          <a:xfrm flipV="1">
            <a:off x="8872342" y="4216589"/>
            <a:ext cx="0" cy="230387"/>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F27E63E2-9F4D-4C2B-A62D-BF91BD12A2F6}"/>
              </a:ext>
            </a:extLst>
          </p:cNvPr>
          <p:cNvCxnSpPr>
            <a:cxnSpLocks/>
          </p:cNvCxnSpPr>
          <p:nvPr/>
        </p:nvCxnSpPr>
        <p:spPr bwMode="gray">
          <a:xfrm flipV="1">
            <a:off x="9259153" y="4216589"/>
            <a:ext cx="0" cy="230387"/>
          </a:xfrm>
          <a:prstGeom prst="line">
            <a:avLst/>
          </a:pr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46" name="Rechteck 245">
            <a:extLst>
              <a:ext uri="{FF2B5EF4-FFF2-40B4-BE49-F238E27FC236}">
                <a16:creationId xmlns:a16="http://schemas.microsoft.com/office/drawing/2014/main" id="{C69B1329-4F29-482F-AFE7-9147183C944F}"/>
              </a:ext>
            </a:extLst>
          </p:cNvPr>
          <p:cNvSpPr/>
          <p:nvPr/>
        </p:nvSpPr>
        <p:spPr bwMode="gray">
          <a:xfrm>
            <a:off x="9603599" y="4363402"/>
            <a:ext cx="45719" cy="464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7" name="Rechteck 246">
            <a:extLst>
              <a:ext uri="{FF2B5EF4-FFF2-40B4-BE49-F238E27FC236}">
                <a16:creationId xmlns:a16="http://schemas.microsoft.com/office/drawing/2014/main" id="{E09CB138-2D71-442F-8DAF-F82FED6A647A}"/>
              </a:ext>
            </a:extLst>
          </p:cNvPr>
          <p:cNvSpPr/>
          <p:nvPr/>
        </p:nvSpPr>
        <p:spPr bwMode="gray">
          <a:xfrm>
            <a:off x="10257534" y="4275937"/>
            <a:ext cx="45719" cy="464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8" name="Freihandform: Form 247">
            <a:extLst>
              <a:ext uri="{FF2B5EF4-FFF2-40B4-BE49-F238E27FC236}">
                <a16:creationId xmlns:a16="http://schemas.microsoft.com/office/drawing/2014/main" id="{2F02E265-251B-4FDD-A86A-327402B40D14}"/>
              </a:ext>
            </a:extLst>
          </p:cNvPr>
          <p:cNvSpPr/>
          <p:nvPr/>
        </p:nvSpPr>
        <p:spPr bwMode="gray">
          <a:xfrm flipV="1">
            <a:off x="9256559" y="4221993"/>
            <a:ext cx="1023679" cy="164894"/>
          </a:xfrm>
          <a:custGeom>
            <a:avLst/>
            <a:gdLst>
              <a:gd name="connsiteX0" fmla="*/ 0 w 214313"/>
              <a:gd name="connsiteY0" fmla="*/ 0 h 76200"/>
              <a:gd name="connsiteX1" fmla="*/ 214313 w 214313"/>
              <a:gd name="connsiteY1" fmla="*/ 0 h 76200"/>
              <a:gd name="connsiteX2" fmla="*/ 214313 w 214313"/>
              <a:gd name="connsiteY2" fmla="*/ 76200 h 76200"/>
            </a:gdLst>
            <a:ahLst/>
            <a:cxnLst>
              <a:cxn ang="0">
                <a:pos x="connsiteX0" y="connsiteY0"/>
              </a:cxn>
              <a:cxn ang="0">
                <a:pos x="connsiteX1" y="connsiteY1"/>
              </a:cxn>
              <a:cxn ang="0">
                <a:pos x="connsiteX2" y="connsiteY2"/>
              </a:cxn>
            </a:cxnLst>
            <a:rect l="l" t="t" r="r" b="b"/>
            <a:pathLst>
              <a:path w="214313" h="76200">
                <a:moveTo>
                  <a:pt x="0" y="0"/>
                </a:moveTo>
                <a:lnTo>
                  <a:pt x="214313" y="0"/>
                </a:lnTo>
                <a:lnTo>
                  <a:pt x="214313" y="76200"/>
                </a:lnTo>
              </a:path>
            </a:pathLst>
          </a:custGeom>
          <a:ln w="952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9" name="Textfeld 248">
            <a:extLst>
              <a:ext uri="{FF2B5EF4-FFF2-40B4-BE49-F238E27FC236}">
                <a16:creationId xmlns:a16="http://schemas.microsoft.com/office/drawing/2014/main" id="{0F69BA65-6CAE-4E99-AE0C-AD6B4AB0DB37}"/>
              </a:ext>
            </a:extLst>
          </p:cNvPr>
          <p:cNvSpPr txBox="1">
            <a:spLocks/>
          </p:cNvSpPr>
          <p:nvPr/>
        </p:nvSpPr>
        <p:spPr bwMode="gray">
          <a:xfrm>
            <a:off x="11181271" y="4363388"/>
            <a:ext cx="766235" cy="430887"/>
          </a:xfrm>
          <a:prstGeom prst="rect">
            <a:avLst/>
          </a:prstGeom>
          <a:noFill/>
        </p:spPr>
        <p:txBody>
          <a:bodyPr wrap="non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Intelligent</a:t>
            </a:r>
            <a:br>
              <a:rPr kumimoji="0" lang="en-US" sz="140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br>
            <a:r>
              <a:rPr kumimoji="0" lang="en-US" sz="140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Field</a:t>
            </a:r>
          </a:p>
        </p:txBody>
      </p:sp>
      <p:sp>
        <p:nvSpPr>
          <p:cNvPr id="255" name="Ellipse 41">
            <a:extLst>
              <a:ext uri="{FF2B5EF4-FFF2-40B4-BE49-F238E27FC236}">
                <a16:creationId xmlns:a16="http://schemas.microsoft.com/office/drawing/2014/main" id="{CEF22748-B1D9-415E-B8C5-7C58B2DDD533}"/>
              </a:ext>
            </a:extLst>
          </p:cNvPr>
          <p:cNvSpPr/>
          <p:nvPr/>
        </p:nvSpPr>
        <p:spPr bwMode="gray">
          <a:xfrm>
            <a:off x="7092474" y="2190087"/>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rtl="0">
              <a:buClrTx/>
            </a:pPr>
            <a:endParaRPr lang="en-US" kern="1200">
              <a:solidFill>
                <a:prstClr val="white"/>
              </a:solidFill>
              <a:latin typeface="Arial"/>
            </a:endParaRPr>
          </a:p>
        </p:txBody>
      </p:sp>
      <p:grpSp>
        <p:nvGrpSpPr>
          <p:cNvPr id="295" name="Gruppieren 294">
            <a:extLst>
              <a:ext uri="{FF2B5EF4-FFF2-40B4-BE49-F238E27FC236}">
                <a16:creationId xmlns:a16="http://schemas.microsoft.com/office/drawing/2014/main" id="{D2D467E6-ADE6-7566-8550-F7B49504B70C}"/>
              </a:ext>
            </a:extLst>
          </p:cNvPr>
          <p:cNvGrpSpPr/>
          <p:nvPr/>
        </p:nvGrpSpPr>
        <p:grpSpPr>
          <a:xfrm>
            <a:off x="8784346" y="4444728"/>
            <a:ext cx="1689337" cy="341084"/>
            <a:chOff x="5806363" y="4827992"/>
            <a:chExt cx="2649694" cy="598966"/>
          </a:xfrm>
        </p:grpSpPr>
        <p:sp>
          <p:nvSpPr>
            <p:cNvPr id="263" name="Rechteck 262">
              <a:extLst>
                <a:ext uri="{FF2B5EF4-FFF2-40B4-BE49-F238E27FC236}">
                  <a16:creationId xmlns:a16="http://schemas.microsoft.com/office/drawing/2014/main" id="{1B4667C4-7F18-5AD5-63CA-484C61C740AB}"/>
                </a:ext>
              </a:extLst>
            </p:cNvPr>
            <p:cNvSpPr/>
            <p:nvPr/>
          </p:nvSpPr>
          <p:spPr>
            <a:xfrm>
              <a:off x="5806363" y="4827992"/>
              <a:ext cx="2649694" cy="598966"/>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pic>
          <p:nvPicPr>
            <p:cNvPr id="264" name="Picture 20" descr="G_SY02_XX_00277P">
              <a:extLst>
                <a:ext uri="{FF2B5EF4-FFF2-40B4-BE49-F238E27FC236}">
                  <a16:creationId xmlns:a16="http://schemas.microsoft.com/office/drawing/2014/main" id="{AAD9338E-C83F-2E64-D59C-1A418DCE497B}"/>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870706" y="487813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26" descr="G_SY02_XX_00280P">
              <a:extLst>
                <a:ext uri="{FF2B5EF4-FFF2-40B4-BE49-F238E27FC236}">
                  <a16:creationId xmlns:a16="http://schemas.microsoft.com/office/drawing/2014/main" id="{68B8BC45-C704-9F7D-E36A-D79BD73513ED}"/>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573835" y="4862369"/>
              <a:ext cx="145054" cy="240380"/>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uppieren 265">
              <a:extLst>
                <a:ext uri="{FF2B5EF4-FFF2-40B4-BE49-F238E27FC236}">
                  <a16:creationId xmlns:a16="http://schemas.microsoft.com/office/drawing/2014/main" id="{E7FEC6D6-18C1-629F-B32B-EF15554AF1F0}"/>
                </a:ext>
              </a:extLst>
            </p:cNvPr>
            <p:cNvGrpSpPr/>
            <p:nvPr>
              <p:custDataLst>
                <p:tags r:id="rId2"/>
              </p:custDataLst>
            </p:nvPr>
          </p:nvGrpSpPr>
          <p:grpSpPr>
            <a:xfrm>
              <a:off x="5899606" y="4896875"/>
              <a:ext cx="327878" cy="199399"/>
              <a:chOff x="3575095" y="4405139"/>
              <a:chExt cx="746896" cy="470044"/>
            </a:xfrm>
          </p:grpSpPr>
          <p:sp>
            <p:nvSpPr>
              <p:cNvPr id="267" name="Line 123">
                <a:extLst>
                  <a:ext uri="{FF2B5EF4-FFF2-40B4-BE49-F238E27FC236}">
                    <a16:creationId xmlns:a16="http://schemas.microsoft.com/office/drawing/2014/main" id="{5C93014C-1ED3-417A-E88F-E509CA60AB92}"/>
                  </a:ext>
                </a:extLst>
              </p:cNvPr>
              <p:cNvSpPr>
                <a:spLocks noChangeShapeType="1"/>
              </p:cNvSpPr>
              <p:nvPr>
                <p:custDataLst>
                  <p:tags r:id="rId12"/>
                </p:custDataLst>
              </p:nvPr>
            </p:nvSpPr>
            <p:spPr bwMode="auto">
              <a:xfrm>
                <a:off x="3762470" y="4765664"/>
                <a:ext cx="461202"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pic>
            <p:nvPicPr>
              <p:cNvPr id="268" name="Picture 157" descr="G_SY02_XX_00193P">
                <a:extLst>
                  <a:ext uri="{FF2B5EF4-FFF2-40B4-BE49-F238E27FC236}">
                    <a16:creationId xmlns:a16="http://schemas.microsoft.com/office/drawing/2014/main" id="{C633D896-E574-8B88-8CA5-CB34A9BFCA30}"/>
                  </a:ext>
                </a:extLst>
              </p:cNvPr>
              <p:cNvPicPr>
                <a:picLocks noChangeAspect="1" noChangeArrowheads="1"/>
              </p:cNvPicPr>
              <p:nvPr>
                <p:custDataLst>
                  <p:tags r:id="rId13"/>
                </p:custDataLst>
              </p:nvPr>
            </p:nvPicPr>
            <p:blipFill>
              <a:blip r:embed="rId22"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rot="10800000">
                <a:off x="3575095" y="4685694"/>
                <a:ext cx="457510" cy="189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14" descr="G_SY02_XX_00240P">
                <a:extLst>
                  <a:ext uri="{FF2B5EF4-FFF2-40B4-BE49-F238E27FC236}">
                    <a16:creationId xmlns:a16="http://schemas.microsoft.com/office/drawing/2014/main" id="{250D05BE-D894-77F9-700B-A83666E4174A}"/>
                  </a:ext>
                </a:extLst>
              </p:cNvPr>
              <p:cNvPicPr>
                <a:picLocks noChangeAspect="1" noChangeArrowheads="1"/>
              </p:cNvPicPr>
              <p:nvPr/>
            </p:nvPicPr>
            <p:blipFill>
              <a:blip r:embed="rId2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4125352" y="4405139"/>
                <a:ext cx="196639" cy="4220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0" name="Gruppieren 269">
              <a:extLst>
                <a:ext uri="{FF2B5EF4-FFF2-40B4-BE49-F238E27FC236}">
                  <a16:creationId xmlns:a16="http://schemas.microsoft.com/office/drawing/2014/main" id="{40AB89EF-CEC5-EEF3-B19A-686B4F0A66A9}"/>
                </a:ext>
              </a:extLst>
            </p:cNvPr>
            <p:cNvGrpSpPr/>
            <p:nvPr>
              <p:custDataLst>
                <p:tags r:id="rId3"/>
              </p:custDataLst>
            </p:nvPr>
          </p:nvGrpSpPr>
          <p:grpSpPr>
            <a:xfrm>
              <a:off x="5899606" y="5144952"/>
              <a:ext cx="327878" cy="199399"/>
              <a:chOff x="3575095" y="4405139"/>
              <a:chExt cx="746896" cy="470044"/>
            </a:xfrm>
          </p:grpSpPr>
          <p:sp>
            <p:nvSpPr>
              <p:cNvPr id="271" name="Line 123">
                <a:extLst>
                  <a:ext uri="{FF2B5EF4-FFF2-40B4-BE49-F238E27FC236}">
                    <a16:creationId xmlns:a16="http://schemas.microsoft.com/office/drawing/2014/main" id="{B011F686-AA06-AF3E-4148-23535B691C8A}"/>
                  </a:ext>
                </a:extLst>
              </p:cNvPr>
              <p:cNvSpPr>
                <a:spLocks noChangeShapeType="1"/>
              </p:cNvSpPr>
              <p:nvPr>
                <p:custDataLst>
                  <p:tags r:id="rId10"/>
                </p:custDataLst>
              </p:nvPr>
            </p:nvSpPr>
            <p:spPr bwMode="auto">
              <a:xfrm>
                <a:off x="3762470" y="4765664"/>
                <a:ext cx="461202"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pic>
            <p:nvPicPr>
              <p:cNvPr id="272" name="Picture 157" descr="G_SY02_XX_00193P">
                <a:extLst>
                  <a:ext uri="{FF2B5EF4-FFF2-40B4-BE49-F238E27FC236}">
                    <a16:creationId xmlns:a16="http://schemas.microsoft.com/office/drawing/2014/main" id="{3C9F02BA-6ED7-CAFB-5037-945C6A8E1A21}"/>
                  </a:ext>
                </a:extLst>
              </p:cNvPr>
              <p:cNvPicPr>
                <a:picLocks noChangeAspect="1" noChangeArrowheads="1"/>
              </p:cNvPicPr>
              <p:nvPr>
                <p:custDataLst>
                  <p:tags r:id="rId11"/>
                </p:custDataLst>
              </p:nvPr>
            </p:nvPicPr>
            <p:blipFill>
              <a:blip r:embed="rId22"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rot="10800000">
                <a:off x="3575095" y="4685694"/>
                <a:ext cx="457510" cy="189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14" descr="G_SY02_XX_00240P">
                <a:extLst>
                  <a:ext uri="{FF2B5EF4-FFF2-40B4-BE49-F238E27FC236}">
                    <a16:creationId xmlns:a16="http://schemas.microsoft.com/office/drawing/2014/main" id="{C5857A1F-2169-306D-2155-CB4C396C3495}"/>
                  </a:ext>
                </a:extLst>
              </p:cNvPr>
              <p:cNvPicPr>
                <a:picLocks noChangeAspect="1" noChangeArrowheads="1"/>
              </p:cNvPicPr>
              <p:nvPr/>
            </p:nvPicPr>
            <p:blipFill>
              <a:blip r:embed="rId2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4125352" y="4405139"/>
                <a:ext cx="196639" cy="4220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4" name="Gruppieren 273">
              <a:extLst>
                <a:ext uri="{FF2B5EF4-FFF2-40B4-BE49-F238E27FC236}">
                  <a16:creationId xmlns:a16="http://schemas.microsoft.com/office/drawing/2014/main" id="{B2EC08C2-955E-DB39-7906-86AA5E26D9F5}"/>
                </a:ext>
              </a:extLst>
            </p:cNvPr>
            <p:cNvGrpSpPr/>
            <p:nvPr>
              <p:custDataLst>
                <p:tags r:id="rId4"/>
              </p:custDataLst>
            </p:nvPr>
          </p:nvGrpSpPr>
          <p:grpSpPr>
            <a:xfrm>
              <a:off x="6292987" y="4896875"/>
              <a:ext cx="327878" cy="199399"/>
              <a:chOff x="3575095" y="4405139"/>
              <a:chExt cx="746896" cy="470044"/>
            </a:xfrm>
          </p:grpSpPr>
          <p:sp>
            <p:nvSpPr>
              <p:cNvPr id="275" name="Line 123">
                <a:extLst>
                  <a:ext uri="{FF2B5EF4-FFF2-40B4-BE49-F238E27FC236}">
                    <a16:creationId xmlns:a16="http://schemas.microsoft.com/office/drawing/2014/main" id="{134AF63A-B73C-D05F-8795-820BEE8B77AC}"/>
                  </a:ext>
                </a:extLst>
              </p:cNvPr>
              <p:cNvSpPr>
                <a:spLocks noChangeShapeType="1"/>
              </p:cNvSpPr>
              <p:nvPr>
                <p:custDataLst>
                  <p:tags r:id="rId8"/>
                </p:custDataLst>
              </p:nvPr>
            </p:nvSpPr>
            <p:spPr bwMode="auto">
              <a:xfrm>
                <a:off x="3762470" y="4765664"/>
                <a:ext cx="461202"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pic>
            <p:nvPicPr>
              <p:cNvPr id="276" name="Picture 157" descr="G_SY02_XX_00193P">
                <a:extLst>
                  <a:ext uri="{FF2B5EF4-FFF2-40B4-BE49-F238E27FC236}">
                    <a16:creationId xmlns:a16="http://schemas.microsoft.com/office/drawing/2014/main" id="{CE6A98A8-E2ED-BA7F-C0B1-B10D99ECCB78}"/>
                  </a:ext>
                </a:extLst>
              </p:cNvPr>
              <p:cNvPicPr>
                <a:picLocks noChangeAspect="1" noChangeArrowheads="1"/>
              </p:cNvPicPr>
              <p:nvPr>
                <p:custDataLst>
                  <p:tags r:id="rId9"/>
                </p:custDataLst>
              </p:nvPr>
            </p:nvPicPr>
            <p:blipFill>
              <a:blip r:embed="rId22"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rot="10800000">
                <a:off x="3575095" y="4685694"/>
                <a:ext cx="457510" cy="189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14" descr="G_SY02_XX_00240P">
                <a:extLst>
                  <a:ext uri="{FF2B5EF4-FFF2-40B4-BE49-F238E27FC236}">
                    <a16:creationId xmlns:a16="http://schemas.microsoft.com/office/drawing/2014/main" id="{C4DD05AF-9AB8-2015-9450-1431E430554C}"/>
                  </a:ext>
                </a:extLst>
              </p:cNvPr>
              <p:cNvPicPr>
                <a:picLocks noChangeAspect="1" noChangeArrowheads="1"/>
              </p:cNvPicPr>
              <p:nvPr/>
            </p:nvPicPr>
            <p:blipFill>
              <a:blip r:embed="rId2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4125352" y="4405139"/>
                <a:ext cx="196639" cy="4220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8" name="Gruppieren 277">
              <a:extLst>
                <a:ext uri="{FF2B5EF4-FFF2-40B4-BE49-F238E27FC236}">
                  <a16:creationId xmlns:a16="http://schemas.microsoft.com/office/drawing/2014/main" id="{08B236B0-F587-0696-5D97-31E42C8D7DDB}"/>
                </a:ext>
              </a:extLst>
            </p:cNvPr>
            <p:cNvGrpSpPr/>
            <p:nvPr>
              <p:custDataLst>
                <p:tags r:id="rId5"/>
              </p:custDataLst>
            </p:nvPr>
          </p:nvGrpSpPr>
          <p:grpSpPr>
            <a:xfrm>
              <a:off x="6292987" y="5144952"/>
              <a:ext cx="327878" cy="199399"/>
              <a:chOff x="3575095" y="4405139"/>
              <a:chExt cx="746896" cy="470044"/>
            </a:xfrm>
          </p:grpSpPr>
          <p:sp>
            <p:nvSpPr>
              <p:cNvPr id="279" name="Line 123">
                <a:extLst>
                  <a:ext uri="{FF2B5EF4-FFF2-40B4-BE49-F238E27FC236}">
                    <a16:creationId xmlns:a16="http://schemas.microsoft.com/office/drawing/2014/main" id="{254F3C02-1B7F-A651-5A40-E72A2F44B0D1}"/>
                  </a:ext>
                </a:extLst>
              </p:cNvPr>
              <p:cNvSpPr>
                <a:spLocks noChangeShapeType="1"/>
              </p:cNvSpPr>
              <p:nvPr>
                <p:custDataLst>
                  <p:tags r:id="rId6"/>
                </p:custDataLst>
              </p:nvPr>
            </p:nvSpPr>
            <p:spPr bwMode="auto">
              <a:xfrm>
                <a:off x="3762470" y="4765664"/>
                <a:ext cx="461202"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pic>
            <p:nvPicPr>
              <p:cNvPr id="280" name="Picture 157" descr="G_SY02_XX_00193P">
                <a:extLst>
                  <a:ext uri="{FF2B5EF4-FFF2-40B4-BE49-F238E27FC236}">
                    <a16:creationId xmlns:a16="http://schemas.microsoft.com/office/drawing/2014/main" id="{3108E923-357A-129B-D0B5-B4A1F706E0A0}"/>
                  </a:ext>
                </a:extLst>
              </p:cNvPr>
              <p:cNvPicPr>
                <a:picLocks noChangeAspect="1" noChangeArrowheads="1"/>
              </p:cNvPicPr>
              <p:nvPr>
                <p:custDataLst>
                  <p:tags r:id="rId7"/>
                </p:custDataLst>
              </p:nvPr>
            </p:nvPicPr>
            <p:blipFill>
              <a:blip r:embed="rId22"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rot="10800000">
                <a:off x="3575095" y="4685694"/>
                <a:ext cx="457510" cy="189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14" descr="G_SY02_XX_00240P">
                <a:extLst>
                  <a:ext uri="{FF2B5EF4-FFF2-40B4-BE49-F238E27FC236}">
                    <a16:creationId xmlns:a16="http://schemas.microsoft.com/office/drawing/2014/main" id="{523AE14F-B38E-5E10-D697-16327DFEBBB1}"/>
                  </a:ext>
                </a:extLst>
              </p:cNvPr>
              <p:cNvPicPr>
                <a:picLocks noChangeAspect="1" noChangeArrowheads="1"/>
              </p:cNvPicPr>
              <p:nvPr/>
            </p:nvPicPr>
            <p:blipFill>
              <a:blip r:embed="rId2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4125352" y="4405139"/>
                <a:ext cx="196639" cy="422072"/>
              </a:xfrm>
              <a:prstGeom prst="rect">
                <a:avLst/>
              </a:prstGeom>
              <a:noFill/>
              <a:extLst>
                <a:ext uri="{909E8E84-426E-40DD-AFC4-6F175D3DCCD1}">
                  <a14:hiddenFill xmlns:a14="http://schemas.microsoft.com/office/drawing/2010/main">
                    <a:solidFill>
                      <a:srgbClr val="FFFFFF"/>
                    </a:solidFill>
                  </a14:hiddenFill>
                </a:ext>
              </a:extLst>
            </p:spPr>
          </p:pic>
        </p:grpSp>
        <p:pic>
          <p:nvPicPr>
            <p:cNvPr id="282" name="Picture 20" descr="G_SY02_XX_00277P">
              <a:extLst>
                <a:ext uri="{FF2B5EF4-FFF2-40B4-BE49-F238E27FC236}">
                  <a16:creationId xmlns:a16="http://schemas.microsoft.com/office/drawing/2014/main" id="{20A41366-F84F-5EFE-D0EC-D8CF958D5C66}"/>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877120" y="514775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3" name="Picture 20" descr="G_SY02_XX_00277P">
              <a:extLst>
                <a:ext uri="{FF2B5EF4-FFF2-40B4-BE49-F238E27FC236}">
                  <a16:creationId xmlns:a16="http://schemas.microsoft.com/office/drawing/2014/main" id="{B2E67A5B-8B07-2321-545C-7FEB06B3884C}"/>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972205" y="487813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4" name="Picture 20" descr="G_SY02_XX_00277P">
              <a:extLst>
                <a:ext uri="{FF2B5EF4-FFF2-40B4-BE49-F238E27FC236}">
                  <a16:creationId xmlns:a16="http://schemas.microsoft.com/office/drawing/2014/main" id="{F68B8F1F-C33E-2D5E-840A-1C0599C59F6B}"/>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978619" y="514775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5" name="Picture 20" descr="G_SY02_XX_00277P">
              <a:extLst>
                <a:ext uri="{FF2B5EF4-FFF2-40B4-BE49-F238E27FC236}">
                  <a16:creationId xmlns:a16="http://schemas.microsoft.com/office/drawing/2014/main" id="{B122617F-995C-1676-C229-FFF79F50072D}"/>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073703" y="487813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6" name="Picture 20" descr="G_SY02_XX_00277P">
              <a:extLst>
                <a:ext uri="{FF2B5EF4-FFF2-40B4-BE49-F238E27FC236}">
                  <a16:creationId xmlns:a16="http://schemas.microsoft.com/office/drawing/2014/main" id="{A291E672-6A24-36D9-7E42-613B84D83195}"/>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080117" y="514775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7" name="Picture 20" descr="G_SY02_XX_00277P">
              <a:extLst>
                <a:ext uri="{FF2B5EF4-FFF2-40B4-BE49-F238E27FC236}">
                  <a16:creationId xmlns:a16="http://schemas.microsoft.com/office/drawing/2014/main" id="{0559BE66-2BF2-A03C-AAD4-CBC770B84C70}"/>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175202" y="487813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0" descr="G_SY02_XX_00277P">
              <a:extLst>
                <a:ext uri="{FF2B5EF4-FFF2-40B4-BE49-F238E27FC236}">
                  <a16:creationId xmlns:a16="http://schemas.microsoft.com/office/drawing/2014/main" id="{E0D28105-07ED-6B9D-2074-C4659680760F}"/>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181616" y="514775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0" descr="G_SY02_XX_00277P">
              <a:extLst>
                <a:ext uri="{FF2B5EF4-FFF2-40B4-BE49-F238E27FC236}">
                  <a16:creationId xmlns:a16="http://schemas.microsoft.com/office/drawing/2014/main" id="{3DD98BE9-5FB6-F4E6-B6DC-E1221269B963}"/>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276699" y="487813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0" descr="G_SY02_XX_00277P">
              <a:extLst>
                <a:ext uri="{FF2B5EF4-FFF2-40B4-BE49-F238E27FC236}">
                  <a16:creationId xmlns:a16="http://schemas.microsoft.com/office/drawing/2014/main" id="{A3B88274-F5FB-CB5B-87A2-88569C4A840E}"/>
                </a:ext>
              </a:extLst>
            </p:cNvPr>
            <p:cNvPicPr>
              <a:picLocks noChangeAspect="1" noChangeArrowheads="1"/>
            </p:cNvPicPr>
            <p:nvPr/>
          </p:nvPicPr>
          <p:blipFill>
            <a:blip r:embed="rId18" cstate="emai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283113" y="5147752"/>
              <a:ext cx="5309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8" name="Picture 26" descr="G_SY02_XX_00280P">
              <a:extLst>
                <a:ext uri="{FF2B5EF4-FFF2-40B4-BE49-F238E27FC236}">
                  <a16:creationId xmlns:a16="http://schemas.microsoft.com/office/drawing/2014/main" id="{154E5002-14A2-948D-1491-B8B9367C90C6}"/>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782707" y="4862369"/>
              <a:ext cx="14505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89" name="Picture 26" descr="G_SY02_XX_00280P">
              <a:extLst>
                <a:ext uri="{FF2B5EF4-FFF2-40B4-BE49-F238E27FC236}">
                  <a16:creationId xmlns:a16="http://schemas.microsoft.com/office/drawing/2014/main" id="{E5BC4A5E-9D62-4612-EF9E-D1D65171E0D8}"/>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991578" y="4862369"/>
              <a:ext cx="14505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26" descr="G_SY02_XX_00280P">
              <a:extLst>
                <a:ext uri="{FF2B5EF4-FFF2-40B4-BE49-F238E27FC236}">
                  <a16:creationId xmlns:a16="http://schemas.microsoft.com/office/drawing/2014/main" id="{059AC7D0-B7C3-8931-BBC5-1200DC128037}"/>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8200450" y="4862369"/>
              <a:ext cx="14505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26" descr="G_SY02_XX_00280P">
              <a:extLst>
                <a:ext uri="{FF2B5EF4-FFF2-40B4-BE49-F238E27FC236}">
                  <a16:creationId xmlns:a16="http://schemas.microsoft.com/office/drawing/2014/main" id="{E3AFD87F-9C3A-A697-6709-138F33CB34AE}"/>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580218" y="5133230"/>
              <a:ext cx="14505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26" descr="G_SY02_XX_00280P">
              <a:extLst>
                <a:ext uri="{FF2B5EF4-FFF2-40B4-BE49-F238E27FC236}">
                  <a16:creationId xmlns:a16="http://schemas.microsoft.com/office/drawing/2014/main" id="{7AB2986E-6B4C-D8A7-7D8E-E386F71EDEE3}"/>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789089" y="5133230"/>
              <a:ext cx="14505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93" name="Picture 26" descr="G_SY02_XX_00280P">
              <a:extLst>
                <a:ext uri="{FF2B5EF4-FFF2-40B4-BE49-F238E27FC236}">
                  <a16:creationId xmlns:a16="http://schemas.microsoft.com/office/drawing/2014/main" id="{BE66273B-8B7F-643D-88FF-C8E2F25547F3}"/>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997961" y="5133230"/>
              <a:ext cx="145054" cy="240380"/>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26" descr="G_SY02_XX_00280P">
              <a:extLst>
                <a:ext uri="{FF2B5EF4-FFF2-40B4-BE49-F238E27FC236}">
                  <a16:creationId xmlns:a16="http://schemas.microsoft.com/office/drawing/2014/main" id="{7FCCEC23-E3AE-D8C2-B588-33C84BBD6148}"/>
                </a:ext>
              </a:extLst>
            </p:cNvPr>
            <p:cNvPicPr>
              <a:picLocks noChangeAspect="1" noChangeArrowheads="1"/>
            </p:cNvPicPr>
            <p:nvPr/>
          </p:nvPicPr>
          <p:blipFill>
            <a:blip r:embed="rId20" cstate="email">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8206832" y="5133230"/>
              <a:ext cx="145054" cy="24038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hteck 2">
            <a:extLst>
              <a:ext uri="{FF2B5EF4-FFF2-40B4-BE49-F238E27FC236}">
                <a16:creationId xmlns:a16="http://schemas.microsoft.com/office/drawing/2014/main" id="{F3008BF7-568E-CF9A-514A-863E0BC45318}"/>
              </a:ext>
            </a:extLst>
          </p:cNvPr>
          <p:cNvSpPr/>
          <p:nvPr/>
        </p:nvSpPr>
        <p:spPr>
          <a:xfrm>
            <a:off x="9406589" y="1497583"/>
            <a:ext cx="794787" cy="255155"/>
          </a:xfrm>
          <a:prstGeom prst="rect">
            <a:avLst/>
          </a:prstGeom>
          <a:noFill/>
        </p:spPr>
        <p:txBody>
          <a:bodyPr wrap="square" lIns="0" tIns="0" rIns="0" bIns="0" rtlCol="0" anchor="t">
            <a:noAutofit/>
          </a:bodyPr>
          <a:lstStyle/>
          <a:p>
            <a:pPr algn="l" defTabSz="913029" rtl="0">
              <a:spcBef>
                <a:spcPts val="300"/>
              </a:spcBef>
              <a:buClr>
                <a:srgbClr val="009999"/>
              </a:buClr>
            </a:pPr>
            <a:r>
              <a:rPr lang="en-US" sz="1200" i="1" kern="1200">
                <a:solidFill>
                  <a:srgbClr val="00BEDC"/>
                </a:solidFill>
                <a:latin typeface="Arial"/>
                <a:ea typeface="Arial Unicode MS"/>
              </a:rPr>
              <a:t>exemplary </a:t>
            </a:r>
            <a:endParaRPr lang="en-US" sz="1200" i="1" kern="1200">
              <a:solidFill>
                <a:srgbClr val="00BEDC"/>
              </a:solidFill>
              <a:latin typeface="Arial"/>
              <a:ea typeface="Arial Unicode MS" panose="020B0604020202020204" pitchFamily="34" charset="-128"/>
              <a:cs typeface="Arial"/>
            </a:endParaRPr>
          </a:p>
        </p:txBody>
      </p:sp>
      <p:sp>
        <p:nvSpPr>
          <p:cNvPr id="259" name="Rechteck 258">
            <a:extLst>
              <a:ext uri="{FF2B5EF4-FFF2-40B4-BE49-F238E27FC236}">
                <a16:creationId xmlns:a16="http://schemas.microsoft.com/office/drawing/2014/main" id="{FCCF34F1-5875-873E-C765-66826825C26B}"/>
              </a:ext>
            </a:extLst>
          </p:cNvPr>
          <p:cNvSpPr/>
          <p:nvPr/>
        </p:nvSpPr>
        <p:spPr>
          <a:xfrm>
            <a:off x="4070699" y="5281615"/>
            <a:ext cx="4140460" cy="317419"/>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61" name="TextBox 189">
            <a:extLst>
              <a:ext uri="{FF2B5EF4-FFF2-40B4-BE49-F238E27FC236}">
                <a16:creationId xmlns:a16="http://schemas.microsoft.com/office/drawing/2014/main" id="{B7AA2B18-26D4-EB15-8DAF-92797C35D856}"/>
              </a:ext>
            </a:extLst>
          </p:cNvPr>
          <p:cNvSpPr txBox="1"/>
          <p:nvPr/>
        </p:nvSpPr>
        <p:spPr>
          <a:xfrm>
            <a:off x="5195579" y="5325993"/>
            <a:ext cx="1808187" cy="215444"/>
          </a:xfrm>
          <a:prstGeom prst="rect">
            <a:avLst/>
          </a:prstGeom>
          <a:noFill/>
        </p:spPr>
        <p:txBody>
          <a:bodyPr wrap="none" lIns="0" tIns="0" rIns="0" bIns="0" rtlCol="0" anchor="t">
            <a:spAutoFit/>
          </a:bodyPr>
          <a:lstStyle/>
          <a:p>
            <a:pPr algn="ctr"/>
            <a:r>
              <a:rPr lang="en-US" sz="1400" b="1">
                <a:solidFill>
                  <a:schemeClr val="tx1"/>
                </a:solidFill>
              </a:rPr>
              <a:t>IT – OT convergence </a:t>
            </a:r>
          </a:p>
        </p:txBody>
      </p:sp>
      <p:grpSp>
        <p:nvGrpSpPr>
          <p:cNvPr id="54" name="Gruppieren 53">
            <a:extLst>
              <a:ext uri="{FF2B5EF4-FFF2-40B4-BE49-F238E27FC236}">
                <a16:creationId xmlns:a16="http://schemas.microsoft.com/office/drawing/2014/main" id="{44464A5A-7F51-7D77-D892-F8BF1F9C69D0}"/>
              </a:ext>
            </a:extLst>
          </p:cNvPr>
          <p:cNvGrpSpPr/>
          <p:nvPr/>
        </p:nvGrpSpPr>
        <p:grpSpPr>
          <a:xfrm>
            <a:off x="5315395" y="3521769"/>
            <a:ext cx="349756" cy="341862"/>
            <a:chOff x="584011" y="1297600"/>
            <a:chExt cx="1261927" cy="1265102"/>
          </a:xfrm>
          <a:solidFill>
            <a:schemeClr val="tx1"/>
          </a:solidFill>
        </p:grpSpPr>
        <p:sp>
          <p:nvSpPr>
            <p:cNvPr id="55" name="Sechseck 54">
              <a:extLst>
                <a:ext uri="{FF2B5EF4-FFF2-40B4-BE49-F238E27FC236}">
                  <a16:creationId xmlns:a16="http://schemas.microsoft.com/office/drawing/2014/main" id="{31672429-7425-37CB-D887-EC608BF27432}"/>
                </a:ext>
              </a:extLst>
            </p:cNvPr>
            <p:cNvSpPr>
              <a:spLocks noChangeAspect="1"/>
            </p:cNvSpPr>
            <p:nvPr/>
          </p:nvSpPr>
          <p:spPr bwMode="auto">
            <a:xfrm>
              <a:off x="977903" y="1725880"/>
              <a:ext cx="474268" cy="408541"/>
            </a:xfrm>
            <a:prstGeom prst="hexagon">
              <a:avLst/>
            </a:prstGeom>
            <a:grp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defRPr/>
              </a:pPr>
              <a:endParaRPr lang="en-US" sz="1199">
                <a:solidFill>
                  <a:schemeClr val="bg1">
                    <a:lumMod val="85000"/>
                    <a:lumOff val="15000"/>
                  </a:schemeClr>
                </a:solidFill>
                <a:latin typeface="Arial" pitchFamily="34" charset="0"/>
                <a:ea typeface="ＭＳ Ｐゴシック" charset="-128"/>
              </a:endParaRPr>
            </a:p>
          </p:txBody>
        </p:sp>
        <p:sp>
          <p:nvSpPr>
            <p:cNvPr id="60" name="Freeform 7">
              <a:extLst>
                <a:ext uri="{FF2B5EF4-FFF2-40B4-BE49-F238E27FC236}">
                  <a16:creationId xmlns:a16="http://schemas.microsoft.com/office/drawing/2014/main" id="{E2F3912C-9654-124B-00DC-1C23B7CA0C01}"/>
                </a:ext>
              </a:extLst>
            </p:cNvPr>
            <p:cNvSpPr>
              <a:spLocks noEditPoints="1"/>
            </p:cNvSpPr>
            <p:nvPr/>
          </p:nvSpPr>
          <p:spPr bwMode="auto">
            <a:xfrm>
              <a:off x="1091176" y="1836318"/>
              <a:ext cx="220100" cy="163870"/>
            </a:xfrm>
            <a:custGeom>
              <a:avLst/>
              <a:gdLst>
                <a:gd name="T0" fmla="*/ 612 w 975"/>
                <a:gd name="T1" fmla="*/ 0 h 726"/>
                <a:gd name="T2" fmla="*/ 430 w 975"/>
                <a:gd name="T3" fmla="*/ 0 h 726"/>
                <a:gd name="T4" fmla="*/ 430 w 975"/>
                <a:gd name="T5" fmla="*/ 114 h 726"/>
                <a:gd name="T6" fmla="*/ 136 w 975"/>
                <a:gd name="T7" fmla="*/ 114 h 726"/>
                <a:gd name="T8" fmla="*/ 136 w 975"/>
                <a:gd name="T9" fmla="*/ 295 h 726"/>
                <a:gd name="T10" fmla="*/ 0 w 975"/>
                <a:gd name="T11" fmla="*/ 295 h 726"/>
                <a:gd name="T12" fmla="*/ 0 w 975"/>
                <a:gd name="T13" fmla="*/ 431 h 726"/>
                <a:gd name="T14" fmla="*/ 136 w 975"/>
                <a:gd name="T15" fmla="*/ 431 h 726"/>
                <a:gd name="T16" fmla="*/ 136 w 975"/>
                <a:gd name="T17" fmla="*/ 613 h 726"/>
                <a:gd name="T18" fmla="*/ 385 w 975"/>
                <a:gd name="T19" fmla="*/ 613 h 726"/>
                <a:gd name="T20" fmla="*/ 385 w 975"/>
                <a:gd name="T21" fmla="*/ 658 h 726"/>
                <a:gd name="T22" fmla="*/ 294 w 975"/>
                <a:gd name="T23" fmla="*/ 658 h 726"/>
                <a:gd name="T24" fmla="*/ 294 w 975"/>
                <a:gd name="T25" fmla="*/ 726 h 726"/>
                <a:gd name="T26" fmla="*/ 748 w 975"/>
                <a:gd name="T27" fmla="*/ 726 h 726"/>
                <a:gd name="T28" fmla="*/ 748 w 975"/>
                <a:gd name="T29" fmla="*/ 658 h 726"/>
                <a:gd name="T30" fmla="*/ 657 w 975"/>
                <a:gd name="T31" fmla="*/ 658 h 726"/>
                <a:gd name="T32" fmla="*/ 657 w 975"/>
                <a:gd name="T33" fmla="*/ 613 h 726"/>
                <a:gd name="T34" fmla="*/ 771 w 975"/>
                <a:gd name="T35" fmla="*/ 613 h 726"/>
                <a:gd name="T36" fmla="*/ 771 w 975"/>
                <a:gd name="T37" fmla="*/ 114 h 726"/>
                <a:gd name="T38" fmla="*/ 612 w 975"/>
                <a:gd name="T39" fmla="*/ 114 h 726"/>
                <a:gd name="T40" fmla="*/ 612 w 975"/>
                <a:gd name="T41" fmla="*/ 0 h 726"/>
                <a:gd name="T42" fmla="*/ 658 w 975"/>
                <a:gd name="T43" fmla="*/ 499 h 726"/>
                <a:gd name="T44" fmla="*/ 204 w 975"/>
                <a:gd name="T45" fmla="*/ 499 h 726"/>
                <a:gd name="T46" fmla="*/ 204 w 975"/>
                <a:gd name="T47" fmla="*/ 431 h 726"/>
                <a:gd name="T48" fmla="*/ 658 w 975"/>
                <a:gd name="T49" fmla="*/ 431 h 726"/>
                <a:gd name="T50" fmla="*/ 658 w 975"/>
                <a:gd name="T51" fmla="*/ 499 h 726"/>
                <a:gd name="T52" fmla="*/ 658 w 975"/>
                <a:gd name="T53" fmla="*/ 386 h 726"/>
                <a:gd name="T54" fmla="*/ 204 w 975"/>
                <a:gd name="T55" fmla="*/ 386 h 726"/>
                <a:gd name="T56" fmla="*/ 204 w 975"/>
                <a:gd name="T57" fmla="*/ 318 h 726"/>
                <a:gd name="T58" fmla="*/ 658 w 975"/>
                <a:gd name="T59" fmla="*/ 318 h 726"/>
                <a:gd name="T60" fmla="*/ 658 w 975"/>
                <a:gd name="T61" fmla="*/ 386 h 726"/>
                <a:gd name="T62" fmla="*/ 658 w 975"/>
                <a:gd name="T63" fmla="*/ 204 h 726"/>
                <a:gd name="T64" fmla="*/ 658 w 975"/>
                <a:gd name="T65" fmla="*/ 272 h 726"/>
                <a:gd name="T66" fmla="*/ 204 w 975"/>
                <a:gd name="T67" fmla="*/ 272 h 726"/>
                <a:gd name="T68" fmla="*/ 204 w 975"/>
                <a:gd name="T69" fmla="*/ 204 h 726"/>
                <a:gd name="T70" fmla="*/ 658 w 975"/>
                <a:gd name="T71" fmla="*/ 204 h 726"/>
                <a:gd name="T72" fmla="*/ 975 w 975"/>
                <a:gd name="T73" fmla="*/ 204 h 726"/>
                <a:gd name="T74" fmla="*/ 975 w 975"/>
                <a:gd name="T75" fmla="*/ 522 h 726"/>
                <a:gd name="T76" fmla="*/ 884 w 975"/>
                <a:gd name="T77" fmla="*/ 613 h 726"/>
                <a:gd name="T78" fmla="*/ 816 w 975"/>
                <a:gd name="T79" fmla="*/ 613 h 726"/>
                <a:gd name="T80" fmla="*/ 816 w 975"/>
                <a:gd name="T81" fmla="*/ 114 h 726"/>
                <a:gd name="T82" fmla="*/ 884 w 975"/>
                <a:gd name="T83" fmla="*/ 114 h 726"/>
                <a:gd name="T84" fmla="*/ 975 w 975"/>
                <a:gd name="T85" fmla="*/ 20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5" h="726">
                  <a:moveTo>
                    <a:pt x="612" y="0"/>
                  </a:moveTo>
                  <a:cubicBezTo>
                    <a:pt x="430" y="0"/>
                    <a:pt x="430" y="0"/>
                    <a:pt x="430" y="0"/>
                  </a:cubicBezTo>
                  <a:cubicBezTo>
                    <a:pt x="430" y="114"/>
                    <a:pt x="430" y="114"/>
                    <a:pt x="430" y="114"/>
                  </a:cubicBezTo>
                  <a:cubicBezTo>
                    <a:pt x="136" y="114"/>
                    <a:pt x="136" y="114"/>
                    <a:pt x="136" y="114"/>
                  </a:cubicBezTo>
                  <a:cubicBezTo>
                    <a:pt x="136" y="295"/>
                    <a:pt x="136" y="295"/>
                    <a:pt x="136" y="295"/>
                  </a:cubicBezTo>
                  <a:cubicBezTo>
                    <a:pt x="0" y="295"/>
                    <a:pt x="0" y="295"/>
                    <a:pt x="0" y="295"/>
                  </a:cubicBezTo>
                  <a:cubicBezTo>
                    <a:pt x="0" y="431"/>
                    <a:pt x="0" y="431"/>
                    <a:pt x="0" y="431"/>
                  </a:cubicBezTo>
                  <a:cubicBezTo>
                    <a:pt x="136" y="431"/>
                    <a:pt x="136" y="431"/>
                    <a:pt x="136" y="431"/>
                  </a:cubicBezTo>
                  <a:cubicBezTo>
                    <a:pt x="136" y="613"/>
                    <a:pt x="136" y="613"/>
                    <a:pt x="136" y="613"/>
                  </a:cubicBezTo>
                  <a:cubicBezTo>
                    <a:pt x="385" y="613"/>
                    <a:pt x="385" y="613"/>
                    <a:pt x="385" y="613"/>
                  </a:cubicBezTo>
                  <a:cubicBezTo>
                    <a:pt x="385" y="658"/>
                    <a:pt x="385" y="658"/>
                    <a:pt x="385" y="658"/>
                  </a:cubicBezTo>
                  <a:cubicBezTo>
                    <a:pt x="294" y="658"/>
                    <a:pt x="294" y="658"/>
                    <a:pt x="294" y="658"/>
                  </a:cubicBezTo>
                  <a:cubicBezTo>
                    <a:pt x="294" y="726"/>
                    <a:pt x="294" y="726"/>
                    <a:pt x="294" y="726"/>
                  </a:cubicBezTo>
                  <a:cubicBezTo>
                    <a:pt x="748" y="726"/>
                    <a:pt x="748" y="726"/>
                    <a:pt x="748" y="726"/>
                  </a:cubicBezTo>
                  <a:cubicBezTo>
                    <a:pt x="748" y="658"/>
                    <a:pt x="748" y="658"/>
                    <a:pt x="748" y="658"/>
                  </a:cubicBezTo>
                  <a:cubicBezTo>
                    <a:pt x="657" y="658"/>
                    <a:pt x="657" y="658"/>
                    <a:pt x="657" y="658"/>
                  </a:cubicBezTo>
                  <a:cubicBezTo>
                    <a:pt x="657" y="613"/>
                    <a:pt x="657" y="613"/>
                    <a:pt x="657" y="613"/>
                  </a:cubicBezTo>
                  <a:cubicBezTo>
                    <a:pt x="771" y="613"/>
                    <a:pt x="771" y="613"/>
                    <a:pt x="771" y="613"/>
                  </a:cubicBezTo>
                  <a:cubicBezTo>
                    <a:pt x="771" y="114"/>
                    <a:pt x="771" y="114"/>
                    <a:pt x="771" y="114"/>
                  </a:cubicBezTo>
                  <a:cubicBezTo>
                    <a:pt x="612" y="114"/>
                    <a:pt x="612" y="114"/>
                    <a:pt x="612" y="114"/>
                  </a:cubicBezTo>
                  <a:lnTo>
                    <a:pt x="612" y="0"/>
                  </a:lnTo>
                  <a:close/>
                  <a:moveTo>
                    <a:pt x="658" y="499"/>
                  </a:moveTo>
                  <a:cubicBezTo>
                    <a:pt x="204" y="499"/>
                    <a:pt x="204" y="499"/>
                    <a:pt x="204" y="499"/>
                  </a:cubicBezTo>
                  <a:cubicBezTo>
                    <a:pt x="204" y="431"/>
                    <a:pt x="204" y="431"/>
                    <a:pt x="204" y="431"/>
                  </a:cubicBezTo>
                  <a:cubicBezTo>
                    <a:pt x="658" y="431"/>
                    <a:pt x="658" y="431"/>
                    <a:pt x="658" y="431"/>
                  </a:cubicBezTo>
                  <a:lnTo>
                    <a:pt x="658" y="499"/>
                  </a:lnTo>
                  <a:close/>
                  <a:moveTo>
                    <a:pt x="658" y="386"/>
                  </a:moveTo>
                  <a:cubicBezTo>
                    <a:pt x="204" y="386"/>
                    <a:pt x="204" y="386"/>
                    <a:pt x="204" y="386"/>
                  </a:cubicBezTo>
                  <a:cubicBezTo>
                    <a:pt x="204" y="318"/>
                    <a:pt x="204" y="318"/>
                    <a:pt x="204" y="318"/>
                  </a:cubicBezTo>
                  <a:cubicBezTo>
                    <a:pt x="658" y="318"/>
                    <a:pt x="658" y="318"/>
                    <a:pt x="658" y="318"/>
                  </a:cubicBezTo>
                  <a:lnTo>
                    <a:pt x="658" y="386"/>
                  </a:lnTo>
                  <a:close/>
                  <a:moveTo>
                    <a:pt x="658" y="204"/>
                  </a:moveTo>
                  <a:cubicBezTo>
                    <a:pt x="658" y="272"/>
                    <a:pt x="658" y="272"/>
                    <a:pt x="658" y="272"/>
                  </a:cubicBezTo>
                  <a:cubicBezTo>
                    <a:pt x="204" y="272"/>
                    <a:pt x="204" y="272"/>
                    <a:pt x="204" y="272"/>
                  </a:cubicBezTo>
                  <a:cubicBezTo>
                    <a:pt x="204" y="204"/>
                    <a:pt x="204" y="204"/>
                    <a:pt x="204" y="204"/>
                  </a:cubicBezTo>
                  <a:lnTo>
                    <a:pt x="658" y="204"/>
                  </a:lnTo>
                  <a:close/>
                  <a:moveTo>
                    <a:pt x="975" y="204"/>
                  </a:moveTo>
                  <a:cubicBezTo>
                    <a:pt x="975" y="522"/>
                    <a:pt x="975" y="522"/>
                    <a:pt x="975" y="522"/>
                  </a:cubicBezTo>
                  <a:cubicBezTo>
                    <a:pt x="975" y="572"/>
                    <a:pt x="934" y="613"/>
                    <a:pt x="884" y="613"/>
                  </a:cubicBezTo>
                  <a:cubicBezTo>
                    <a:pt x="816" y="613"/>
                    <a:pt x="816" y="613"/>
                    <a:pt x="816" y="613"/>
                  </a:cubicBezTo>
                  <a:cubicBezTo>
                    <a:pt x="816" y="114"/>
                    <a:pt x="816" y="114"/>
                    <a:pt x="816" y="114"/>
                  </a:cubicBezTo>
                  <a:cubicBezTo>
                    <a:pt x="884" y="114"/>
                    <a:pt x="884" y="114"/>
                    <a:pt x="884" y="114"/>
                  </a:cubicBezTo>
                  <a:cubicBezTo>
                    <a:pt x="934" y="114"/>
                    <a:pt x="975" y="154"/>
                    <a:pt x="975" y="204"/>
                  </a:cubicBez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199">
                <a:solidFill>
                  <a:schemeClr val="bg1">
                    <a:lumMod val="85000"/>
                    <a:lumOff val="15000"/>
                  </a:schemeClr>
                </a:solidFill>
                <a:latin typeface="Arial" pitchFamily="34" charset="0"/>
                <a:ea typeface="ＭＳ Ｐゴシック" charset="-128"/>
              </a:endParaRPr>
            </a:p>
          </p:txBody>
        </p:sp>
        <p:sp>
          <p:nvSpPr>
            <p:cNvPr id="61" name="Sechseck 60">
              <a:extLst>
                <a:ext uri="{FF2B5EF4-FFF2-40B4-BE49-F238E27FC236}">
                  <a16:creationId xmlns:a16="http://schemas.microsoft.com/office/drawing/2014/main" id="{0A7021D0-6331-58F5-08BA-8D81903BED01}"/>
                </a:ext>
              </a:extLst>
            </p:cNvPr>
            <p:cNvSpPr>
              <a:spLocks noChangeAspect="1"/>
            </p:cNvSpPr>
            <p:nvPr/>
          </p:nvSpPr>
          <p:spPr bwMode="auto">
            <a:xfrm>
              <a:off x="977903" y="1297600"/>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62" name="Sechseck 61">
              <a:extLst>
                <a:ext uri="{FF2B5EF4-FFF2-40B4-BE49-F238E27FC236}">
                  <a16:creationId xmlns:a16="http://schemas.microsoft.com/office/drawing/2014/main" id="{54E296AC-C257-8751-646F-AD764FB0D553}"/>
                </a:ext>
              </a:extLst>
            </p:cNvPr>
            <p:cNvSpPr>
              <a:spLocks noChangeAspect="1"/>
            </p:cNvSpPr>
            <p:nvPr/>
          </p:nvSpPr>
          <p:spPr bwMode="auto">
            <a:xfrm>
              <a:off x="977903" y="2154161"/>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297" name="Sechseck 296">
              <a:extLst>
                <a:ext uri="{FF2B5EF4-FFF2-40B4-BE49-F238E27FC236}">
                  <a16:creationId xmlns:a16="http://schemas.microsoft.com/office/drawing/2014/main" id="{54124D87-CFA5-E59A-D834-3E918FBDD033}"/>
                </a:ext>
              </a:extLst>
            </p:cNvPr>
            <p:cNvSpPr>
              <a:spLocks noChangeAspect="1"/>
            </p:cNvSpPr>
            <p:nvPr/>
          </p:nvSpPr>
          <p:spPr bwMode="auto">
            <a:xfrm>
              <a:off x="1371670" y="1512215"/>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298" name="Sechseck 297">
              <a:extLst>
                <a:ext uri="{FF2B5EF4-FFF2-40B4-BE49-F238E27FC236}">
                  <a16:creationId xmlns:a16="http://schemas.microsoft.com/office/drawing/2014/main" id="{D89F91EB-DBC6-1472-D1B8-D84684F9BA51}"/>
                </a:ext>
              </a:extLst>
            </p:cNvPr>
            <p:cNvSpPr>
              <a:spLocks noChangeAspect="1"/>
            </p:cNvSpPr>
            <p:nvPr/>
          </p:nvSpPr>
          <p:spPr bwMode="auto">
            <a:xfrm>
              <a:off x="1370503" y="1942673"/>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299" name="Sechseck 298">
              <a:extLst>
                <a:ext uri="{FF2B5EF4-FFF2-40B4-BE49-F238E27FC236}">
                  <a16:creationId xmlns:a16="http://schemas.microsoft.com/office/drawing/2014/main" id="{379E211A-0B39-BEC0-021A-9F7CF21C0AA3}"/>
                </a:ext>
              </a:extLst>
            </p:cNvPr>
            <p:cNvSpPr>
              <a:spLocks noChangeAspect="1"/>
            </p:cNvSpPr>
            <p:nvPr/>
          </p:nvSpPr>
          <p:spPr bwMode="auto">
            <a:xfrm>
              <a:off x="584011" y="1512215"/>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300" name="Sechseck 299">
              <a:extLst>
                <a:ext uri="{FF2B5EF4-FFF2-40B4-BE49-F238E27FC236}">
                  <a16:creationId xmlns:a16="http://schemas.microsoft.com/office/drawing/2014/main" id="{8922532D-FBAA-F5D2-7798-2E0198FB968F}"/>
                </a:ext>
              </a:extLst>
            </p:cNvPr>
            <p:cNvSpPr>
              <a:spLocks noChangeAspect="1"/>
            </p:cNvSpPr>
            <p:nvPr/>
          </p:nvSpPr>
          <p:spPr bwMode="auto">
            <a:xfrm>
              <a:off x="584011" y="1942673"/>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grpSp>
          <p:nvGrpSpPr>
            <p:cNvPr id="301" name="Gruppieren 300">
              <a:extLst>
                <a:ext uri="{FF2B5EF4-FFF2-40B4-BE49-F238E27FC236}">
                  <a16:creationId xmlns:a16="http://schemas.microsoft.com/office/drawing/2014/main" id="{5FD627D0-427C-FBE6-749E-0331BC992B85}"/>
                </a:ext>
              </a:extLst>
            </p:cNvPr>
            <p:cNvGrpSpPr/>
            <p:nvPr/>
          </p:nvGrpSpPr>
          <p:grpSpPr>
            <a:xfrm>
              <a:off x="1096632" y="1406839"/>
              <a:ext cx="236810" cy="190062"/>
              <a:chOff x="1096691" y="1409565"/>
              <a:chExt cx="236810" cy="190062"/>
            </a:xfrm>
            <a:grpFill/>
          </p:grpSpPr>
          <p:sp>
            <p:nvSpPr>
              <p:cNvPr id="307" name="Freeform 28">
                <a:extLst>
                  <a:ext uri="{FF2B5EF4-FFF2-40B4-BE49-F238E27FC236}">
                    <a16:creationId xmlns:a16="http://schemas.microsoft.com/office/drawing/2014/main" id="{FDAF5E84-9262-8F9F-D8F5-06095730F261}"/>
                  </a:ext>
                </a:extLst>
              </p:cNvPr>
              <p:cNvSpPr>
                <a:spLocks/>
              </p:cNvSpPr>
              <p:nvPr/>
            </p:nvSpPr>
            <p:spPr bwMode="auto">
              <a:xfrm>
                <a:off x="1145318" y="1442095"/>
                <a:ext cx="139557" cy="91347"/>
              </a:xfrm>
              <a:custGeom>
                <a:avLst/>
                <a:gdLst>
                  <a:gd name="T0" fmla="*/ 496 w 545"/>
                  <a:gd name="T1" fmla="*/ 166 h 357"/>
                  <a:gd name="T2" fmla="*/ 278 w 545"/>
                  <a:gd name="T3" fmla="*/ 166 h 357"/>
                  <a:gd name="T4" fmla="*/ 278 w 545"/>
                  <a:gd name="T5" fmla="*/ 128 h 357"/>
                  <a:gd name="T6" fmla="*/ 330 w 545"/>
                  <a:gd name="T7" fmla="*/ 128 h 357"/>
                  <a:gd name="T8" fmla="*/ 330 w 545"/>
                  <a:gd name="T9" fmla="*/ 0 h 357"/>
                  <a:gd name="T10" fmla="*/ 203 w 545"/>
                  <a:gd name="T11" fmla="*/ 0 h 357"/>
                  <a:gd name="T12" fmla="*/ 203 w 545"/>
                  <a:gd name="T13" fmla="*/ 128 h 357"/>
                  <a:gd name="T14" fmla="*/ 252 w 545"/>
                  <a:gd name="T15" fmla="*/ 128 h 357"/>
                  <a:gd name="T16" fmla="*/ 252 w 545"/>
                  <a:gd name="T17" fmla="*/ 166 h 357"/>
                  <a:gd name="T18" fmla="*/ 49 w 545"/>
                  <a:gd name="T19" fmla="*/ 166 h 357"/>
                  <a:gd name="T20" fmla="*/ 49 w 545"/>
                  <a:gd name="T21" fmla="*/ 230 h 357"/>
                  <a:gd name="T22" fmla="*/ 0 w 545"/>
                  <a:gd name="T23" fmla="*/ 230 h 357"/>
                  <a:gd name="T24" fmla="*/ 0 w 545"/>
                  <a:gd name="T25" fmla="*/ 357 h 357"/>
                  <a:gd name="T26" fmla="*/ 127 w 545"/>
                  <a:gd name="T27" fmla="*/ 357 h 357"/>
                  <a:gd name="T28" fmla="*/ 127 w 545"/>
                  <a:gd name="T29" fmla="*/ 230 h 357"/>
                  <a:gd name="T30" fmla="*/ 75 w 545"/>
                  <a:gd name="T31" fmla="*/ 230 h 357"/>
                  <a:gd name="T32" fmla="*/ 75 w 545"/>
                  <a:gd name="T33" fmla="*/ 192 h 357"/>
                  <a:gd name="T34" fmla="*/ 252 w 545"/>
                  <a:gd name="T35" fmla="*/ 192 h 357"/>
                  <a:gd name="T36" fmla="*/ 252 w 545"/>
                  <a:gd name="T37" fmla="*/ 230 h 357"/>
                  <a:gd name="T38" fmla="*/ 203 w 545"/>
                  <a:gd name="T39" fmla="*/ 230 h 357"/>
                  <a:gd name="T40" fmla="*/ 203 w 545"/>
                  <a:gd name="T41" fmla="*/ 357 h 357"/>
                  <a:gd name="T42" fmla="*/ 330 w 545"/>
                  <a:gd name="T43" fmla="*/ 357 h 357"/>
                  <a:gd name="T44" fmla="*/ 330 w 545"/>
                  <a:gd name="T45" fmla="*/ 230 h 357"/>
                  <a:gd name="T46" fmla="*/ 278 w 545"/>
                  <a:gd name="T47" fmla="*/ 230 h 357"/>
                  <a:gd name="T48" fmla="*/ 278 w 545"/>
                  <a:gd name="T49" fmla="*/ 192 h 357"/>
                  <a:gd name="T50" fmla="*/ 470 w 545"/>
                  <a:gd name="T51" fmla="*/ 192 h 357"/>
                  <a:gd name="T52" fmla="*/ 470 w 545"/>
                  <a:gd name="T53" fmla="*/ 230 h 357"/>
                  <a:gd name="T54" fmla="*/ 418 w 545"/>
                  <a:gd name="T55" fmla="*/ 230 h 357"/>
                  <a:gd name="T56" fmla="*/ 418 w 545"/>
                  <a:gd name="T57" fmla="*/ 357 h 357"/>
                  <a:gd name="T58" fmla="*/ 545 w 545"/>
                  <a:gd name="T59" fmla="*/ 357 h 357"/>
                  <a:gd name="T60" fmla="*/ 545 w 545"/>
                  <a:gd name="T61" fmla="*/ 230 h 357"/>
                  <a:gd name="T62" fmla="*/ 496 w 545"/>
                  <a:gd name="T63" fmla="*/ 230 h 357"/>
                  <a:gd name="T64" fmla="*/ 496 w 545"/>
                  <a:gd name="T65" fmla="*/ 16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5" h="357">
                    <a:moveTo>
                      <a:pt x="496" y="166"/>
                    </a:moveTo>
                    <a:lnTo>
                      <a:pt x="278" y="166"/>
                    </a:lnTo>
                    <a:lnTo>
                      <a:pt x="278" y="128"/>
                    </a:lnTo>
                    <a:lnTo>
                      <a:pt x="330" y="128"/>
                    </a:lnTo>
                    <a:lnTo>
                      <a:pt x="330" y="0"/>
                    </a:lnTo>
                    <a:lnTo>
                      <a:pt x="203" y="0"/>
                    </a:lnTo>
                    <a:lnTo>
                      <a:pt x="203" y="128"/>
                    </a:lnTo>
                    <a:lnTo>
                      <a:pt x="252" y="128"/>
                    </a:lnTo>
                    <a:lnTo>
                      <a:pt x="252" y="166"/>
                    </a:lnTo>
                    <a:lnTo>
                      <a:pt x="49" y="166"/>
                    </a:lnTo>
                    <a:lnTo>
                      <a:pt x="49" y="230"/>
                    </a:lnTo>
                    <a:lnTo>
                      <a:pt x="0" y="230"/>
                    </a:lnTo>
                    <a:lnTo>
                      <a:pt x="0" y="357"/>
                    </a:lnTo>
                    <a:lnTo>
                      <a:pt x="127" y="357"/>
                    </a:lnTo>
                    <a:lnTo>
                      <a:pt x="127" y="230"/>
                    </a:lnTo>
                    <a:lnTo>
                      <a:pt x="75" y="230"/>
                    </a:lnTo>
                    <a:lnTo>
                      <a:pt x="75" y="192"/>
                    </a:lnTo>
                    <a:lnTo>
                      <a:pt x="252" y="192"/>
                    </a:lnTo>
                    <a:lnTo>
                      <a:pt x="252" y="230"/>
                    </a:lnTo>
                    <a:lnTo>
                      <a:pt x="203" y="230"/>
                    </a:lnTo>
                    <a:lnTo>
                      <a:pt x="203" y="357"/>
                    </a:lnTo>
                    <a:lnTo>
                      <a:pt x="330" y="357"/>
                    </a:lnTo>
                    <a:lnTo>
                      <a:pt x="330" y="230"/>
                    </a:lnTo>
                    <a:lnTo>
                      <a:pt x="278" y="230"/>
                    </a:lnTo>
                    <a:lnTo>
                      <a:pt x="278" y="192"/>
                    </a:lnTo>
                    <a:lnTo>
                      <a:pt x="470" y="192"/>
                    </a:lnTo>
                    <a:lnTo>
                      <a:pt x="470" y="230"/>
                    </a:lnTo>
                    <a:lnTo>
                      <a:pt x="418" y="230"/>
                    </a:lnTo>
                    <a:lnTo>
                      <a:pt x="418" y="357"/>
                    </a:lnTo>
                    <a:lnTo>
                      <a:pt x="545" y="357"/>
                    </a:lnTo>
                    <a:lnTo>
                      <a:pt x="545" y="230"/>
                    </a:lnTo>
                    <a:lnTo>
                      <a:pt x="496" y="230"/>
                    </a:lnTo>
                    <a:lnTo>
                      <a:pt x="496"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308" name="Freeform 29">
                <a:extLst>
                  <a:ext uri="{FF2B5EF4-FFF2-40B4-BE49-F238E27FC236}">
                    <a16:creationId xmlns:a16="http://schemas.microsoft.com/office/drawing/2014/main" id="{547B21C4-739E-5038-B95D-0BF2F1BA1771}"/>
                  </a:ext>
                </a:extLst>
              </p:cNvPr>
              <p:cNvSpPr>
                <a:spLocks noEditPoints="1"/>
              </p:cNvSpPr>
              <p:nvPr/>
            </p:nvSpPr>
            <p:spPr bwMode="auto">
              <a:xfrm>
                <a:off x="1096691" y="1409565"/>
                <a:ext cx="236810" cy="190062"/>
              </a:xfrm>
              <a:custGeom>
                <a:avLst/>
                <a:gdLst>
                  <a:gd name="T0" fmla="*/ 31 w 1123"/>
                  <a:gd name="T1" fmla="*/ 2 h 902"/>
                  <a:gd name="T2" fmla="*/ 22 w 1123"/>
                  <a:gd name="T3" fmla="*/ 7 h 902"/>
                  <a:gd name="T4" fmla="*/ 15 w 1123"/>
                  <a:gd name="T5" fmla="*/ 14 h 902"/>
                  <a:gd name="T6" fmla="*/ 10 w 1123"/>
                  <a:gd name="T7" fmla="*/ 24 h 902"/>
                  <a:gd name="T8" fmla="*/ 5 w 1123"/>
                  <a:gd name="T9" fmla="*/ 31 h 902"/>
                  <a:gd name="T10" fmla="*/ 0 w 1123"/>
                  <a:gd name="T11" fmla="*/ 43 h 902"/>
                  <a:gd name="T12" fmla="*/ 0 w 1123"/>
                  <a:gd name="T13" fmla="*/ 52 h 902"/>
                  <a:gd name="T14" fmla="*/ 0 w 1123"/>
                  <a:gd name="T15" fmla="*/ 685 h 902"/>
                  <a:gd name="T16" fmla="*/ 0 w 1123"/>
                  <a:gd name="T17" fmla="*/ 694 h 902"/>
                  <a:gd name="T18" fmla="*/ 5 w 1123"/>
                  <a:gd name="T19" fmla="*/ 706 h 902"/>
                  <a:gd name="T20" fmla="*/ 10 w 1123"/>
                  <a:gd name="T21" fmla="*/ 716 h 902"/>
                  <a:gd name="T22" fmla="*/ 15 w 1123"/>
                  <a:gd name="T23" fmla="*/ 725 h 902"/>
                  <a:gd name="T24" fmla="*/ 22 w 1123"/>
                  <a:gd name="T25" fmla="*/ 730 h 902"/>
                  <a:gd name="T26" fmla="*/ 31 w 1123"/>
                  <a:gd name="T27" fmla="*/ 737 h 902"/>
                  <a:gd name="T28" fmla="*/ 43 w 1123"/>
                  <a:gd name="T29" fmla="*/ 739 h 902"/>
                  <a:gd name="T30" fmla="*/ 55 w 1123"/>
                  <a:gd name="T31" fmla="*/ 739 h 902"/>
                  <a:gd name="T32" fmla="*/ 466 w 1123"/>
                  <a:gd name="T33" fmla="*/ 739 h 902"/>
                  <a:gd name="T34" fmla="*/ 466 w 1123"/>
                  <a:gd name="T35" fmla="*/ 848 h 902"/>
                  <a:gd name="T36" fmla="*/ 329 w 1123"/>
                  <a:gd name="T37" fmla="*/ 848 h 902"/>
                  <a:gd name="T38" fmla="*/ 329 w 1123"/>
                  <a:gd name="T39" fmla="*/ 902 h 902"/>
                  <a:gd name="T40" fmla="*/ 794 w 1123"/>
                  <a:gd name="T41" fmla="*/ 902 h 902"/>
                  <a:gd name="T42" fmla="*/ 794 w 1123"/>
                  <a:gd name="T43" fmla="*/ 848 h 902"/>
                  <a:gd name="T44" fmla="*/ 657 w 1123"/>
                  <a:gd name="T45" fmla="*/ 848 h 902"/>
                  <a:gd name="T46" fmla="*/ 657 w 1123"/>
                  <a:gd name="T47" fmla="*/ 739 h 902"/>
                  <a:gd name="T48" fmla="*/ 1071 w 1123"/>
                  <a:gd name="T49" fmla="*/ 739 h 902"/>
                  <a:gd name="T50" fmla="*/ 1080 w 1123"/>
                  <a:gd name="T51" fmla="*/ 739 h 902"/>
                  <a:gd name="T52" fmla="*/ 1092 w 1123"/>
                  <a:gd name="T53" fmla="*/ 737 h 902"/>
                  <a:gd name="T54" fmla="*/ 1099 w 1123"/>
                  <a:gd name="T55" fmla="*/ 730 h 902"/>
                  <a:gd name="T56" fmla="*/ 1108 w 1123"/>
                  <a:gd name="T57" fmla="*/ 725 h 902"/>
                  <a:gd name="T58" fmla="*/ 1116 w 1123"/>
                  <a:gd name="T59" fmla="*/ 716 h 902"/>
                  <a:gd name="T60" fmla="*/ 1120 w 1123"/>
                  <a:gd name="T61" fmla="*/ 706 h 902"/>
                  <a:gd name="T62" fmla="*/ 1123 w 1123"/>
                  <a:gd name="T63" fmla="*/ 694 h 902"/>
                  <a:gd name="T64" fmla="*/ 1123 w 1123"/>
                  <a:gd name="T65" fmla="*/ 685 h 902"/>
                  <a:gd name="T66" fmla="*/ 1123 w 1123"/>
                  <a:gd name="T67" fmla="*/ 52 h 902"/>
                  <a:gd name="T68" fmla="*/ 1123 w 1123"/>
                  <a:gd name="T69" fmla="*/ 43 h 902"/>
                  <a:gd name="T70" fmla="*/ 1120 w 1123"/>
                  <a:gd name="T71" fmla="*/ 31 h 902"/>
                  <a:gd name="T72" fmla="*/ 1116 w 1123"/>
                  <a:gd name="T73" fmla="*/ 24 h 902"/>
                  <a:gd name="T74" fmla="*/ 1108 w 1123"/>
                  <a:gd name="T75" fmla="*/ 14 h 902"/>
                  <a:gd name="T76" fmla="*/ 1099 w 1123"/>
                  <a:gd name="T77" fmla="*/ 7 h 902"/>
                  <a:gd name="T78" fmla="*/ 1092 w 1123"/>
                  <a:gd name="T79" fmla="*/ 2 h 902"/>
                  <a:gd name="T80" fmla="*/ 1080 w 1123"/>
                  <a:gd name="T81" fmla="*/ 0 h 902"/>
                  <a:gd name="T82" fmla="*/ 43 w 1123"/>
                  <a:gd name="T83" fmla="*/ 0 h 902"/>
                  <a:gd name="T84" fmla="*/ 31 w 1123"/>
                  <a:gd name="T85" fmla="*/ 2 h 902"/>
                  <a:gd name="T86" fmla="*/ 55 w 1123"/>
                  <a:gd name="T87" fmla="*/ 52 h 902"/>
                  <a:gd name="T88" fmla="*/ 1071 w 1123"/>
                  <a:gd name="T89" fmla="*/ 52 h 902"/>
                  <a:gd name="T90" fmla="*/ 1071 w 1123"/>
                  <a:gd name="T91" fmla="*/ 685 h 902"/>
                  <a:gd name="T92" fmla="*/ 55 w 1123"/>
                  <a:gd name="T93" fmla="*/ 685 h 902"/>
                  <a:gd name="T94" fmla="*/ 55 w 1123"/>
                  <a:gd name="T95" fmla="*/ 5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3" h="902">
                    <a:moveTo>
                      <a:pt x="31" y="2"/>
                    </a:moveTo>
                    <a:lnTo>
                      <a:pt x="22" y="7"/>
                    </a:lnTo>
                    <a:lnTo>
                      <a:pt x="15" y="14"/>
                    </a:lnTo>
                    <a:lnTo>
                      <a:pt x="10" y="24"/>
                    </a:lnTo>
                    <a:lnTo>
                      <a:pt x="5" y="31"/>
                    </a:lnTo>
                    <a:lnTo>
                      <a:pt x="0" y="43"/>
                    </a:lnTo>
                    <a:lnTo>
                      <a:pt x="0" y="52"/>
                    </a:lnTo>
                    <a:lnTo>
                      <a:pt x="0" y="685"/>
                    </a:lnTo>
                    <a:lnTo>
                      <a:pt x="0" y="694"/>
                    </a:lnTo>
                    <a:lnTo>
                      <a:pt x="5" y="706"/>
                    </a:lnTo>
                    <a:lnTo>
                      <a:pt x="10" y="716"/>
                    </a:lnTo>
                    <a:lnTo>
                      <a:pt x="15" y="725"/>
                    </a:lnTo>
                    <a:lnTo>
                      <a:pt x="22" y="730"/>
                    </a:lnTo>
                    <a:lnTo>
                      <a:pt x="31" y="737"/>
                    </a:lnTo>
                    <a:lnTo>
                      <a:pt x="43" y="739"/>
                    </a:lnTo>
                    <a:lnTo>
                      <a:pt x="55" y="739"/>
                    </a:lnTo>
                    <a:lnTo>
                      <a:pt x="466" y="739"/>
                    </a:lnTo>
                    <a:lnTo>
                      <a:pt x="466" y="848"/>
                    </a:lnTo>
                    <a:lnTo>
                      <a:pt x="329" y="848"/>
                    </a:lnTo>
                    <a:lnTo>
                      <a:pt x="329" y="902"/>
                    </a:lnTo>
                    <a:lnTo>
                      <a:pt x="794" y="902"/>
                    </a:lnTo>
                    <a:lnTo>
                      <a:pt x="794" y="848"/>
                    </a:lnTo>
                    <a:lnTo>
                      <a:pt x="657" y="848"/>
                    </a:lnTo>
                    <a:lnTo>
                      <a:pt x="657" y="739"/>
                    </a:lnTo>
                    <a:lnTo>
                      <a:pt x="1071" y="739"/>
                    </a:lnTo>
                    <a:lnTo>
                      <a:pt x="1080" y="739"/>
                    </a:lnTo>
                    <a:lnTo>
                      <a:pt x="1092" y="737"/>
                    </a:lnTo>
                    <a:lnTo>
                      <a:pt x="1099" y="730"/>
                    </a:lnTo>
                    <a:lnTo>
                      <a:pt x="1108" y="725"/>
                    </a:lnTo>
                    <a:lnTo>
                      <a:pt x="1116" y="716"/>
                    </a:lnTo>
                    <a:lnTo>
                      <a:pt x="1120" y="706"/>
                    </a:lnTo>
                    <a:lnTo>
                      <a:pt x="1123" y="694"/>
                    </a:lnTo>
                    <a:lnTo>
                      <a:pt x="1123" y="685"/>
                    </a:lnTo>
                    <a:lnTo>
                      <a:pt x="1123" y="52"/>
                    </a:lnTo>
                    <a:lnTo>
                      <a:pt x="1123" y="43"/>
                    </a:lnTo>
                    <a:lnTo>
                      <a:pt x="1120" y="31"/>
                    </a:lnTo>
                    <a:lnTo>
                      <a:pt x="1116" y="24"/>
                    </a:lnTo>
                    <a:lnTo>
                      <a:pt x="1108" y="14"/>
                    </a:lnTo>
                    <a:lnTo>
                      <a:pt x="1099" y="7"/>
                    </a:lnTo>
                    <a:lnTo>
                      <a:pt x="1092" y="2"/>
                    </a:lnTo>
                    <a:lnTo>
                      <a:pt x="1080" y="0"/>
                    </a:lnTo>
                    <a:lnTo>
                      <a:pt x="43" y="0"/>
                    </a:lnTo>
                    <a:lnTo>
                      <a:pt x="31" y="2"/>
                    </a:lnTo>
                    <a:close/>
                    <a:moveTo>
                      <a:pt x="55" y="52"/>
                    </a:moveTo>
                    <a:lnTo>
                      <a:pt x="1071" y="52"/>
                    </a:lnTo>
                    <a:lnTo>
                      <a:pt x="1071" y="685"/>
                    </a:lnTo>
                    <a:lnTo>
                      <a:pt x="55" y="685"/>
                    </a:lnTo>
                    <a:lnTo>
                      <a:pt x="5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sp>
          <p:nvSpPr>
            <p:cNvPr id="302" name="SAGD, Siemens, Person, Figur, figure, mensch, human, menschen, humans, character, charakter, bildung, education, buch, lesen, book, read, reading">
              <a:extLst>
                <a:ext uri="{FF2B5EF4-FFF2-40B4-BE49-F238E27FC236}">
                  <a16:creationId xmlns:a16="http://schemas.microsoft.com/office/drawing/2014/main" id="{4EA09C93-8F57-B0EE-CF66-428781966752}"/>
                </a:ext>
              </a:extLst>
            </p:cNvPr>
            <p:cNvSpPr>
              <a:spLocks noEditPoints="1"/>
            </p:cNvSpPr>
            <p:nvPr/>
          </p:nvSpPr>
          <p:spPr bwMode="auto">
            <a:xfrm>
              <a:off x="1118674" y="2229421"/>
              <a:ext cx="189426" cy="250546"/>
            </a:xfrm>
            <a:custGeom>
              <a:avLst/>
              <a:gdLst>
                <a:gd name="T0" fmla="*/ 247 w 771"/>
                <a:gd name="T1" fmla="*/ 158 h 1019"/>
                <a:gd name="T2" fmla="*/ 386 w 771"/>
                <a:gd name="T3" fmla="*/ 0 h 1019"/>
                <a:gd name="T4" fmla="*/ 525 w 771"/>
                <a:gd name="T5" fmla="*/ 158 h 1019"/>
                <a:gd name="T6" fmla="*/ 386 w 771"/>
                <a:gd name="T7" fmla="*/ 317 h 1019"/>
                <a:gd name="T8" fmla="*/ 247 w 771"/>
                <a:gd name="T9" fmla="*/ 158 h 1019"/>
                <a:gd name="T10" fmla="*/ 385 w 771"/>
                <a:gd name="T11" fmla="*/ 526 h 1019"/>
                <a:gd name="T12" fmla="*/ 623 w 771"/>
                <a:gd name="T13" fmla="*/ 377 h 1019"/>
                <a:gd name="T14" fmla="*/ 586 w 771"/>
                <a:gd name="T15" fmla="*/ 368 h 1019"/>
                <a:gd name="T16" fmla="*/ 586 w 771"/>
                <a:gd name="T17" fmla="*/ 367 h 1019"/>
                <a:gd name="T18" fmla="*/ 485 w 771"/>
                <a:gd name="T19" fmla="*/ 360 h 1019"/>
                <a:gd name="T20" fmla="*/ 485 w 771"/>
                <a:gd name="T21" fmla="*/ 360 h 1019"/>
                <a:gd name="T22" fmla="*/ 484 w 771"/>
                <a:gd name="T23" fmla="*/ 360 h 1019"/>
                <a:gd name="T24" fmla="*/ 386 w 771"/>
                <a:gd name="T25" fmla="*/ 459 h 1019"/>
                <a:gd name="T26" fmla="*/ 386 w 771"/>
                <a:gd name="T27" fmla="*/ 459 h 1019"/>
                <a:gd name="T28" fmla="*/ 288 w 771"/>
                <a:gd name="T29" fmla="*/ 360 h 1019"/>
                <a:gd name="T30" fmla="*/ 288 w 771"/>
                <a:gd name="T31" fmla="*/ 360 h 1019"/>
                <a:gd name="T32" fmla="*/ 288 w 771"/>
                <a:gd name="T33" fmla="*/ 360 h 1019"/>
                <a:gd name="T34" fmla="*/ 186 w 771"/>
                <a:gd name="T35" fmla="*/ 367 h 1019"/>
                <a:gd name="T36" fmla="*/ 186 w 771"/>
                <a:gd name="T37" fmla="*/ 368 h 1019"/>
                <a:gd name="T38" fmla="*/ 148 w 771"/>
                <a:gd name="T39" fmla="*/ 378 h 1019"/>
                <a:gd name="T40" fmla="*/ 385 w 771"/>
                <a:gd name="T41" fmla="*/ 526 h 1019"/>
                <a:gd name="T42" fmla="*/ 771 w 771"/>
                <a:gd name="T43" fmla="*/ 622 h 1019"/>
                <a:gd name="T44" fmla="*/ 702 w 771"/>
                <a:gd name="T45" fmla="*/ 690 h 1019"/>
                <a:gd name="T46" fmla="*/ 702 w 771"/>
                <a:gd name="T47" fmla="*/ 821 h 1019"/>
                <a:gd name="T48" fmla="*/ 385 w 771"/>
                <a:gd name="T49" fmla="*/ 1019 h 1019"/>
                <a:gd name="T50" fmla="*/ 385 w 771"/>
                <a:gd name="T51" fmla="*/ 1019 h 1019"/>
                <a:gd name="T52" fmla="*/ 68 w 771"/>
                <a:gd name="T53" fmla="*/ 821 h 1019"/>
                <a:gd name="T54" fmla="*/ 68 w 771"/>
                <a:gd name="T55" fmla="*/ 690 h 1019"/>
                <a:gd name="T56" fmla="*/ 0 w 771"/>
                <a:gd name="T57" fmla="*/ 622 h 1019"/>
                <a:gd name="T58" fmla="*/ 68 w 771"/>
                <a:gd name="T59" fmla="*/ 554 h 1019"/>
                <a:gd name="T60" fmla="*/ 68 w 771"/>
                <a:gd name="T61" fmla="*/ 520 h 1019"/>
                <a:gd name="T62" fmla="*/ 68 w 771"/>
                <a:gd name="T63" fmla="*/ 413 h 1019"/>
                <a:gd name="T64" fmla="*/ 385 w 771"/>
                <a:gd name="T65" fmla="*/ 611 h 1019"/>
                <a:gd name="T66" fmla="*/ 702 w 771"/>
                <a:gd name="T67" fmla="*/ 413 h 1019"/>
                <a:gd name="T68" fmla="*/ 702 w 771"/>
                <a:gd name="T69" fmla="*/ 520 h 1019"/>
                <a:gd name="T70" fmla="*/ 702 w 771"/>
                <a:gd name="T71" fmla="*/ 554 h 1019"/>
                <a:gd name="T72" fmla="*/ 771 w 771"/>
                <a:gd name="T73" fmla="*/ 622 h 1019"/>
                <a:gd name="T74" fmla="*/ 113 w 771"/>
                <a:gd name="T75" fmla="*/ 796 h 1019"/>
                <a:gd name="T76" fmla="*/ 362 w 771"/>
                <a:gd name="T77" fmla="*/ 951 h 1019"/>
                <a:gd name="T78" fmla="*/ 362 w 771"/>
                <a:gd name="T79" fmla="*/ 649 h 1019"/>
                <a:gd name="T80" fmla="*/ 340 w 771"/>
                <a:gd name="T81" fmla="*/ 636 h 1019"/>
                <a:gd name="T82" fmla="*/ 113 w 771"/>
                <a:gd name="T83" fmla="*/ 494 h 1019"/>
                <a:gd name="T84" fmla="*/ 113 w 771"/>
                <a:gd name="T85" fmla="*/ 520 h 1019"/>
                <a:gd name="T86" fmla="*/ 113 w 771"/>
                <a:gd name="T87" fmla="*/ 796 h 1019"/>
                <a:gd name="T88" fmla="*/ 657 w 771"/>
                <a:gd name="T89" fmla="*/ 494 h 1019"/>
                <a:gd name="T90" fmla="*/ 408 w 771"/>
                <a:gd name="T91" fmla="*/ 649 h 1019"/>
                <a:gd name="T92" fmla="*/ 408 w 771"/>
                <a:gd name="T93" fmla="*/ 951 h 1019"/>
                <a:gd name="T94" fmla="*/ 657 w 771"/>
                <a:gd name="T95" fmla="*/ 796 h 1019"/>
                <a:gd name="T96" fmla="*/ 657 w 771"/>
                <a:gd name="T97" fmla="*/ 520 h 1019"/>
                <a:gd name="T98" fmla="*/ 657 w 771"/>
                <a:gd name="T99" fmla="*/ 494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1" h="1019">
                  <a:moveTo>
                    <a:pt x="247" y="158"/>
                  </a:moveTo>
                  <a:cubicBezTo>
                    <a:pt x="247" y="63"/>
                    <a:pt x="303" y="0"/>
                    <a:pt x="386" y="0"/>
                  </a:cubicBezTo>
                  <a:cubicBezTo>
                    <a:pt x="469" y="0"/>
                    <a:pt x="525" y="63"/>
                    <a:pt x="525" y="158"/>
                  </a:cubicBezTo>
                  <a:cubicBezTo>
                    <a:pt x="525" y="254"/>
                    <a:pt x="469" y="317"/>
                    <a:pt x="386" y="317"/>
                  </a:cubicBezTo>
                  <a:cubicBezTo>
                    <a:pt x="303" y="317"/>
                    <a:pt x="247" y="254"/>
                    <a:pt x="247" y="158"/>
                  </a:cubicBezTo>
                  <a:close/>
                  <a:moveTo>
                    <a:pt x="385" y="526"/>
                  </a:moveTo>
                  <a:cubicBezTo>
                    <a:pt x="623" y="377"/>
                    <a:pt x="623" y="377"/>
                    <a:pt x="623" y="377"/>
                  </a:cubicBezTo>
                  <a:cubicBezTo>
                    <a:pt x="612" y="372"/>
                    <a:pt x="599" y="369"/>
                    <a:pt x="586" y="368"/>
                  </a:cubicBezTo>
                  <a:cubicBezTo>
                    <a:pt x="586" y="367"/>
                    <a:pt x="586" y="367"/>
                    <a:pt x="586" y="367"/>
                  </a:cubicBezTo>
                  <a:cubicBezTo>
                    <a:pt x="485" y="360"/>
                    <a:pt x="485" y="360"/>
                    <a:pt x="485" y="360"/>
                  </a:cubicBezTo>
                  <a:cubicBezTo>
                    <a:pt x="485" y="360"/>
                    <a:pt x="485" y="360"/>
                    <a:pt x="485" y="360"/>
                  </a:cubicBezTo>
                  <a:cubicBezTo>
                    <a:pt x="484" y="360"/>
                    <a:pt x="484" y="360"/>
                    <a:pt x="484" y="360"/>
                  </a:cubicBezTo>
                  <a:cubicBezTo>
                    <a:pt x="386" y="459"/>
                    <a:pt x="386" y="459"/>
                    <a:pt x="386" y="459"/>
                  </a:cubicBezTo>
                  <a:cubicBezTo>
                    <a:pt x="386" y="459"/>
                    <a:pt x="386" y="459"/>
                    <a:pt x="386" y="459"/>
                  </a:cubicBezTo>
                  <a:cubicBezTo>
                    <a:pt x="288" y="360"/>
                    <a:pt x="288" y="360"/>
                    <a:pt x="288" y="360"/>
                  </a:cubicBezTo>
                  <a:cubicBezTo>
                    <a:pt x="288" y="360"/>
                    <a:pt x="288" y="360"/>
                    <a:pt x="288" y="360"/>
                  </a:cubicBezTo>
                  <a:cubicBezTo>
                    <a:pt x="288" y="360"/>
                    <a:pt x="288" y="360"/>
                    <a:pt x="288" y="360"/>
                  </a:cubicBezTo>
                  <a:cubicBezTo>
                    <a:pt x="186" y="367"/>
                    <a:pt x="186" y="367"/>
                    <a:pt x="186" y="367"/>
                  </a:cubicBezTo>
                  <a:cubicBezTo>
                    <a:pt x="186" y="368"/>
                    <a:pt x="186" y="368"/>
                    <a:pt x="186" y="368"/>
                  </a:cubicBezTo>
                  <a:cubicBezTo>
                    <a:pt x="172" y="369"/>
                    <a:pt x="160" y="372"/>
                    <a:pt x="148" y="378"/>
                  </a:cubicBezTo>
                  <a:cubicBezTo>
                    <a:pt x="385" y="526"/>
                    <a:pt x="385" y="526"/>
                    <a:pt x="385" y="526"/>
                  </a:cubicBezTo>
                  <a:close/>
                  <a:moveTo>
                    <a:pt x="771" y="622"/>
                  </a:moveTo>
                  <a:cubicBezTo>
                    <a:pt x="771" y="660"/>
                    <a:pt x="740" y="690"/>
                    <a:pt x="702" y="690"/>
                  </a:cubicBezTo>
                  <a:cubicBezTo>
                    <a:pt x="702" y="821"/>
                    <a:pt x="702" y="821"/>
                    <a:pt x="702" y="821"/>
                  </a:cubicBezTo>
                  <a:cubicBezTo>
                    <a:pt x="385" y="1019"/>
                    <a:pt x="385" y="1019"/>
                    <a:pt x="385" y="1019"/>
                  </a:cubicBezTo>
                  <a:cubicBezTo>
                    <a:pt x="385" y="1019"/>
                    <a:pt x="385" y="1019"/>
                    <a:pt x="385" y="1019"/>
                  </a:cubicBezTo>
                  <a:cubicBezTo>
                    <a:pt x="68" y="821"/>
                    <a:pt x="68" y="821"/>
                    <a:pt x="68" y="821"/>
                  </a:cubicBezTo>
                  <a:cubicBezTo>
                    <a:pt x="68" y="690"/>
                    <a:pt x="68" y="690"/>
                    <a:pt x="68" y="690"/>
                  </a:cubicBezTo>
                  <a:cubicBezTo>
                    <a:pt x="30" y="690"/>
                    <a:pt x="0" y="660"/>
                    <a:pt x="0" y="622"/>
                  </a:cubicBezTo>
                  <a:cubicBezTo>
                    <a:pt x="0" y="585"/>
                    <a:pt x="30" y="554"/>
                    <a:pt x="68" y="554"/>
                  </a:cubicBezTo>
                  <a:cubicBezTo>
                    <a:pt x="68" y="520"/>
                    <a:pt x="68" y="520"/>
                    <a:pt x="68" y="520"/>
                  </a:cubicBezTo>
                  <a:cubicBezTo>
                    <a:pt x="68" y="413"/>
                    <a:pt x="68" y="413"/>
                    <a:pt x="68" y="413"/>
                  </a:cubicBezTo>
                  <a:cubicBezTo>
                    <a:pt x="385" y="611"/>
                    <a:pt x="385" y="611"/>
                    <a:pt x="385" y="611"/>
                  </a:cubicBezTo>
                  <a:cubicBezTo>
                    <a:pt x="702" y="413"/>
                    <a:pt x="702" y="413"/>
                    <a:pt x="702" y="413"/>
                  </a:cubicBezTo>
                  <a:cubicBezTo>
                    <a:pt x="702" y="520"/>
                    <a:pt x="702" y="520"/>
                    <a:pt x="702" y="520"/>
                  </a:cubicBezTo>
                  <a:cubicBezTo>
                    <a:pt x="702" y="554"/>
                    <a:pt x="702" y="554"/>
                    <a:pt x="702" y="554"/>
                  </a:cubicBezTo>
                  <a:cubicBezTo>
                    <a:pt x="740" y="554"/>
                    <a:pt x="771" y="584"/>
                    <a:pt x="771" y="622"/>
                  </a:cubicBezTo>
                  <a:close/>
                  <a:moveTo>
                    <a:pt x="113" y="796"/>
                  </a:moveTo>
                  <a:cubicBezTo>
                    <a:pt x="362" y="951"/>
                    <a:pt x="362" y="951"/>
                    <a:pt x="362" y="951"/>
                  </a:cubicBezTo>
                  <a:cubicBezTo>
                    <a:pt x="362" y="649"/>
                    <a:pt x="362" y="649"/>
                    <a:pt x="362" y="649"/>
                  </a:cubicBezTo>
                  <a:cubicBezTo>
                    <a:pt x="340" y="636"/>
                    <a:pt x="340" y="636"/>
                    <a:pt x="340" y="636"/>
                  </a:cubicBezTo>
                  <a:cubicBezTo>
                    <a:pt x="113" y="494"/>
                    <a:pt x="113" y="494"/>
                    <a:pt x="113" y="494"/>
                  </a:cubicBezTo>
                  <a:cubicBezTo>
                    <a:pt x="113" y="520"/>
                    <a:pt x="113" y="520"/>
                    <a:pt x="113" y="520"/>
                  </a:cubicBezTo>
                  <a:lnTo>
                    <a:pt x="113" y="796"/>
                  </a:lnTo>
                  <a:close/>
                  <a:moveTo>
                    <a:pt x="657" y="494"/>
                  </a:moveTo>
                  <a:cubicBezTo>
                    <a:pt x="408" y="649"/>
                    <a:pt x="408" y="649"/>
                    <a:pt x="408" y="649"/>
                  </a:cubicBezTo>
                  <a:cubicBezTo>
                    <a:pt x="408" y="951"/>
                    <a:pt x="408" y="951"/>
                    <a:pt x="408" y="951"/>
                  </a:cubicBezTo>
                  <a:cubicBezTo>
                    <a:pt x="657" y="796"/>
                    <a:pt x="657" y="796"/>
                    <a:pt x="657" y="796"/>
                  </a:cubicBezTo>
                  <a:cubicBezTo>
                    <a:pt x="657" y="520"/>
                    <a:pt x="657" y="520"/>
                    <a:pt x="657" y="520"/>
                  </a:cubicBezTo>
                  <a:lnTo>
                    <a:pt x="657" y="494"/>
                  </a:ln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303" name="Freihandform: Form 302">
              <a:extLst>
                <a:ext uri="{FF2B5EF4-FFF2-40B4-BE49-F238E27FC236}">
                  <a16:creationId xmlns:a16="http://schemas.microsoft.com/office/drawing/2014/main" id="{9711B20C-C654-8F2C-451C-1FEDF263BB15}"/>
                </a:ext>
              </a:extLst>
            </p:cNvPr>
            <p:cNvSpPr/>
            <p:nvPr/>
          </p:nvSpPr>
          <p:spPr>
            <a:xfrm>
              <a:off x="1510298" y="2052387"/>
              <a:ext cx="194678" cy="189112"/>
            </a:xfrm>
            <a:custGeom>
              <a:avLst/>
              <a:gdLst>
                <a:gd name="connsiteX0" fmla="*/ 917222 w 1605118"/>
                <a:gd name="connsiteY0" fmla="*/ 1051258 h 1559253"/>
                <a:gd name="connsiteX1" fmla="*/ 1284063 w 1605118"/>
                <a:gd name="connsiteY1" fmla="*/ 791437 h 1559253"/>
                <a:gd name="connsiteX2" fmla="*/ 1284063 w 1605118"/>
                <a:gd name="connsiteY2" fmla="*/ 1559173 h 1559253"/>
                <a:gd name="connsiteX3" fmla="*/ 917222 w 1605118"/>
                <a:gd name="connsiteY3" fmla="*/ 1559173 h 1559253"/>
                <a:gd name="connsiteX4" fmla="*/ 917222 w 1605118"/>
                <a:gd name="connsiteY4" fmla="*/ 1051258 h 1559253"/>
                <a:gd name="connsiteX5" fmla="*/ 1473105 w 1605118"/>
                <a:gd name="connsiteY5" fmla="*/ 596166 h 1559253"/>
                <a:gd name="connsiteX6" fmla="*/ 1375793 w 1605118"/>
                <a:gd name="connsiteY6" fmla="*/ 703266 h 1559253"/>
                <a:gd name="connsiteX7" fmla="*/ 1375793 w 1605118"/>
                <a:gd name="connsiteY7" fmla="*/ 1559173 h 1559253"/>
                <a:gd name="connsiteX8" fmla="*/ 1605119 w 1605118"/>
                <a:gd name="connsiteY8" fmla="*/ 1559173 h 1559253"/>
                <a:gd name="connsiteX9" fmla="*/ 1605119 w 1605118"/>
                <a:gd name="connsiteY9" fmla="*/ 596166 h 1559253"/>
                <a:gd name="connsiteX10" fmla="*/ 1473105 w 1605118"/>
                <a:gd name="connsiteY10" fmla="*/ 596166 h 1559253"/>
                <a:gd name="connsiteX11" fmla="*/ 0 w 1605118"/>
                <a:gd name="connsiteY11" fmla="*/ 1559253 h 1559253"/>
                <a:gd name="connsiteX12" fmla="*/ 825492 w 1605118"/>
                <a:gd name="connsiteY12" fmla="*/ 1559253 h 1559253"/>
                <a:gd name="connsiteX13" fmla="*/ 825492 w 1605118"/>
                <a:gd name="connsiteY13" fmla="*/ 1098175 h 1559253"/>
                <a:gd name="connsiteX14" fmla="*/ 0 w 1605118"/>
                <a:gd name="connsiteY14" fmla="*/ 1284063 h 1559253"/>
                <a:gd name="connsiteX15" fmla="*/ 0 w 1605118"/>
                <a:gd name="connsiteY15" fmla="*/ 1559253 h 1559253"/>
                <a:gd name="connsiteX16" fmla="*/ 1483539 w 1605118"/>
                <a:gd name="connsiteY16" fmla="*/ 245908 h 1559253"/>
                <a:gd name="connsiteX17" fmla="*/ 1497695 w 1605118"/>
                <a:gd name="connsiteY17" fmla="*/ 448459 h 1559253"/>
                <a:gd name="connsiteX18" fmla="*/ 1605119 w 1605118"/>
                <a:gd name="connsiteY18" fmla="*/ 448459 h 1559253"/>
                <a:gd name="connsiteX19" fmla="*/ 1605119 w 1605118"/>
                <a:gd name="connsiteY19" fmla="*/ 0 h 1559253"/>
                <a:gd name="connsiteX20" fmla="*/ 1156578 w 1605118"/>
                <a:gd name="connsiteY20" fmla="*/ 0 h 1559253"/>
                <a:gd name="connsiteX21" fmla="*/ 1156578 w 1605118"/>
                <a:gd name="connsiteY21" fmla="*/ 107423 h 1559253"/>
                <a:gd name="connsiteX22" fmla="*/ 1343275 w 1605118"/>
                <a:gd name="connsiteY22" fmla="*/ 120447 h 1559253"/>
                <a:gd name="connsiteX23" fmla="*/ 0 w 1605118"/>
                <a:gd name="connsiteY23" fmla="*/ 928547 h 1559253"/>
                <a:gd name="connsiteX24" fmla="*/ 0 w 1605118"/>
                <a:gd name="connsiteY24" fmla="*/ 1112008 h 1559253"/>
                <a:gd name="connsiteX25" fmla="*/ 1483539 w 1605118"/>
                <a:gd name="connsiteY25" fmla="*/ 245908 h 15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05118" h="1559253">
                  <a:moveTo>
                    <a:pt x="917222" y="1051258"/>
                  </a:moveTo>
                  <a:cubicBezTo>
                    <a:pt x="1048023" y="979994"/>
                    <a:pt x="1171139" y="893117"/>
                    <a:pt x="1284063" y="791437"/>
                  </a:cubicBezTo>
                  <a:lnTo>
                    <a:pt x="1284063" y="1559173"/>
                  </a:lnTo>
                  <a:lnTo>
                    <a:pt x="917222" y="1559173"/>
                  </a:lnTo>
                  <a:lnTo>
                    <a:pt x="917222" y="1051258"/>
                  </a:lnTo>
                  <a:close/>
                  <a:moveTo>
                    <a:pt x="1473105" y="596166"/>
                  </a:moveTo>
                  <a:cubicBezTo>
                    <a:pt x="1442204" y="632891"/>
                    <a:pt x="1409686" y="668564"/>
                    <a:pt x="1375793" y="703266"/>
                  </a:cubicBezTo>
                  <a:lnTo>
                    <a:pt x="1375793" y="1559173"/>
                  </a:lnTo>
                  <a:lnTo>
                    <a:pt x="1605119" y="1559173"/>
                  </a:lnTo>
                  <a:lnTo>
                    <a:pt x="1605119" y="596166"/>
                  </a:lnTo>
                  <a:lnTo>
                    <a:pt x="1473105" y="596166"/>
                  </a:lnTo>
                  <a:close/>
                  <a:moveTo>
                    <a:pt x="0" y="1559253"/>
                  </a:moveTo>
                  <a:lnTo>
                    <a:pt x="825492" y="1559253"/>
                  </a:lnTo>
                  <a:lnTo>
                    <a:pt x="825492" y="1098175"/>
                  </a:lnTo>
                  <a:cubicBezTo>
                    <a:pt x="570848" y="1219512"/>
                    <a:pt x="290398" y="1283739"/>
                    <a:pt x="0" y="1284063"/>
                  </a:cubicBezTo>
                  <a:lnTo>
                    <a:pt x="0" y="1559253"/>
                  </a:lnTo>
                  <a:close/>
                  <a:moveTo>
                    <a:pt x="1483539" y="245908"/>
                  </a:moveTo>
                  <a:lnTo>
                    <a:pt x="1497695" y="448459"/>
                  </a:lnTo>
                  <a:lnTo>
                    <a:pt x="1605119" y="448459"/>
                  </a:lnTo>
                  <a:lnTo>
                    <a:pt x="1605119" y="0"/>
                  </a:lnTo>
                  <a:lnTo>
                    <a:pt x="1156578" y="0"/>
                  </a:lnTo>
                  <a:lnTo>
                    <a:pt x="1156578" y="107423"/>
                  </a:lnTo>
                  <a:lnTo>
                    <a:pt x="1343275" y="120447"/>
                  </a:lnTo>
                  <a:cubicBezTo>
                    <a:pt x="1086689" y="600292"/>
                    <a:pt x="580959" y="927738"/>
                    <a:pt x="0" y="928547"/>
                  </a:cubicBezTo>
                  <a:lnTo>
                    <a:pt x="0" y="1112008"/>
                  </a:lnTo>
                  <a:cubicBezTo>
                    <a:pt x="634994" y="1111199"/>
                    <a:pt x="1189825" y="762073"/>
                    <a:pt x="1483539" y="245908"/>
                  </a:cubicBezTo>
                  <a:close/>
                </a:path>
              </a:pathLst>
            </a:custGeom>
            <a:grpFill/>
            <a:ln w="8085"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304" name="Freihandform: Form 303">
              <a:extLst>
                <a:ext uri="{FF2B5EF4-FFF2-40B4-BE49-F238E27FC236}">
                  <a16:creationId xmlns:a16="http://schemas.microsoft.com/office/drawing/2014/main" id="{7B54CC43-A775-C7DB-3CA0-FB826BE6330A}"/>
                </a:ext>
              </a:extLst>
            </p:cNvPr>
            <p:cNvSpPr/>
            <p:nvPr/>
          </p:nvSpPr>
          <p:spPr>
            <a:xfrm>
              <a:off x="697025" y="2048798"/>
              <a:ext cx="248240" cy="196290"/>
            </a:xfrm>
            <a:custGeom>
              <a:avLst/>
              <a:gdLst>
                <a:gd name="connsiteX0" fmla="*/ 1267997 w 2234351"/>
                <a:gd name="connsiteY0" fmla="*/ 803156 h 1766759"/>
                <a:gd name="connsiteX1" fmla="*/ 674798 w 2234351"/>
                <a:gd name="connsiteY1" fmla="*/ 1508210 h 1766759"/>
                <a:gd name="connsiteX2" fmla="*/ 82516 w 2234351"/>
                <a:gd name="connsiteY2" fmla="*/ 804073 h 1766759"/>
                <a:gd name="connsiteX3" fmla="*/ 82516 w 2234351"/>
                <a:gd name="connsiteY3" fmla="*/ 803156 h 1766759"/>
                <a:gd name="connsiteX4" fmla="*/ 82516 w 2234351"/>
                <a:gd name="connsiteY4" fmla="*/ 803156 h 1766759"/>
                <a:gd name="connsiteX5" fmla="*/ 82516 w 2234351"/>
                <a:gd name="connsiteY5" fmla="*/ 803156 h 1766759"/>
                <a:gd name="connsiteX6" fmla="*/ 0 w 2234351"/>
                <a:gd name="connsiteY6" fmla="*/ 572111 h 1766759"/>
                <a:gd name="connsiteX7" fmla="*/ 363988 w 2234351"/>
                <a:gd name="connsiteY7" fmla="*/ 208124 h 1766759"/>
                <a:gd name="connsiteX8" fmla="*/ 675715 w 2234351"/>
                <a:gd name="connsiteY8" fmla="*/ 384158 h 1766759"/>
                <a:gd name="connsiteX9" fmla="*/ 987442 w 2234351"/>
                <a:gd name="connsiteY9" fmla="*/ 208124 h 1766759"/>
                <a:gd name="connsiteX10" fmla="*/ 1351430 w 2234351"/>
                <a:gd name="connsiteY10" fmla="*/ 572111 h 1766759"/>
                <a:gd name="connsiteX11" fmla="*/ 1267997 w 2234351"/>
                <a:gd name="connsiteY11" fmla="*/ 803156 h 1766759"/>
                <a:gd name="connsiteX12" fmla="*/ 1267997 w 2234351"/>
                <a:gd name="connsiteY12" fmla="*/ 803156 h 1766759"/>
                <a:gd name="connsiteX13" fmla="*/ 2234352 w 2234351"/>
                <a:gd name="connsiteY13" fmla="*/ 0 h 1766759"/>
                <a:gd name="connsiteX14" fmla="*/ 2234352 w 2234351"/>
                <a:gd name="connsiteY14" fmla="*/ 467591 h 1766759"/>
                <a:gd name="connsiteX15" fmla="*/ 1948296 w 2234351"/>
                <a:gd name="connsiteY15" fmla="*/ 801322 h 1766759"/>
                <a:gd name="connsiteX16" fmla="*/ 1948296 w 2234351"/>
                <a:gd name="connsiteY16" fmla="*/ 1480704 h 1766759"/>
                <a:gd name="connsiteX17" fmla="*/ 1662240 w 2234351"/>
                <a:gd name="connsiteY17" fmla="*/ 1766760 h 1766759"/>
                <a:gd name="connsiteX18" fmla="*/ 1376185 w 2234351"/>
                <a:gd name="connsiteY18" fmla="*/ 1480704 h 1766759"/>
                <a:gd name="connsiteX19" fmla="*/ 1376185 w 2234351"/>
                <a:gd name="connsiteY19" fmla="*/ 1480704 h 1766759"/>
                <a:gd name="connsiteX20" fmla="*/ 1376185 w 2234351"/>
                <a:gd name="connsiteY20" fmla="*/ 1447698 h 1766759"/>
                <a:gd name="connsiteX21" fmla="*/ 1245993 w 2234351"/>
                <a:gd name="connsiteY21" fmla="*/ 1273498 h 1766759"/>
                <a:gd name="connsiteX22" fmla="*/ 1427528 w 2234351"/>
                <a:gd name="connsiteY22" fmla="*/ 1091962 h 1766759"/>
                <a:gd name="connsiteX23" fmla="*/ 1609063 w 2234351"/>
                <a:gd name="connsiteY23" fmla="*/ 1273498 h 1766759"/>
                <a:gd name="connsiteX24" fmla="*/ 1478871 w 2234351"/>
                <a:gd name="connsiteY24" fmla="*/ 1447698 h 1766759"/>
                <a:gd name="connsiteX25" fmla="*/ 1478871 w 2234351"/>
                <a:gd name="connsiteY25" fmla="*/ 1481622 h 1766759"/>
                <a:gd name="connsiteX26" fmla="*/ 1478871 w 2234351"/>
                <a:gd name="connsiteY26" fmla="*/ 1481622 h 1766759"/>
                <a:gd name="connsiteX27" fmla="*/ 1660407 w 2234351"/>
                <a:gd name="connsiteY27" fmla="*/ 1663157 h 1766759"/>
                <a:gd name="connsiteX28" fmla="*/ 1841942 w 2234351"/>
                <a:gd name="connsiteY28" fmla="*/ 1481622 h 1766759"/>
                <a:gd name="connsiteX29" fmla="*/ 1841942 w 2234351"/>
                <a:gd name="connsiteY29" fmla="*/ 1481622 h 1766759"/>
                <a:gd name="connsiteX30" fmla="*/ 1841942 w 2234351"/>
                <a:gd name="connsiteY30" fmla="*/ 802239 h 1766759"/>
                <a:gd name="connsiteX31" fmla="*/ 1555886 w 2234351"/>
                <a:gd name="connsiteY31" fmla="*/ 468508 h 1766759"/>
                <a:gd name="connsiteX32" fmla="*/ 1555886 w 2234351"/>
                <a:gd name="connsiteY32" fmla="*/ 917 h 1766759"/>
                <a:gd name="connsiteX33" fmla="*/ 1711750 w 2234351"/>
                <a:gd name="connsiteY33" fmla="*/ 917 h 1766759"/>
                <a:gd name="connsiteX34" fmla="*/ 1764010 w 2234351"/>
                <a:gd name="connsiteY34" fmla="*/ 53177 h 1766759"/>
                <a:gd name="connsiteX35" fmla="*/ 1711750 w 2234351"/>
                <a:gd name="connsiteY35" fmla="*/ 105437 h 1766759"/>
                <a:gd name="connsiteX36" fmla="*/ 1659489 w 2234351"/>
                <a:gd name="connsiteY36" fmla="*/ 105437 h 1766759"/>
                <a:gd name="connsiteX37" fmla="*/ 1659489 w 2234351"/>
                <a:gd name="connsiteY37" fmla="*/ 469424 h 1766759"/>
                <a:gd name="connsiteX38" fmla="*/ 1659489 w 2234351"/>
                <a:gd name="connsiteY38" fmla="*/ 469424 h 1766759"/>
                <a:gd name="connsiteX39" fmla="*/ 1893285 w 2234351"/>
                <a:gd name="connsiteY39" fmla="*/ 703220 h 1766759"/>
                <a:gd name="connsiteX40" fmla="*/ 2127080 w 2234351"/>
                <a:gd name="connsiteY40" fmla="*/ 469424 h 1766759"/>
                <a:gd name="connsiteX41" fmla="*/ 2127080 w 2234351"/>
                <a:gd name="connsiteY41" fmla="*/ 469424 h 1766759"/>
                <a:gd name="connsiteX42" fmla="*/ 2127080 w 2234351"/>
                <a:gd name="connsiteY42" fmla="*/ 105437 h 1766759"/>
                <a:gd name="connsiteX43" fmla="*/ 2074821 w 2234351"/>
                <a:gd name="connsiteY43" fmla="*/ 105437 h 1766759"/>
                <a:gd name="connsiteX44" fmla="*/ 2022560 w 2234351"/>
                <a:gd name="connsiteY44" fmla="*/ 53177 h 1766759"/>
                <a:gd name="connsiteX45" fmla="*/ 2074821 w 2234351"/>
                <a:gd name="connsiteY45" fmla="*/ 917 h 1766759"/>
                <a:gd name="connsiteX46" fmla="*/ 2234352 w 2234351"/>
                <a:gd name="connsiteY46" fmla="*/ 917 h 1766759"/>
                <a:gd name="connsiteX47" fmla="*/ 1513711 w 2234351"/>
                <a:gd name="connsiteY47" fmla="*/ 1272581 h 1766759"/>
                <a:gd name="connsiteX48" fmla="*/ 1428445 w 2234351"/>
                <a:gd name="connsiteY48" fmla="*/ 1189148 h 1766759"/>
                <a:gd name="connsiteX49" fmla="*/ 1345012 w 2234351"/>
                <a:gd name="connsiteY49" fmla="*/ 1274414 h 1766759"/>
                <a:gd name="connsiteX50" fmla="*/ 1430278 w 2234351"/>
                <a:gd name="connsiteY50" fmla="*/ 1357847 h 1766759"/>
                <a:gd name="connsiteX51" fmla="*/ 1513711 w 2234351"/>
                <a:gd name="connsiteY51" fmla="*/ 1272581 h 17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234351" h="1766759">
                  <a:moveTo>
                    <a:pt x="1267997" y="803156"/>
                  </a:moveTo>
                  <a:lnTo>
                    <a:pt x="674798" y="1508210"/>
                  </a:lnTo>
                  <a:lnTo>
                    <a:pt x="82516" y="804073"/>
                  </a:lnTo>
                  <a:cubicBezTo>
                    <a:pt x="82516" y="804073"/>
                    <a:pt x="82516" y="804073"/>
                    <a:pt x="82516" y="803156"/>
                  </a:cubicBezTo>
                  <a:lnTo>
                    <a:pt x="82516" y="803156"/>
                  </a:lnTo>
                  <a:lnTo>
                    <a:pt x="82516" y="803156"/>
                  </a:lnTo>
                  <a:cubicBezTo>
                    <a:pt x="31173" y="739894"/>
                    <a:pt x="0" y="660128"/>
                    <a:pt x="0" y="572111"/>
                  </a:cubicBezTo>
                  <a:cubicBezTo>
                    <a:pt x="0" y="371322"/>
                    <a:pt x="163199" y="208124"/>
                    <a:pt x="363988" y="208124"/>
                  </a:cubicBezTo>
                  <a:cubicBezTo>
                    <a:pt x="496013" y="208124"/>
                    <a:pt x="612453" y="278721"/>
                    <a:pt x="675715" y="384158"/>
                  </a:cubicBezTo>
                  <a:cubicBezTo>
                    <a:pt x="738977" y="278721"/>
                    <a:pt x="855417" y="208124"/>
                    <a:pt x="987442" y="208124"/>
                  </a:cubicBezTo>
                  <a:cubicBezTo>
                    <a:pt x="1188231" y="208124"/>
                    <a:pt x="1351430" y="371322"/>
                    <a:pt x="1351430" y="572111"/>
                  </a:cubicBezTo>
                  <a:cubicBezTo>
                    <a:pt x="1350513" y="660128"/>
                    <a:pt x="1320257" y="739894"/>
                    <a:pt x="1267997" y="803156"/>
                  </a:cubicBezTo>
                  <a:lnTo>
                    <a:pt x="1267997" y="803156"/>
                  </a:lnTo>
                  <a:close/>
                  <a:moveTo>
                    <a:pt x="2234352" y="0"/>
                  </a:moveTo>
                  <a:lnTo>
                    <a:pt x="2234352" y="467591"/>
                  </a:lnTo>
                  <a:cubicBezTo>
                    <a:pt x="2234352" y="636290"/>
                    <a:pt x="2110578" y="776568"/>
                    <a:pt x="1948296" y="801322"/>
                  </a:cubicBezTo>
                  <a:lnTo>
                    <a:pt x="1948296" y="1480704"/>
                  </a:lnTo>
                  <a:cubicBezTo>
                    <a:pt x="1948296" y="1638402"/>
                    <a:pt x="1819937" y="1766760"/>
                    <a:pt x="1662240" y="1766760"/>
                  </a:cubicBezTo>
                  <a:cubicBezTo>
                    <a:pt x="1504543" y="1766760"/>
                    <a:pt x="1376185" y="1638402"/>
                    <a:pt x="1376185" y="1480704"/>
                  </a:cubicBezTo>
                  <a:lnTo>
                    <a:pt x="1376185" y="1480704"/>
                  </a:lnTo>
                  <a:lnTo>
                    <a:pt x="1376185" y="1447698"/>
                  </a:lnTo>
                  <a:cubicBezTo>
                    <a:pt x="1301003" y="1425694"/>
                    <a:pt x="1245993" y="1356014"/>
                    <a:pt x="1245993" y="1273498"/>
                  </a:cubicBezTo>
                  <a:cubicBezTo>
                    <a:pt x="1245993" y="1172645"/>
                    <a:pt x="1327592" y="1091962"/>
                    <a:pt x="1427528" y="1091962"/>
                  </a:cubicBezTo>
                  <a:cubicBezTo>
                    <a:pt x="1528381" y="1091962"/>
                    <a:pt x="1609063" y="1173561"/>
                    <a:pt x="1609063" y="1273498"/>
                  </a:cubicBezTo>
                  <a:cubicBezTo>
                    <a:pt x="1609063" y="1356014"/>
                    <a:pt x="1554052" y="1425694"/>
                    <a:pt x="1478871" y="1447698"/>
                  </a:cubicBezTo>
                  <a:lnTo>
                    <a:pt x="1478871" y="1481622"/>
                  </a:lnTo>
                  <a:lnTo>
                    <a:pt x="1478871" y="1481622"/>
                  </a:lnTo>
                  <a:cubicBezTo>
                    <a:pt x="1478871" y="1581557"/>
                    <a:pt x="1560470" y="1663157"/>
                    <a:pt x="1660407" y="1663157"/>
                  </a:cubicBezTo>
                  <a:cubicBezTo>
                    <a:pt x="1760342" y="1663157"/>
                    <a:pt x="1841942" y="1581557"/>
                    <a:pt x="1841942" y="1481622"/>
                  </a:cubicBezTo>
                  <a:lnTo>
                    <a:pt x="1841942" y="1481622"/>
                  </a:lnTo>
                  <a:lnTo>
                    <a:pt x="1841942" y="802239"/>
                  </a:lnTo>
                  <a:cubicBezTo>
                    <a:pt x="1680577" y="777485"/>
                    <a:pt x="1555886" y="637207"/>
                    <a:pt x="1555886" y="468508"/>
                  </a:cubicBezTo>
                  <a:lnTo>
                    <a:pt x="1555886" y="917"/>
                  </a:lnTo>
                  <a:lnTo>
                    <a:pt x="1711750" y="917"/>
                  </a:lnTo>
                  <a:cubicBezTo>
                    <a:pt x="1740172" y="917"/>
                    <a:pt x="1764010" y="23838"/>
                    <a:pt x="1764010" y="53177"/>
                  </a:cubicBezTo>
                  <a:cubicBezTo>
                    <a:pt x="1764010" y="81599"/>
                    <a:pt x="1741089" y="105437"/>
                    <a:pt x="1711750" y="105437"/>
                  </a:cubicBezTo>
                  <a:lnTo>
                    <a:pt x="1659489" y="105437"/>
                  </a:lnTo>
                  <a:lnTo>
                    <a:pt x="1659489" y="469424"/>
                  </a:lnTo>
                  <a:lnTo>
                    <a:pt x="1659489" y="469424"/>
                  </a:lnTo>
                  <a:cubicBezTo>
                    <a:pt x="1659489" y="598700"/>
                    <a:pt x="1764010" y="703220"/>
                    <a:pt x="1893285" y="703220"/>
                  </a:cubicBezTo>
                  <a:cubicBezTo>
                    <a:pt x="2022560" y="703220"/>
                    <a:pt x="2127080" y="598700"/>
                    <a:pt x="2127080" y="469424"/>
                  </a:cubicBezTo>
                  <a:lnTo>
                    <a:pt x="2127080" y="469424"/>
                  </a:lnTo>
                  <a:lnTo>
                    <a:pt x="2127080" y="105437"/>
                  </a:lnTo>
                  <a:lnTo>
                    <a:pt x="2074821" y="105437"/>
                  </a:lnTo>
                  <a:cubicBezTo>
                    <a:pt x="2046399" y="105437"/>
                    <a:pt x="2022560" y="82516"/>
                    <a:pt x="2022560" y="53177"/>
                  </a:cubicBezTo>
                  <a:cubicBezTo>
                    <a:pt x="2022560" y="24755"/>
                    <a:pt x="2045481" y="917"/>
                    <a:pt x="2074821" y="917"/>
                  </a:cubicBezTo>
                  <a:lnTo>
                    <a:pt x="2234352" y="917"/>
                  </a:lnTo>
                  <a:close/>
                  <a:moveTo>
                    <a:pt x="1513711" y="1272581"/>
                  </a:moveTo>
                  <a:cubicBezTo>
                    <a:pt x="1512794" y="1225822"/>
                    <a:pt x="1475204" y="1188231"/>
                    <a:pt x="1428445" y="1189148"/>
                  </a:cubicBezTo>
                  <a:cubicBezTo>
                    <a:pt x="1381686" y="1190065"/>
                    <a:pt x="1344095" y="1227655"/>
                    <a:pt x="1345012" y="1274414"/>
                  </a:cubicBezTo>
                  <a:cubicBezTo>
                    <a:pt x="1345929" y="1321174"/>
                    <a:pt x="1383519" y="1358764"/>
                    <a:pt x="1430278" y="1357847"/>
                  </a:cubicBezTo>
                  <a:cubicBezTo>
                    <a:pt x="1477038" y="1357847"/>
                    <a:pt x="1513711" y="1319340"/>
                    <a:pt x="1513711" y="1272581"/>
                  </a:cubicBezTo>
                  <a:close/>
                </a:path>
              </a:pathLst>
            </a:custGeom>
            <a:grpFill/>
            <a:ln w="9162"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305" name="Freihandform: Form 304">
              <a:extLst>
                <a:ext uri="{FF2B5EF4-FFF2-40B4-BE49-F238E27FC236}">
                  <a16:creationId xmlns:a16="http://schemas.microsoft.com/office/drawing/2014/main" id="{3802A769-F8B8-FD04-2485-53642B314B2A}"/>
                </a:ext>
              </a:extLst>
            </p:cNvPr>
            <p:cNvSpPr/>
            <p:nvPr/>
          </p:nvSpPr>
          <p:spPr>
            <a:xfrm>
              <a:off x="701237" y="1636252"/>
              <a:ext cx="239816" cy="160466"/>
            </a:xfrm>
            <a:custGeom>
              <a:avLst/>
              <a:gdLst>
                <a:gd name="connsiteX0" fmla="*/ 273797 w 680409"/>
                <a:gd name="connsiteY0" fmla="*/ 391169 h 455278"/>
                <a:gd name="connsiteX1" fmla="*/ 414076 w 680409"/>
                <a:gd name="connsiteY1" fmla="*/ 391169 h 455278"/>
                <a:gd name="connsiteX2" fmla="*/ 343673 w 680409"/>
                <a:gd name="connsiteY2" fmla="*/ 455278 h 455278"/>
                <a:gd name="connsiteX3" fmla="*/ 273797 w 680409"/>
                <a:gd name="connsiteY3" fmla="*/ 391169 h 455278"/>
                <a:gd name="connsiteX4" fmla="*/ 589953 w 680409"/>
                <a:gd name="connsiteY4" fmla="*/ 41846 h 455278"/>
                <a:gd name="connsiteX5" fmla="*/ 614046 w 680409"/>
                <a:gd name="connsiteY5" fmla="*/ 130018 h 455278"/>
                <a:gd name="connsiteX6" fmla="*/ 589572 w 680409"/>
                <a:gd name="connsiteY6" fmla="*/ 218893 h 455278"/>
                <a:gd name="connsiteX7" fmla="*/ 560621 w 680409"/>
                <a:gd name="connsiteY7" fmla="*/ 202705 h 455278"/>
                <a:gd name="connsiteX8" fmla="*/ 580849 w 680409"/>
                <a:gd name="connsiteY8" fmla="*/ 130018 h 455278"/>
                <a:gd name="connsiteX9" fmla="*/ 561001 w 680409"/>
                <a:gd name="connsiteY9" fmla="*/ 58034 h 455278"/>
                <a:gd name="connsiteX10" fmla="*/ 90865 w 680409"/>
                <a:gd name="connsiteY10" fmla="*/ 41846 h 455278"/>
                <a:gd name="connsiteX11" fmla="*/ 119818 w 680409"/>
                <a:gd name="connsiteY11" fmla="*/ 58034 h 455278"/>
                <a:gd name="connsiteX12" fmla="*/ 99590 w 680409"/>
                <a:gd name="connsiteY12" fmla="*/ 130721 h 455278"/>
                <a:gd name="connsiteX13" fmla="*/ 119437 w 680409"/>
                <a:gd name="connsiteY13" fmla="*/ 202705 h 455278"/>
                <a:gd name="connsiteX14" fmla="*/ 90485 w 680409"/>
                <a:gd name="connsiteY14" fmla="*/ 218893 h 455278"/>
                <a:gd name="connsiteX15" fmla="*/ 66393 w 680409"/>
                <a:gd name="connsiteY15" fmla="*/ 130721 h 455278"/>
                <a:gd name="connsiteX16" fmla="*/ 90865 w 680409"/>
                <a:gd name="connsiteY16" fmla="*/ 41846 h 455278"/>
                <a:gd name="connsiteX17" fmla="*/ 647914 w 680409"/>
                <a:gd name="connsiteY17" fmla="*/ 9440 h 455278"/>
                <a:gd name="connsiteX18" fmla="*/ 680409 w 680409"/>
                <a:gd name="connsiteY18" fmla="*/ 130018 h 455278"/>
                <a:gd name="connsiteX19" fmla="*/ 647476 w 680409"/>
                <a:gd name="connsiteY19" fmla="*/ 251329 h 455278"/>
                <a:gd name="connsiteX20" fmla="*/ 618495 w 680409"/>
                <a:gd name="connsiteY20" fmla="*/ 235111 h 455278"/>
                <a:gd name="connsiteX21" fmla="*/ 647212 w 680409"/>
                <a:gd name="connsiteY21" fmla="*/ 130018 h 455278"/>
                <a:gd name="connsiteX22" fmla="*/ 618905 w 680409"/>
                <a:gd name="connsiteY22" fmla="*/ 25658 h 455278"/>
                <a:gd name="connsiteX23" fmla="*/ 32933 w 680409"/>
                <a:gd name="connsiteY23" fmla="*/ 9440 h 455278"/>
                <a:gd name="connsiteX24" fmla="*/ 61943 w 680409"/>
                <a:gd name="connsiteY24" fmla="*/ 25658 h 455278"/>
                <a:gd name="connsiteX25" fmla="*/ 33225 w 680409"/>
                <a:gd name="connsiteY25" fmla="*/ 130750 h 455278"/>
                <a:gd name="connsiteX26" fmla="*/ 61533 w 680409"/>
                <a:gd name="connsiteY26" fmla="*/ 235111 h 455278"/>
                <a:gd name="connsiteX27" fmla="*/ 32523 w 680409"/>
                <a:gd name="connsiteY27" fmla="*/ 251329 h 455278"/>
                <a:gd name="connsiteX28" fmla="*/ 0 w 680409"/>
                <a:gd name="connsiteY28" fmla="*/ 130750 h 455278"/>
                <a:gd name="connsiteX29" fmla="*/ 32933 w 680409"/>
                <a:gd name="connsiteY29" fmla="*/ 9440 h 455278"/>
                <a:gd name="connsiteX30" fmla="*/ 339691 w 680409"/>
                <a:gd name="connsiteY30" fmla="*/ 14 h 455278"/>
                <a:gd name="connsiteX31" fmla="*/ 340219 w 680409"/>
                <a:gd name="connsiteY31" fmla="*/ 14 h 455278"/>
                <a:gd name="connsiteX32" fmla="*/ 340745 w 680409"/>
                <a:gd name="connsiteY32" fmla="*/ 14 h 455278"/>
                <a:gd name="connsiteX33" fmla="*/ 437758 w 680409"/>
                <a:gd name="connsiteY33" fmla="*/ 21588 h 455278"/>
                <a:gd name="connsiteX34" fmla="*/ 445194 w 680409"/>
                <a:gd name="connsiteY34" fmla="*/ 32127 h 455278"/>
                <a:gd name="connsiteX35" fmla="*/ 478595 w 680409"/>
                <a:gd name="connsiteY35" fmla="*/ 221616 h 455278"/>
                <a:gd name="connsiteX36" fmla="*/ 483367 w 680409"/>
                <a:gd name="connsiteY36" fmla="*/ 248987 h 455278"/>
                <a:gd name="connsiteX37" fmla="*/ 518876 w 680409"/>
                <a:gd name="connsiteY37" fmla="*/ 286369 h 455278"/>
                <a:gd name="connsiteX38" fmla="*/ 534772 w 680409"/>
                <a:gd name="connsiteY38" fmla="*/ 303201 h 455278"/>
                <a:gd name="connsiteX39" fmla="*/ 545954 w 680409"/>
                <a:gd name="connsiteY39" fmla="*/ 327411 h 455278"/>
                <a:gd name="connsiteX40" fmla="*/ 547008 w 680409"/>
                <a:gd name="connsiteY40" fmla="*/ 357943 h 455278"/>
                <a:gd name="connsiteX41" fmla="*/ 340775 w 680409"/>
                <a:gd name="connsiteY41" fmla="*/ 357943 h 455278"/>
                <a:gd name="connsiteX42" fmla="*/ 339721 w 680409"/>
                <a:gd name="connsiteY42" fmla="*/ 357943 h 455278"/>
                <a:gd name="connsiteX43" fmla="*/ 133487 w 680409"/>
                <a:gd name="connsiteY43" fmla="*/ 357943 h 455278"/>
                <a:gd name="connsiteX44" fmla="*/ 134542 w 680409"/>
                <a:gd name="connsiteY44" fmla="*/ 327411 h 455278"/>
                <a:gd name="connsiteX45" fmla="*/ 145666 w 680409"/>
                <a:gd name="connsiteY45" fmla="*/ 303201 h 455278"/>
                <a:gd name="connsiteX46" fmla="*/ 162088 w 680409"/>
                <a:gd name="connsiteY46" fmla="*/ 286369 h 455278"/>
                <a:gd name="connsiteX47" fmla="*/ 197070 w 680409"/>
                <a:gd name="connsiteY47" fmla="*/ 248987 h 455278"/>
                <a:gd name="connsiteX48" fmla="*/ 201842 w 680409"/>
                <a:gd name="connsiteY48" fmla="*/ 221616 h 455278"/>
                <a:gd name="connsiteX49" fmla="*/ 235770 w 680409"/>
                <a:gd name="connsiteY49" fmla="*/ 32127 h 455278"/>
                <a:gd name="connsiteX50" fmla="*/ 243205 w 680409"/>
                <a:gd name="connsiteY50" fmla="*/ 21588 h 455278"/>
                <a:gd name="connsiteX51" fmla="*/ 339691 w 680409"/>
                <a:gd name="connsiteY51" fmla="*/ 14 h 45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80409" h="455278">
                  <a:moveTo>
                    <a:pt x="273797" y="391169"/>
                  </a:moveTo>
                  <a:lnTo>
                    <a:pt x="414076" y="391169"/>
                  </a:lnTo>
                  <a:cubicBezTo>
                    <a:pt x="409129" y="426971"/>
                    <a:pt x="379504" y="455278"/>
                    <a:pt x="343673" y="455278"/>
                  </a:cubicBezTo>
                  <a:cubicBezTo>
                    <a:pt x="307842" y="455278"/>
                    <a:pt x="278656" y="426971"/>
                    <a:pt x="273797" y="391169"/>
                  </a:cubicBezTo>
                  <a:close/>
                  <a:moveTo>
                    <a:pt x="589953" y="41846"/>
                  </a:moveTo>
                  <a:cubicBezTo>
                    <a:pt x="605234" y="67724"/>
                    <a:pt x="614046" y="97847"/>
                    <a:pt x="614046" y="130018"/>
                  </a:cubicBezTo>
                  <a:cubicBezTo>
                    <a:pt x="614046" y="162483"/>
                    <a:pt x="605088" y="192869"/>
                    <a:pt x="589572" y="218893"/>
                  </a:cubicBezTo>
                  <a:lnTo>
                    <a:pt x="560621" y="202705"/>
                  </a:lnTo>
                  <a:cubicBezTo>
                    <a:pt x="573443" y="181452"/>
                    <a:pt x="580849" y="156599"/>
                    <a:pt x="580849" y="130018"/>
                  </a:cubicBezTo>
                  <a:cubicBezTo>
                    <a:pt x="580849" y="103731"/>
                    <a:pt x="573589" y="79111"/>
                    <a:pt x="561001" y="58034"/>
                  </a:cubicBezTo>
                  <a:close/>
                  <a:moveTo>
                    <a:pt x="90865" y="41846"/>
                  </a:moveTo>
                  <a:lnTo>
                    <a:pt x="119818" y="58034"/>
                  </a:lnTo>
                  <a:cubicBezTo>
                    <a:pt x="106995" y="79287"/>
                    <a:pt x="99590" y="104140"/>
                    <a:pt x="99590" y="130721"/>
                  </a:cubicBezTo>
                  <a:cubicBezTo>
                    <a:pt x="99590" y="157009"/>
                    <a:pt x="106849" y="181628"/>
                    <a:pt x="119437" y="202705"/>
                  </a:cubicBezTo>
                  <a:lnTo>
                    <a:pt x="90485" y="218893"/>
                  </a:lnTo>
                  <a:cubicBezTo>
                    <a:pt x="75204" y="193015"/>
                    <a:pt x="66393" y="162893"/>
                    <a:pt x="66393" y="130721"/>
                  </a:cubicBezTo>
                  <a:cubicBezTo>
                    <a:pt x="66393" y="98256"/>
                    <a:pt x="75351" y="67870"/>
                    <a:pt x="90865" y="41846"/>
                  </a:cubicBezTo>
                  <a:close/>
                  <a:moveTo>
                    <a:pt x="647914" y="9440"/>
                  </a:moveTo>
                  <a:cubicBezTo>
                    <a:pt x="668582" y="44920"/>
                    <a:pt x="680438" y="86079"/>
                    <a:pt x="680409" y="130018"/>
                  </a:cubicBezTo>
                  <a:cubicBezTo>
                    <a:pt x="680409" y="174251"/>
                    <a:pt x="668377" y="215703"/>
                    <a:pt x="647476" y="251329"/>
                  </a:cubicBezTo>
                  <a:lnTo>
                    <a:pt x="618495" y="235111"/>
                  </a:lnTo>
                  <a:cubicBezTo>
                    <a:pt x="636703" y="204256"/>
                    <a:pt x="647212" y="168367"/>
                    <a:pt x="647212" y="130018"/>
                  </a:cubicBezTo>
                  <a:cubicBezTo>
                    <a:pt x="647212" y="91963"/>
                    <a:pt x="636878" y="56337"/>
                    <a:pt x="618905" y="25658"/>
                  </a:cubicBezTo>
                  <a:close/>
                  <a:moveTo>
                    <a:pt x="32933" y="9440"/>
                  </a:moveTo>
                  <a:lnTo>
                    <a:pt x="61943" y="25658"/>
                  </a:lnTo>
                  <a:cubicBezTo>
                    <a:pt x="43735" y="56512"/>
                    <a:pt x="33225" y="92402"/>
                    <a:pt x="33225" y="130750"/>
                  </a:cubicBezTo>
                  <a:cubicBezTo>
                    <a:pt x="33225" y="168806"/>
                    <a:pt x="43559" y="204432"/>
                    <a:pt x="61533" y="235111"/>
                  </a:cubicBezTo>
                  <a:lnTo>
                    <a:pt x="32523" y="251329"/>
                  </a:lnTo>
                  <a:cubicBezTo>
                    <a:pt x="11855" y="215849"/>
                    <a:pt x="0" y="174661"/>
                    <a:pt x="0" y="130750"/>
                  </a:cubicBezTo>
                  <a:cubicBezTo>
                    <a:pt x="0" y="86518"/>
                    <a:pt x="12031" y="45066"/>
                    <a:pt x="32933" y="9440"/>
                  </a:cubicBezTo>
                  <a:close/>
                  <a:moveTo>
                    <a:pt x="339691" y="14"/>
                  </a:moveTo>
                  <a:cubicBezTo>
                    <a:pt x="340219" y="14"/>
                    <a:pt x="340219" y="14"/>
                    <a:pt x="340219" y="14"/>
                  </a:cubicBezTo>
                  <a:lnTo>
                    <a:pt x="340745" y="14"/>
                  </a:lnTo>
                  <a:cubicBezTo>
                    <a:pt x="392706" y="-513"/>
                    <a:pt x="425024" y="14212"/>
                    <a:pt x="437758" y="21588"/>
                  </a:cubicBezTo>
                  <a:cubicBezTo>
                    <a:pt x="441476" y="23696"/>
                    <a:pt x="444140" y="27385"/>
                    <a:pt x="445194" y="32127"/>
                  </a:cubicBezTo>
                  <a:cubicBezTo>
                    <a:pt x="445194" y="32127"/>
                    <a:pt x="445194" y="32127"/>
                    <a:pt x="478595" y="221616"/>
                  </a:cubicBezTo>
                  <a:cubicBezTo>
                    <a:pt x="478595" y="221616"/>
                    <a:pt x="478595" y="221616"/>
                    <a:pt x="483367" y="248987"/>
                  </a:cubicBezTo>
                  <a:cubicBezTo>
                    <a:pt x="492354" y="273723"/>
                    <a:pt x="510386" y="280573"/>
                    <a:pt x="518876" y="286369"/>
                  </a:cubicBezTo>
                  <a:cubicBezTo>
                    <a:pt x="520984" y="288477"/>
                    <a:pt x="528419" y="293717"/>
                    <a:pt x="534772" y="303201"/>
                  </a:cubicBezTo>
                  <a:cubicBezTo>
                    <a:pt x="542207" y="313213"/>
                    <a:pt x="544842" y="322669"/>
                    <a:pt x="545954" y="327411"/>
                  </a:cubicBezTo>
                  <a:cubicBezTo>
                    <a:pt x="549115" y="338476"/>
                    <a:pt x="547008" y="357943"/>
                    <a:pt x="547008" y="357943"/>
                  </a:cubicBezTo>
                  <a:cubicBezTo>
                    <a:pt x="547008" y="357943"/>
                    <a:pt x="547008" y="357943"/>
                    <a:pt x="340775" y="357943"/>
                  </a:cubicBezTo>
                  <a:cubicBezTo>
                    <a:pt x="340775" y="357943"/>
                    <a:pt x="340775" y="357943"/>
                    <a:pt x="339721" y="357943"/>
                  </a:cubicBezTo>
                  <a:cubicBezTo>
                    <a:pt x="339721" y="357943"/>
                    <a:pt x="339721" y="357943"/>
                    <a:pt x="133487" y="357943"/>
                  </a:cubicBezTo>
                  <a:cubicBezTo>
                    <a:pt x="133487" y="357943"/>
                    <a:pt x="131351" y="338476"/>
                    <a:pt x="134542" y="327411"/>
                  </a:cubicBezTo>
                  <a:cubicBezTo>
                    <a:pt x="135595" y="322669"/>
                    <a:pt x="138230" y="313213"/>
                    <a:pt x="145666" y="303201"/>
                  </a:cubicBezTo>
                  <a:cubicBezTo>
                    <a:pt x="152018" y="293746"/>
                    <a:pt x="159980" y="288477"/>
                    <a:pt x="162088" y="286369"/>
                  </a:cubicBezTo>
                  <a:cubicBezTo>
                    <a:pt x="170021" y="280573"/>
                    <a:pt x="188054" y="273723"/>
                    <a:pt x="197070" y="248987"/>
                  </a:cubicBezTo>
                  <a:cubicBezTo>
                    <a:pt x="197070" y="248987"/>
                    <a:pt x="197070" y="248987"/>
                    <a:pt x="201842" y="221616"/>
                  </a:cubicBezTo>
                  <a:cubicBezTo>
                    <a:pt x="201842" y="221616"/>
                    <a:pt x="201842" y="221616"/>
                    <a:pt x="235770" y="32127"/>
                  </a:cubicBezTo>
                  <a:cubicBezTo>
                    <a:pt x="236326" y="27385"/>
                    <a:pt x="238961" y="23696"/>
                    <a:pt x="243205" y="21588"/>
                  </a:cubicBezTo>
                  <a:cubicBezTo>
                    <a:pt x="255384" y="14212"/>
                    <a:pt x="287730" y="-513"/>
                    <a:pt x="339691" y="14"/>
                  </a:cubicBezTo>
                  <a:close/>
                </a:path>
              </a:pathLst>
            </a:custGeom>
            <a:grpFill/>
            <a:ln w="2926"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306" name="Freihandform: Form 305">
              <a:extLst>
                <a:ext uri="{FF2B5EF4-FFF2-40B4-BE49-F238E27FC236}">
                  <a16:creationId xmlns:a16="http://schemas.microsoft.com/office/drawing/2014/main" id="{25FB6B77-3707-4FD7-ADB6-8C9D38542DC2}"/>
                </a:ext>
              </a:extLst>
            </p:cNvPr>
            <p:cNvSpPr/>
            <p:nvPr/>
          </p:nvSpPr>
          <p:spPr>
            <a:xfrm>
              <a:off x="1493583" y="1633419"/>
              <a:ext cx="230442" cy="166132"/>
            </a:xfrm>
            <a:custGeom>
              <a:avLst/>
              <a:gdLst>
                <a:gd name="connsiteX0" fmla="*/ 599818 w 713605"/>
                <a:gd name="connsiteY0" fmla="*/ 350875 h 514456"/>
                <a:gd name="connsiteX1" fmla="*/ 713605 w 713605"/>
                <a:gd name="connsiteY1" fmla="*/ 464691 h 514456"/>
                <a:gd name="connsiteX2" fmla="*/ 665216 w 713605"/>
                <a:gd name="connsiteY2" fmla="*/ 514456 h 514456"/>
                <a:gd name="connsiteX3" fmla="*/ 550053 w 713605"/>
                <a:gd name="connsiteY3" fmla="*/ 400670 h 514456"/>
                <a:gd name="connsiteX4" fmla="*/ 599818 w 713605"/>
                <a:gd name="connsiteY4" fmla="*/ 350875 h 514456"/>
                <a:gd name="connsiteX5" fmla="*/ 398298 w 713605"/>
                <a:gd name="connsiteY5" fmla="*/ 116158 h 514456"/>
                <a:gd name="connsiteX6" fmla="*/ 431494 w 713605"/>
                <a:gd name="connsiteY6" fmla="*/ 116158 h 514456"/>
                <a:gd name="connsiteX7" fmla="*/ 431494 w 713605"/>
                <a:gd name="connsiteY7" fmla="*/ 248914 h 514456"/>
                <a:gd name="connsiteX8" fmla="*/ 464691 w 713605"/>
                <a:gd name="connsiteY8" fmla="*/ 248914 h 514456"/>
                <a:gd name="connsiteX9" fmla="*/ 464691 w 713605"/>
                <a:gd name="connsiteY9" fmla="*/ 215718 h 514456"/>
                <a:gd name="connsiteX10" fmla="*/ 497887 w 713605"/>
                <a:gd name="connsiteY10" fmla="*/ 215718 h 514456"/>
                <a:gd name="connsiteX11" fmla="*/ 497887 w 713605"/>
                <a:gd name="connsiteY11" fmla="*/ 248914 h 514456"/>
                <a:gd name="connsiteX12" fmla="*/ 497887 w 713605"/>
                <a:gd name="connsiteY12" fmla="*/ 265512 h 514456"/>
                <a:gd name="connsiteX13" fmla="*/ 497887 w 713605"/>
                <a:gd name="connsiteY13" fmla="*/ 282111 h 514456"/>
                <a:gd name="connsiteX14" fmla="*/ 215747 w 713605"/>
                <a:gd name="connsiteY14" fmla="*/ 282111 h 514456"/>
                <a:gd name="connsiteX15" fmla="*/ 215747 w 713605"/>
                <a:gd name="connsiteY15" fmla="*/ 331905 h 514456"/>
                <a:gd name="connsiteX16" fmla="*/ 182551 w 713605"/>
                <a:gd name="connsiteY16" fmla="*/ 331905 h 514456"/>
                <a:gd name="connsiteX17" fmla="*/ 182551 w 713605"/>
                <a:gd name="connsiteY17" fmla="*/ 282111 h 514456"/>
                <a:gd name="connsiteX18" fmla="*/ 116158 w 713605"/>
                <a:gd name="connsiteY18" fmla="*/ 282111 h 514456"/>
                <a:gd name="connsiteX19" fmla="*/ 116158 w 713605"/>
                <a:gd name="connsiteY19" fmla="*/ 331905 h 514456"/>
                <a:gd name="connsiteX20" fmla="*/ 82991 w 713605"/>
                <a:gd name="connsiteY20" fmla="*/ 331905 h 514456"/>
                <a:gd name="connsiteX21" fmla="*/ 82991 w 713605"/>
                <a:gd name="connsiteY21" fmla="*/ 282111 h 514456"/>
                <a:gd name="connsiteX22" fmla="*/ 0 w 713605"/>
                <a:gd name="connsiteY22" fmla="*/ 282111 h 514456"/>
                <a:gd name="connsiteX23" fmla="*/ 0 w 713605"/>
                <a:gd name="connsiteY23" fmla="*/ 265512 h 514456"/>
                <a:gd name="connsiteX24" fmla="*/ 0 w 713605"/>
                <a:gd name="connsiteY24" fmla="*/ 248914 h 514456"/>
                <a:gd name="connsiteX25" fmla="*/ 0 w 713605"/>
                <a:gd name="connsiteY25" fmla="*/ 165923 h 514456"/>
                <a:gd name="connsiteX26" fmla="*/ 33196 w 713605"/>
                <a:gd name="connsiteY26" fmla="*/ 165923 h 514456"/>
                <a:gd name="connsiteX27" fmla="*/ 33196 w 713605"/>
                <a:gd name="connsiteY27" fmla="*/ 248914 h 514456"/>
                <a:gd name="connsiteX28" fmla="*/ 66393 w 713605"/>
                <a:gd name="connsiteY28" fmla="*/ 248914 h 514456"/>
                <a:gd name="connsiteX29" fmla="*/ 66393 w 713605"/>
                <a:gd name="connsiteY29" fmla="*/ 132756 h 514456"/>
                <a:gd name="connsiteX30" fmla="*/ 99589 w 713605"/>
                <a:gd name="connsiteY30" fmla="*/ 132756 h 514456"/>
                <a:gd name="connsiteX31" fmla="*/ 99589 w 713605"/>
                <a:gd name="connsiteY31" fmla="*/ 248914 h 514456"/>
                <a:gd name="connsiteX32" fmla="*/ 132756 w 713605"/>
                <a:gd name="connsiteY32" fmla="*/ 248914 h 514456"/>
                <a:gd name="connsiteX33" fmla="*/ 132756 w 713605"/>
                <a:gd name="connsiteY33" fmla="*/ 165923 h 514456"/>
                <a:gd name="connsiteX34" fmla="*/ 165952 w 713605"/>
                <a:gd name="connsiteY34" fmla="*/ 165923 h 514456"/>
                <a:gd name="connsiteX35" fmla="*/ 165952 w 713605"/>
                <a:gd name="connsiteY35" fmla="*/ 248914 h 514456"/>
                <a:gd name="connsiteX36" fmla="*/ 199149 w 713605"/>
                <a:gd name="connsiteY36" fmla="*/ 248914 h 514456"/>
                <a:gd name="connsiteX37" fmla="*/ 199149 w 713605"/>
                <a:gd name="connsiteY37" fmla="*/ 232316 h 514456"/>
                <a:gd name="connsiteX38" fmla="*/ 232345 w 713605"/>
                <a:gd name="connsiteY38" fmla="*/ 232316 h 514456"/>
                <a:gd name="connsiteX39" fmla="*/ 232345 w 713605"/>
                <a:gd name="connsiteY39" fmla="*/ 248914 h 514456"/>
                <a:gd name="connsiteX40" fmla="*/ 265542 w 713605"/>
                <a:gd name="connsiteY40" fmla="*/ 248914 h 514456"/>
                <a:gd name="connsiteX41" fmla="*/ 265542 w 713605"/>
                <a:gd name="connsiteY41" fmla="*/ 182521 h 514456"/>
                <a:gd name="connsiteX42" fmla="*/ 298738 w 713605"/>
                <a:gd name="connsiteY42" fmla="*/ 182521 h 514456"/>
                <a:gd name="connsiteX43" fmla="*/ 298738 w 713605"/>
                <a:gd name="connsiteY43" fmla="*/ 248914 h 514456"/>
                <a:gd name="connsiteX44" fmla="*/ 331935 w 713605"/>
                <a:gd name="connsiteY44" fmla="*/ 248914 h 514456"/>
                <a:gd name="connsiteX45" fmla="*/ 331935 w 713605"/>
                <a:gd name="connsiteY45" fmla="*/ 149354 h 514456"/>
                <a:gd name="connsiteX46" fmla="*/ 365101 w 713605"/>
                <a:gd name="connsiteY46" fmla="*/ 149354 h 514456"/>
                <a:gd name="connsiteX47" fmla="*/ 365101 w 713605"/>
                <a:gd name="connsiteY47" fmla="*/ 248914 h 514456"/>
                <a:gd name="connsiteX48" fmla="*/ 398298 w 713605"/>
                <a:gd name="connsiteY48" fmla="*/ 248914 h 514456"/>
                <a:gd name="connsiteX49" fmla="*/ 406582 w 713605"/>
                <a:gd name="connsiteY49" fmla="*/ 0 h 514456"/>
                <a:gd name="connsiteX50" fmla="*/ 614045 w 713605"/>
                <a:gd name="connsiteY50" fmla="*/ 207433 h 514456"/>
                <a:gd name="connsiteX51" fmla="*/ 406582 w 713605"/>
                <a:gd name="connsiteY51" fmla="*/ 414896 h 514456"/>
                <a:gd name="connsiteX52" fmla="*/ 240600 w 713605"/>
                <a:gd name="connsiteY52" fmla="*/ 331905 h 514456"/>
                <a:gd name="connsiteX53" fmla="*/ 309774 w 713605"/>
                <a:gd name="connsiteY53" fmla="*/ 331905 h 514456"/>
                <a:gd name="connsiteX54" fmla="*/ 406582 w 713605"/>
                <a:gd name="connsiteY54" fmla="*/ 365101 h 514456"/>
                <a:gd name="connsiteX55" fmla="*/ 564250 w 713605"/>
                <a:gd name="connsiteY55" fmla="*/ 207433 h 514456"/>
                <a:gd name="connsiteX56" fmla="*/ 406582 w 713605"/>
                <a:gd name="connsiteY56" fmla="*/ 49765 h 514456"/>
                <a:gd name="connsiteX57" fmla="*/ 291624 w 713605"/>
                <a:gd name="connsiteY57" fmla="*/ 99560 h 514456"/>
                <a:gd name="connsiteX58" fmla="*/ 229359 w 713605"/>
                <a:gd name="connsiteY58" fmla="*/ 99560 h 514456"/>
                <a:gd name="connsiteX59" fmla="*/ 406582 w 713605"/>
                <a:gd name="connsiteY59" fmla="*/ 0 h 5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3605" h="514456">
                  <a:moveTo>
                    <a:pt x="599818" y="350875"/>
                  </a:moveTo>
                  <a:lnTo>
                    <a:pt x="713605" y="464691"/>
                  </a:lnTo>
                  <a:lnTo>
                    <a:pt x="665216" y="514456"/>
                  </a:lnTo>
                  <a:lnTo>
                    <a:pt x="550053" y="400670"/>
                  </a:lnTo>
                  <a:cubicBezTo>
                    <a:pt x="568964" y="386589"/>
                    <a:pt x="585767" y="369786"/>
                    <a:pt x="599818" y="350875"/>
                  </a:cubicBezTo>
                  <a:close/>
                  <a:moveTo>
                    <a:pt x="398298" y="116158"/>
                  </a:moveTo>
                  <a:lnTo>
                    <a:pt x="431494" y="116158"/>
                  </a:lnTo>
                  <a:lnTo>
                    <a:pt x="431494" y="248914"/>
                  </a:lnTo>
                  <a:lnTo>
                    <a:pt x="464691" y="248914"/>
                  </a:lnTo>
                  <a:lnTo>
                    <a:pt x="464691" y="215718"/>
                  </a:lnTo>
                  <a:lnTo>
                    <a:pt x="497887" y="215718"/>
                  </a:lnTo>
                  <a:lnTo>
                    <a:pt x="497887" y="248914"/>
                  </a:lnTo>
                  <a:lnTo>
                    <a:pt x="497887" y="265512"/>
                  </a:lnTo>
                  <a:lnTo>
                    <a:pt x="497887" y="282111"/>
                  </a:lnTo>
                  <a:lnTo>
                    <a:pt x="215747" y="282111"/>
                  </a:lnTo>
                  <a:lnTo>
                    <a:pt x="215747" y="331905"/>
                  </a:lnTo>
                  <a:lnTo>
                    <a:pt x="182551" y="331905"/>
                  </a:lnTo>
                  <a:lnTo>
                    <a:pt x="182551" y="282111"/>
                  </a:lnTo>
                  <a:lnTo>
                    <a:pt x="116158" y="282111"/>
                  </a:lnTo>
                  <a:lnTo>
                    <a:pt x="116158" y="331905"/>
                  </a:lnTo>
                  <a:lnTo>
                    <a:pt x="82991" y="331905"/>
                  </a:lnTo>
                  <a:lnTo>
                    <a:pt x="82991" y="282111"/>
                  </a:lnTo>
                  <a:lnTo>
                    <a:pt x="0" y="282111"/>
                  </a:lnTo>
                  <a:lnTo>
                    <a:pt x="0" y="265512"/>
                  </a:lnTo>
                  <a:lnTo>
                    <a:pt x="0" y="248914"/>
                  </a:lnTo>
                  <a:lnTo>
                    <a:pt x="0" y="165923"/>
                  </a:lnTo>
                  <a:lnTo>
                    <a:pt x="33196" y="165923"/>
                  </a:lnTo>
                  <a:lnTo>
                    <a:pt x="33196" y="248914"/>
                  </a:lnTo>
                  <a:lnTo>
                    <a:pt x="66393" y="248914"/>
                  </a:lnTo>
                  <a:lnTo>
                    <a:pt x="66393" y="132756"/>
                  </a:lnTo>
                  <a:lnTo>
                    <a:pt x="99589" y="132756"/>
                  </a:lnTo>
                  <a:lnTo>
                    <a:pt x="99589" y="248914"/>
                  </a:lnTo>
                  <a:lnTo>
                    <a:pt x="132756" y="248914"/>
                  </a:lnTo>
                  <a:lnTo>
                    <a:pt x="132756" y="165923"/>
                  </a:lnTo>
                  <a:lnTo>
                    <a:pt x="165952" y="165923"/>
                  </a:lnTo>
                  <a:lnTo>
                    <a:pt x="165952" y="248914"/>
                  </a:lnTo>
                  <a:lnTo>
                    <a:pt x="199149" y="248914"/>
                  </a:lnTo>
                  <a:lnTo>
                    <a:pt x="199149" y="232316"/>
                  </a:lnTo>
                  <a:lnTo>
                    <a:pt x="232345" y="232316"/>
                  </a:lnTo>
                  <a:lnTo>
                    <a:pt x="232345" y="248914"/>
                  </a:lnTo>
                  <a:lnTo>
                    <a:pt x="265542" y="248914"/>
                  </a:lnTo>
                  <a:lnTo>
                    <a:pt x="265542" y="182521"/>
                  </a:lnTo>
                  <a:lnTo>
                    <a:pt x="298738" y="182521"/>
                  </a:lnTo>
                  <a:lnTo>
                    <a:pt x="298738" y="248914"/>
                  </a:lnTo>
                  <a:lnTo>
                    <a:pt x="331935" y="248914"/>
                  </a:lnTo>
                  <a:lnTo>
                    <a:pt x="331935" y="149354"/>
                  </a:lnTo>
                  <a:lnTo>
                    <a:pt x="365101" y="149354"/>
                  </a:lnTo>
                  <a:lnTo>
                    <a:pt x="365101" y="248914"/>
                  </a:lnTo>
                  <a:lnTo>
                    <a:pt x="398298" y="248914"/>
                  </a:lnTo>
                  <a:close/>
                  <a:moveTo>
                    <a:pt x="406582" y="0"/>
                  </a:moveTo>
                  <a:cubicBezTo>
                    <a:pt x="521159" y="0"/>
                    <a:pt x="614045" y="92856"/>
                    <a:pt x="614045" y="207433"/>
                  </a:cubicBezTo>
                  <a:cubicBezTo>
                    <a:pt x="614045" y="322011"/>
                    <a:pt x="521159" y="414896"/>
                    <a:pt x="406582" y="414896"/>
                  </a:cubicBezTo>
                  <a:cubicBezTo>
                    <a:pt x="338696" y="414896"/>
                    <a:pt x="278451" y="382314"/>
                    <a:pt x="240600" y="331905"/>
                  </a:cubicBezTo>
                  <a:lnTo>
                    <a:pt x="309774" y="331905"/>
                  </a:lnTo>
                  <a:cubicBezTo>
                    <a:pt x="336501" y="352689"/>
                    <a:pt x="370078" y="365101"/>
                    <a:pt x="406582" y="365101"/>
                  </a:cubicBezTo>
                  <a:cubicBezTo>
                    <a:pt x="493671" y="365101"/>
                    <a:pt x="564250" y="294523"/>
                    <a:pt x="564250" y="207433"/>
                  </a:cubicBezTo>
                  <a:cubicBezTo>
                    <a:pt x="564250" y="120373"/>
                    <a:pt x="493671" y="49765"/>
                    <a:pt x="406582" y="49765"/>
                  </a:cubicBezTo>
                  <a:cubicBezTo>
                    <a:pt x="361237" y="49765"/>
                    <a:pt x="320371" y="68910"/>
                    <a:pt x="291624" y="99560"/>
                  </a:cubicBezTo>
                  <a:lnTo>
                    <a:pt x="229359" y="99560"/>
                  </a:lnTo>
                  <a:cubicBezTo>
                    <a:pt x="265776" y="39871"/>
                    <a:pt x="331524" y="0"/>
                    <a:pt x="406582" y="0"/>
                  </a:cubicBezTo>
                  <a:close/>
                </a:path>
              </a:pathLst>
            </a:custGeom>
            <a:grpFill/>
            <a:ln w="2926"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grpSp>
        <p:nvGrpSpPr>
          <p:cNvPr id="309" name="Gruppieren 308">
            <a:extLst>
              <a:ext uri="{FF2B5EF4-FFF2-40B4-BE49-F238E27FC236}">
                <a16:creationId xmlns:a16="http://schemas.microsoft.com/office/drawing/2014/main" id="{DA89E3CF-03F3-AE06-E87B-9F2F60405893}"/>
              </a:ext>
            </a:extLst>
          </p:cNvPr>
          <p:cNvGrpSpPr>
            <a:grpSpLocks/>
          </p:cNvGrpSpPr>
          <p:nvPr/>
        </p:nvGrpSpPr>
        <p:grpSpPr>
          <a:xfrm>
            <a:off x="5856806" y="3594519"/>
            <a:ext cx="416595" cy="219258"/>
            <a:chOff x="2916390" y="1073334"/>
            <a:chExt cx="683616" cy="352368"/>
          </a:xfrm>
          <a:solidFill>
            <a:schemeClr val="tx1"/>
          </a:solidFill>
        </p:grpSpPr>
        <p:sp>
          <p:nvSpPr>
            <p:cNvPr id="310" name="Freihandform: Form 309">
              <a:extLst>
                <a:ext uri="{FF2B5EF4-FFF2-40B4-BE49-F238E27FC236}">
                  <a16:creationId xmlns:a16="http://schemas.microsoft.com/office/drawing/2014/main" id="{B9200581-4745-7F82-3E06-AB15B9D97E3A}"/>
                </a:ext>
              </a:extLst>
            </p:cNvPr>
            <p:cNvSpPr/>
            <p:nvPr/>
          </p:nvSpPr>
          <p:spPr>
            <a:xfrm>
              <a:off x="3255141" y="1073334"/>
              <a:ext cx="344865" cy="344864"/>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grp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311" name="Freihandform: Form 310">
              <a:extLst>
                <a:ext uri="{FF2B5EF4-FFF2-40B4-BE49-F238E27FC236}">
                  <a16:creationId xmlns:a16="http://schemas.microsoft.com/office/drawing/2014/main" id="{FF4167BC-8FF7-00BC-A4CC-12C29BBE7A82}"/>
                </a:ext>
              </a:extLst>
            </p:cNvPr>
            <p:cNvSpPr/>
            <p:nvPr/>
          </p:nvSpPr>
          <p:spPr>
            <a:xfrm>
              <a:off x="2916390" y="1076865"/>
              <a:ext cx="285425" cy="348837"/>
            </a:xfrm>
            <a:custGeom>
              <a:avLst/>
              <a:gdLst>
                <a:gd name="connsiteX0" fmla="*/ 352591 w 705182"/>
                <a:gd name="connsiteY0" fmla="*/ 0 h 861853"/>
                <a:gd name="connsiteX1" fmla="*/ 0 w 705182"/>
                <a:gd name="connsiteY1" fmla="*/ 160357 h 861853"/>
                <a:gd name="connsiteX2" fmla="*/ 0 w 705182"/>
                <a:gd name="connsiteY2" fmla="*/ 391748 h 861853"/>
                <a:gd name="connsiteX3" fmla="*/ 352591 w 705182"/>
                <a:gd name="connsiteY3" fmla="*/ 861854 h 861853"/>
                <a:gd name="connsiteX4" fmla="*/ 705182 w 705182"/>
                <a:gd name="connsiteY4" fmla="*/ 391748 h 861853"/>
                <a:gd name="connsiteX5" fmla="*/ 705182 w 705182"/>
                <a:gd name="connsiteY5" fmla="*/ 160357 h 861853"/>
                <a:gd name="connsiteX6" fmla="*/ 352591 w 705182"/>
                <a:gd name="connsiteY6" fmla="*/ 0 h 861853"/>
                <a:gd name="connsiteX7" fmla="*/ 352591 w 705182"/>
                <a:gd name="connsiteY7" fmla="*/ 430535 h 861853"/>
                <a:gd name="connsiteX8" fmla="*/ 626824 w 705182"/>
                <a:gd name="connsiteY8" fmla="*/ 430535 h 861853"/>
                <a:gd name="connsiteX9" fmla="*/ 352591 w 705182"/>
                <a:gd name="connsiteY9" fmla="*/ 780547 h 861853"/>
                <a:gd name="connsiteX10" fmla="*/ 352591 w 705182"/>
                <a:gd name="connsiteY10" fmla="*/ 430904 h 861853"/>
                <a:gd name="connsiteX11" fmla="*/ 78359 w 705182"/>
                <a:gd name="connsiteY11" fmla="*/ 430904 h 861853"/>
                <a:gd name="connsiteX12" fmla="*/ 78359 w 705182"/>
                <a:gd name="connsiteY12" fmla="*/ 207621 h 861853"/>
                <a:gd name="connsiteX13" fmla="*/ 352591 w 705182"/>
                <a:gd name="connsiteY13" fmla="*/ 85775 h 861853"/>
                <a:gd name="connsiteX14" fmla="*/ 352591 w 705182"/>
                <a:gd name="connsiteY14" fmla="*/ 430535 h 86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5182" h="861853">
                  <a:moveTo>
                    <a:pt x="352591" y="0"/>
                  </a:moveTo>
                  <a:lnTo>
                    <a:pt x="0" y="160357"/>
                  </a:lnTo>
                  <a:lnTo>
                    <a:pt x="0" y="391748"/>
                  </a:lnTo>
                  <a:cubicBezTo>
                    <a:pt x="0" y="609365"/>
                    <a:pt x="150222" y="812287"/>
                    <a:pt x="352591" y="861854"/>
                  </a:cubicBezTo>
                  <a:cubicBezTo>
                    <a:pt x="554914" y="812287"/>
                    <a:pt x="705182" y="609365"/>
                    <a:pt x="705182" y="391748"/>
                  </a:cubicBezTo>
                  <a:lnTo>
                    <a:pt x="705182" y="160357"/>
                  </a:lnTo>
                  <a:lnTo>
                    <a:pt x="352591" y="0"/>
                  </a:lnTo>
                  <a:close/>
                  <a:moveTo>
                    <a:pt x="352591" y="430535"/>
                  </a:moveTo>
                  <a:lnTo>
                    <a:pt x="626824" y="430535"/>
                  </a:lnTo>
                  <a:cubicBezTo>
                    <a:pt x="606048" y="591952"/>
                    <a:pt x="498529" y="735724"/>
                    <a:pt x="352591" y="780547"/>
                  </a:cubicBezTo>
                  <a:lnTo>
                    <a:pt x="352591" y="430904"/>
                  </a:lnTo>
                  <a:lnTo>
                    <a:pt x="78359" y="430904"/>
                  </a:lnTo>
                  <a:lnTo>
                    <a:pt x="78359" y="207621"/>
                  </a:lnTo>
                  <a:lnTo>
                    <a:pt x="352591" y="85775"/>
                  </a:lnTo>
                  <a:lnTo>
                    <a:pt x="352591" y="430535"/>
                  </a:lnTo>
                  <a:close/>
                </a:path>
              </a:pathLst>
            </a:custGeom>
            <a:grp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pic>
        <p:nvPicPr>
          <p:cNvPr id="312" name="Grafik 311">
            <a:extLst>
              <a:ext uri="{FF2B5EF4-FFF2-40B4-BE49-F238E27FC236}">
                <a16:creationId xmlns:a16="http://schemas.microsoft.com/office/drawing/2014/main" id="{A446C803-2064-5772-95A9-EF0610B4FAF3}"/>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63984" y="3966719"/>
            <a:ext cx="518697" cy="363282"/>
          </a:xfrm>
          <a:prstGeom prst="rect">
            <a:avLst/>
          </a:prstGeom>
        </p:spPr>
      </p:pic>
      <p:sp>
        <p:nvSpPr>
          <p:cNvPr id="313" name="Freihandform: Form 312">
            <a:extLst>
              <a:ext uri="{FF2B5EF4-FFF2-40B4-BE49-F238E27FC236}">
                <a16:creationId xmlns:a16="http://schemas.microsoft.com/office/drawing/2014/main" id="{BF22CD41-0B75-130C-3B1F-482B726A7C2A}"/>
              </a:ext>
            </a:extLst>
          </p:cNvPr>
          <p:cNvSpPr/>
          <p:nvPr/>
        </p:nvSpPr>
        <p:spPr>
          <a:xfrm>
            <a:off x="6458472" y="3457292"/>
            <a:ext cx="381129" cy="453062"/>
          </a:xfrm>
          <a:custGeom>
            <a:avLst/>
            <a:gdLst>
              <a:gd name="connsiteX0" fmla="*/ 597894 w 1018525"/>
              <a:gd name="connsiteY0" fmla="*/ 247054 h 1227436"/>
              <a:gd name="connsiteX1" fmla="*/ 420769 w 1018525"/>
              <a:gd name="connsiteY1" fmla="*/ 247054 h 1227436"/>
              <a:gd name="connsiteX2" fmla="*/ 420769 w 1018525"/>
              <a:gd name="connsiteY2" fmla="*/ 162107 h 1227436"/>
              <a:gd name="connsiteX3" fmla="*/ 421092 w 1018525"/>
              <a:gd name="connsiteY3" fmla="*/ 161785 h 1227436"/>
              <a:gd name="connsiteX4" fmla="*/ 449607 w 1018525"/>
              <a:gd name="connsiteY4" fmla="*/ 125254 h 1227436"/>
              <a:gd name="connsiteX5" fmla="*/ 479918 w 1018525"/>
              <a:gd name="connsiteY5" fmla="*/ 122997 h 1227436"/>
              <a:gd name="connsiteX6" fmla="*/ 509355 w 1018525"/>
              <a:gd name="connsiteY6" fmla="*/ 154414 h 1227436"/>
              <a:gd name="connsiteX7" fmla="*/ 539068 w 1018525"/>
              <a:gd name="connsiteY7" fmla="*/ 122997 h 1227436"/>
              <a:gd name="connsiteX8" fmla="*/ 569379 w 1018525"/>
              <a:gd name="connsiteY8" fmla="*/ 125254 h 1227436"/>
              <a:gd name="connsiteX9" fmla="*/ 597894 w 1018525"/>
              <a:gd name="connsiteY9" fmla="*/ 161785 h 1227436"/>
              <a:gd name="connsiteX10" fmla="*/ 597894 w 1018525"/>
              <a:gd name="connsiteY10" fmla="*/ 162107 h 1227436"/>
              <a:gd name="connsiteX11" fmla="*/ 597894 w 1018525"/>
              <a:gd name="connsiteY11" fmla="*/ 247054 h 1227436"/>
              <a:gd name="connsiteX12" fmla="*/ 509355 w 1018525"/>
              <a:gd name="connsiteY12" fmla="*/ 101899 h 1227436"/>
              <a:gd name="connsiteX13" fmla="*/ 551091 w 1018525"/>
              <a:gd name="connsiteY13" fmla="*/ 50949 h 1227436"/>
              <a:gd name="connsiteX14" fmla="*/ 509355 w 1018525"/>
              <a:gd name="connsiteY14" fmla="*/ 0 h 1227436"/>
              <a:gd name="connsiteX15" fmla="*/ 467619 w 1018525"/>
              <a:gd name="connsiteY15" fmla="*/ 50949 h 1227436"/>
              <a:gd name="connsiteX16" fmla="*/ 509355 w 1018525"/>
              <a:gd name="connsiteY16" fmla="*/ 101899 h 1227436"/>
              <a:gd name="connsiteX17" fmla="*/ 990010 w 1018525"/>
              <a:gd name="connsiteY17" fmla="*/ 400546 h 1227436"/>
              <a:gd name="connsiteX18" fmla="*/ 959699 w 1018525"/>
              <a:gd name="connsiteY18" fmla="*/ 398289 h 1227436"/>
              <a:gd name="connsiteX19" fmla="*/ 929986 w 1018525"/>
              <a:gd name="connsiteY19" fmla="*/ 429706 h 1227436"/>
              <a:gd name="connsiteX20" fmla="*/ 900550 w 1018525"/>
              <a:gd name="connsiteY20" fmla="*/ 398289 h 1227436"/>
              <a:gd name="connsiteX21" fmla="*/ 870238 w 1018525"/>
              <a:gd name="connsiteY21" fmla="*/ 400546 h 1227436"/>
              <a:gd name="connsiteX22" fmla="*/ 841723 w 1018525"/>
              <a:gd name="connsiteY22" fmla="*/ 437077 h 1227436"/>
              <a:gd name="connsiteX23" fmla="*/ 841401 w 1018525"/>
              <a:gd name="connsiteY23" fmla="*/ 437399 h 1227436"/>
              <a:gd name="connsiteX24" fmla="*/ 841401 w 1018525"/>
              <a:gd name="connsiteY24" fmla="*/ 522346 h 1227436"/>
              <a:gd name="connsiteX25" fmla="*/ 1018525 w 1018525"/>
              <a:gd name="connsiteY25" fmla="*/ 522346 h 1227436"/>
              <a:gd name="connsiteX26" fmla="*/ 1018525 w 1018525"/>
              <a:gd name="connsiteY26" fmla="*/ 437399 h 1227436"/>
              <a:gd name="connsiteX27" fmla="*/ 1018525 w 1018525"/>
              <a:gd name="connsiteY27" fmla="*/ 437077 h 1227436"/>
              <a:gd name="connsiteX28" fmla="*/ 990010 w 1018525"/>
              <a:gd name="connsiteY28" fmla="*/ 400546 h 1227436"/>
              <a:gd name="connsiteX29" fmla="*/ 929986 w 1018525"/>
              <a:gd name="connsiteY29" fmla="*/ 377145 h 1227436"/>
              <a:gd name="connsiteX30" fmla="*/ 971722 w 1018525"/>
              <a:gd name="connsiteY30" fmla="*/ 326195 h 1227436"/>
              <a:gd name="connsiteX31" fmla="*/ 929986 w 1018525"/>
              <a:gd name="connsiteY31" fmla="*/ 275246 h 1227436"/>
              <a:gd name="connsiteX32" fmla="*/ 888250 w 1018525"/>
              <a:gd name="connsiteY32" fmla="*/ 326195 h 1227436"/>
              <a:gd name="connsiteX33" fmla="*/ 929986 w 1018525"/>
              <a:gd name="connsiteY33" fmla="*/ 377145 h 1227436"/>
              <a:gd name="connsiteX34" fmla="*/ 569932 w 1018525"/>
              <a:gd name="connsiteY34" fmla="*/ 1105637 h 1227436"/>
              <a:gd name="connsiteX35" fmla="*/ 539620 w 1018525"/>
              <a:gd name="connsiteY35" fmla="*/ 1103380 h 1227436"/>
              <a:gd name="connsiteX36" fmla="*/ 509908 w 1018525"/>
              <a:gd name="connsiteY36" fmla="*/ 1134797 h 1227436"/>
              <a:gd name="connsiteX37" fmla="*/ 480471 w 1018525"/>
              <a:gd name="connsiteY37" fmla="*/ 1103380 h 1227436"/>
              <a:gd name="connsiteX38" fmla="*/ 450160 w 1018525"/>
              <a:gd name="connsiteY38" fmla="*/ 1105637 h 1227436"/>
              <a:gd name="connsiteX39" fmla="*/ 421645 w 1018525"/>
              <a:gd name="connsiteY39" fmla="*/ 1142168 h 1227436"/>
              <a:gd name="connsiteX40" fmla="*/ 421322 w 1018525"/>
              <a:gd name="connsiteY40" fmla="*/ 1142490 h 1227436"/>
              <a:gd name="connsiteX41" fmla="*/ 421322 w 1018525"/>
              <a:gd name="connsiteY41" fmla="*/ 1227436 h 1227436"/>
              <a:gd name="connsiteX42" fmla="*/ 598447 w 1018525"/>
              <a:gd name="connsiteY42" fmla="*/ 1227436 h 1227436"/>
              <a:gd name="connsiteX43" fmla="*/ 598447 w 1018525"/>
              <a:gd name="connsiteY43" fmla="*/ 1142490 h 1227436"/>
              <a:gd name="connsiteX44" fmla="*/ 598447 w 1018525"/>
              <a:gd name="connsiteY44" fmla="*/ 1142168 h 1227436"/>
              <a:gd name="connsiteX45" fmla="*/ 569932 w 1018525"/>
              <a:gd name="connsiteY45" fmla="*/ 1105637 h 1227436"/>
              <a:gd name="connsiteX46" fmla="*/ 509861 w 1018525"/>
              <a:gd name="connsiteY46" fmla="*/ 1082281 h 1227436"/>
              <a:gd name="connsiteX47" fmla="*/ 551598 w 1018525"/>
              <a:gd name="connsiteY47" fmla="*/ 1031332 h 1227436"/>
              <a:gd name="connsiteX48" fmla="*/ 509861 w 1018525"/>
              <a:gd name="connsiteY48" fmla="*/ 980383 h 1227436"/>
              <a:gd name="connsiteX49" fmla="*/ 468125 w 1018525"/>
              <a:gd name="connsiteY49" fmla="*/ 1031332 h 1227436"/>
              <a:gd name="connsiteX50" fmla="*/ 509861 w 1018525"/>
              <a:gd name="connsiteY50" fmla="*/ 1082281 h 1227436"/>
              <a:gd name="connsiteX51" fmla="*/ 963937 w 1018525"/>
              <a:gd name="connsiteY51" fmla="*/ 844487 h 1227436"/>
              <a:gd name="connsiteX52" fmla="*/ 933625 w 1018525"/>
              <a:gd name="connsiteY52" fmla="*/ 842230 h 1227436"/>
              <a:gd name="connsiteX53" fmla="*/ 903913 w 1018525"/>
              <a:gd name="connsiteY53" fmla="*/ 873647 h 1227436"/>
              <a:gd name="connsiteX54" fmla="*/ 874476 w 1018525"/>
              <a:gd name="connsiteY54" fmla="*/ 842230 h 1227436"/>
              <a:gd name="connsiteX55" fmla="*/ 844164 w 1018525"/>
              <a:gd name="connsiteY55" fmla="*/ 844487 h 1227436"/>
              <a:gd name="connsiteX56" fmla="*/ 815649 w 1018525"/>
              <a:gd name="connsiteY56" fmla="*/ 881018 h 1227436"/>
              <a:gd name="connsiteX57" fmla="*/ 815327 w 1018525"/>
              <a:gd name="connsiteY57" fmla="*/ 881340 h 1227436"/>
              <a:gd name="connsiteX58" fmla="*/ 815327 w 1018525"/>
              <a:gd name="connsiteY58" fmla="*/ 966287 h 1227436"/>
              <a:gd name="connsiteX59" fmla="*/ 992452 w 1018525"/>
              <a:gd name="connsiteY59" fmla="*/ 966287 h 1227436"/>
              <a:gd name="connsiteX60" fmla="*/ 992452 w 1018525"/>
              <a:gd name="connsiteY60" fmla="*/ 881340 h 1227436"/>
              <a:gd name="connsiteX61" fmla="*/ 992452 w 1018525"/>
              <a:gd name="connsiteY61" fmla="*/ 881018 h 1227436"/>
              <a:gd name="connsiteX62" fmla="*/ 963937 w 1018525"/>
              <a:gd name="connsiteY62" fmla="*/ 844487 h 1227436"/>
              <a:gd name="connsiteX63" fmla="*/ 903866 w 1018525"/>
              <a:gd name="connsiteY63" fmla="*/ 821086 h 1227436"/>
              <a:gd name="connsiteX64" fmla="*/ 945602 w 1018525"/>
              <a:gd name="connsiteY64" fmla="*/ 770136 h 1227436"/>
              <a:gd name="connsiteX65" fmla="*/ 903866 w 1018525"/>
              <a:gd name="connsiteY65" fmla="*/ 719187 h 1227436"/>
              <a:gd name="connsiteX66" fmla="*/ 862130 w 1018525"/>
              <a:gd name="connsiteY66" fmla="*/ 770136 h 1227436"/>
              <a:gd name="connsiteX67" fmla="*/ 903866 w 1018525"/>
              <a:gd name="connsiteY67" fmla="*/ 821086 h 1227436"/>
              <a:gd name="connsiteX68" fmla="*/ 200849 w 1018525"/>
              <a:gd name="connsiteY68" fmla="*/ 844441 h 1227436"/>
              <a:gd name="connsiteX69" fmla="*/ 170537 w 1018525"/>
              <a:gd name="connsiteY69" fmla="*/ 842184 h 1227436"/>
              <a:gd name="connsiteX70" fmla="*/ 140825 w 1018525"/>
              <a:gd name="connsiteY70" fmla="*/ 873601 h 1227436"/>
              <a:gd name="connsiteX71" fmla="*/ 111388 w 1018525"/>
              <a:gd name="connsiteY71" fmla="*/ 842184 h 1227436"/>
              <a:gd name="connsiteX72" fmla="*/ 81077 w 1018525"/>
              <a:gd name="connsiteY72" fmla="*/ 844441 h 1227436"/>
              <a:gd name="connsiteX73" fmla="*/ 52562 w 1018525"/>
              <a:gd name="connsiteY73" fmla="*/ 880972 h 1227436"/>
              <a:gd name="connsiteX74" fmla="*/ 52239 w 1018525"/>
              <a:gd name="connsiteY74" fmla="*/ 881294 h 1227436"/>
              <a:gd name="connsiteX75" fmla="*/ 52239 w 1018525"/>
              <a:gd name="connsiteY75" fmla="*/ 966240 h 1227436"/>
              <a:gd name="connsiteX76" fmla="*/ 229364 w 1018525"/>
              <a:gd name="connsiteY76" fmla="*/ 966240 h 1227436"/>
              <a:gd name="connsiteX77" fmla="*/ 229364 w 1018525"/>
              <a:gd name="connsiteY77" fmla="*/ 881294 h 1227436"/>
              <a:gd name="connsiteX78" fmla="*/ 229364 w 1018525"/>
              <a:gd name="connsiteY78" fmla="*/ 880972 h 1227436"/>
              <a:gd name="connsiteX79" fmla="*/ 200849 w 1018525"/>
              <a:gd name="connsiteY79" fmla="*/ 844441 h 1227436"/>
              <a:gd name="connsiteX80" fmla="*/ 140779 w 1018525"/>
              <a:gd name="connsiteY80" fmla="*/ 719141 h 1227436"/>
              <a:gd name="connsiteX81" fmla="*/ 99042 w 1018525"/>
              <a:gd name="connsiteY81" fmla="*/ 770090 h 1227436"/>
              <a:gd name="connsiteX82" fmla="*/ 140779 w 1018525"/>
              <a:gd name="connsiteY82" fmla="*/ 821039 h 1227436"/>
              <a:gd name="connsiteX83" fmla="*/ 182515 w 1018525"/>
              <a:gd name="connsiteY83" fmla="*/ 770090 h 1227436"/>
              <a:gd name="connsiteX84" fmla="*/ 140779 w 1018525"/>
              <a:gd name="connsiteY84" fmla="*/ 719141 h 1227436"/>
              <a:gd name="connsiteX85" fmla="*/ 88585 w 1018525"/>
              <a:gd name="connsiteY85" fmla="*/ 377145 h 1227436"/>
              <a:gd name="connsiteX86" fmla="*/ 130321 w 1018525"/>
              <a:gd name="connsiteY86" fmla="*/ 326195 h 1227436"/>
              <a:gd name="connsiteX87" fmla="*/ 88585 w 1018525"/>
              <a:gd name="connsiteY87" fmla="*/ 275246 h 1227436"/>
              <a:gd name="connsiteX88" fmla="*/ 46849 w 1018525"/>
              <a:gd name="connsiteY88" fmla="*/ 326195 h 1227436"/>
              <a:gd name="connsiteX89" fmla="*/ 88585 w 1018525"/>
              <a:gd name="connsiteY89" fmla="*/ 377145 h 1227436"/>
              <a:gd name="connsiteX90" fmla="*/ 177125 w 1018525"/>
              <a:gd name="connsiteY90" fmla="*/ 437399 h 1227436"/>
              <a:gd name="connsiteX91" fmla="*/ 177125 w 1018525"/>
              <a:gd name="connsiteY91" fmla="*/ 437077 h 1227436"/>
              <a:gd name="connsiteX92" fmla="*/ 148610 w 1018525"/>
              <a:gd name="connsiteY92" fmla="*/ 400546 h 1227436"/>
              <a:gd name="connsiteX93" fmla="*/ 118298 w 1018525"/>
              <a:gd name="connsiteY93" fmla="*/ 398289 h 1227436"/>
              <a:gd name="connsiteX94" fmla="*/ 88585 w 1018525"/>
              <a:gd name="connsiteY94" fmla="*/ 429706 h 1227436"/>
              <a:gd name="connsiteX95" fmla="*/ 59149 w 1018525"/>
              <a:gd name="connsiteY95" fmla="*/ 398289 h 1227436"/>
              <a:gd name="connsiteX96" fmla="*/ 28837 w 1018525"/>
              <a:gd name="connsiteY96" fmla="*/ 400546 h 1227436"/>
              <a:gd name="connsiteX97" fmla="*/ 322 w 1018525"/>
              <a:gd name="connsiteY97" fmla="*/ 437077 h 1227436"/>
              <a:gd name="connsiteX98" fmla="*/ 0 w 1018525"/>
              <a:gd name="connsiteY98" fmla="*/ 437399 h 1227436"/>
              <a:gd name="connsiteX99" fmla="*/ 0 w 1018525"/>
              <a:gd name="connsiteY99" fmla="*/ 522346 h 1227436"/>
              <a:gd name="connsiteX100" fmla="*/ 177125 w 1018525"/>
              <a:gd name="connsiteY100" fmla="*/ 522346 h 1227436"/>
              <a:gd name="connsiteX101" fmla="*/ 177125 w 1018525"/>
              <a:gd name="connsiteY101" fmla="*/ 437399 h 1227436"/>
              <a:gd name="connsiteX102" fmla="*/ 327439 w 1018525"/>
              <a:gd name="connsiteY102" fmla="*/ 716838 h 1227436"/>
              <a:gd name="connsiteX103" fmla="*/ 327900 w 1018525"/>
              <a:gd name="connsiteY103" fmla="*/ 716607 h 1227436"/>
              <a:gd name="connsiteX104" fmla="*/ 327439 w 1018525"/>
              <a:gd name="connsiteY104" fmla="*/ 716607 h 1227436"/>
              <a:gd name="connsiteX105" fmla="*/ 327439 w 1018525"/>
              <a:gd name="connsiteY105" fmla="*/ 716838 h 1227436"/>
              <a:gd name="connsiteX106" fmla="*/ 294317 w 1018525"/>
              <a:gd name="connsiteY106" fmla="*/ 484571 h 1227436"/>
              <a:gd name="connsiteX107" fmla="*/ 294548 w 1018525"/>
              <a:gd name="connsiteY107" fmla="*/ 484157 h 1227436"/>
              <a:gd name="connsiteX108" fmla="*/ 294824 w 1018525"/>
              <a:gd name="connsiteY108" fmla="*/ 483742 h 1227436"/>
              <a:gd name="connsiteX109" fmla="*/ 302287 w 1018525"/>
              <a:gd name="connsiteY109" fmla="*/ 471581 h 1227436"/>
              <a:gd name="connsiteX110" fmla="*/ 302748 w 1018525"/>
              <a:gd name="connsiteY110" fmla="*/ 470844 h 1227436"/>
              <a:gd name="connsiteX111" fmla="*/ 303254 w 1018525"/>
              <a:gd name="connsiteY111" fmla="*/ 470106 h 1227436"/>
              <a:gd name="connsiteX112" fmla="*/ 311316 w 1018525"/>
              <a:gd name="connsiteY112" fmla="*/ 458866 h 1227436"/>
              <a:gd name="connsiteX113" fmla="*/ 250416 w 1018525"/>
              <a:gd name="connsiteY113" fmla="*/ 418374 h 1227436"/>
              <a:gd name="connsiteX114" fmla="*/ 228719 w 1018525"/>
              <a:gd name="connsiteY114" fmla="*/ 450989 h 1227436"/>
              <a:gd name="connsiteX115" fmla="*/ 290264 w 1018525"/>
              <a:gd name="connsiteY115" fmla="*/ 491942 h 1227436"/>
              <a:gd name="connsiteX116" fmla="*/ 294317 w 1018525"/>
              <a:gd name="connsiteY116" fmla="*/ 484571 h 1227436"/>
              <a:gd name="connsiteX117" fmla="*/ 725498 w 1018525"/>
              <a:gd name="connsiteY117" fmla="*/ 486782 h 1227436"/>
              <a:gd name="connsiteX118" fmla="*/ 728032 w 1018525"/>
              <a:gd name="connsiteY118" fmla="*/ 491481 h 1227436"/>
              <a:gd name="connsiteX119" fmla="*/ 790958 w 1018525"/>
              <a:gd name="connsiteY119" fmla="*/ 449008 h 1227436"/>
              <a:gd name="connsiteX120" fmla="*/ 769030 w 1018525"/>
              <a:gd name="connsiteY120" fmla="*/ 416531 h 1227436"/>
              <a:gd name="connsiteX121" fmla="*/ 706979 w 1018525"/>
              <a:gd name="connsiteY121" fmla="*/ 458452 h 1227436"/>
              <a:gd name="connsiteX122" fmla="*/ 724300 w 1018525"/>
              <a:gd name="connsiteY122" fmla="*/ 484663 h 1227436"/>
              <a:gd name="connsiteX123" fmla="*/ 725498 w 1018525"/>
              <a:gd name="connsiteY123" fmla="*/ 486782 h 1227436"/>
              <a:gd name="connsiteX124" fmla="*/ 528933 w 1018525"/>
              <a:gd name="connsiteY124" fmla="*/ 289527 h 1227436"/>
              <a:gd name="connsiteX125" fmla="*/ 489777 w 1018525"/>
              <a:gd name="connsiteY125" fmla="*/ 289527 h 1227436"/>
              <a:gd name="connsiteX126" fmla="*/ 489777 w 1018525"/>
              <a:gd name="connsiteY126" fmla="*/ 360653 h 1227436"/>
              <a:gd name="connsiteX127" fmla="*/ 490053 w 1018525"/>
              <a:gd name="connsiteY127" fmla="*/ 360607 h 1227436"/>
              <a:gd name="connsiteX128" fmla="*/ 493877 w 1018525"/>
              <a:gd name="connsiteY128" fmla="*/ 360331 h 1227436"/>
              <a:gd name="connsiteX129" fmla="*/ 509309 w 1018525"/>
              <a:gd name="connsiteY129" fmla="*/ 359870 h 1227436"/>
              <a:gd name="connsiteX130" fmla="*/ 521056 w 1018525"/>
              <a:gd name="connsiteY130" fmla="*/ 360146 h 1227436"/>
              <a:gd name="connsiteX131" fmla="*/ 524188 w 1018525"/>
              <a:gd name="connsiteY131" fmla="*/ 360284 h 1227436"/>
              <a:gd name="connsiteX132" fmla="*/ 524419 w 1018525"/>
              <a:gd name="connsiteY132" fmla="*/ 360284 h 1227436"/>
              <a:gd name="connsiteX133" fmla="*/ 524649 w 1018525"/>
              <a:gd name="connsiteY133" fmla="*/ 360284 h 1227436"/>
              <a:gd name="connsiteX134" fmla="*/ 524879 w 1018525"/>
              <a:gd name="connsiteY134" fmla="*/ 360284 h 1227436"/>
              <a:gd name="connsiteX135" fmla="*/ 528979 w 1018525"/>
              <a:gd name="connsiteY135" fmla="*/ 360607 h 1227436"/>
              <a:gd name="connsiteX136" fmla="*/ 528979 w 1018525"/>
              <a:gd name="connsiteY136" fmla="*/ 289527 h 1227436"/>
              <a:gd name="connsiteX137" fmla="*/ 719509 w 1018525"/>
              <a:gd name="connsiteY137" fmla="*/ 738535 h 1227436"/>
              <a:gd name="connsiteX138" fmla="*/ 715870 w 1018525"/>
              <a:gd name="connsiteY138" fmla="*/ 744293 h 1227436"/>
              <a:gd name="connsiteX139" fmla="*/ 715732 w 1018525"/>
              <a:gd name="connsiteY139" fmla="*/ 744523 h 1227436"/>
              <a:gd name="connsiteX140" fmla="*/ 715594 w 1018525"/>
              <a:gd name="connsiteY140" fmla="*/ 744754 h 1227436"/>
              <a:gd name="connsiteX141" fmla="*/ 700668 w 1018525"/>
              <a:gd name="connsiteY141" fmla="*/ 764885 h 1227436"/>
              <a:gd name="connsiteX142" fmla="*/ 770551 w 1018525"/>
              <a:gd name="connsiteY142" fmla="*/ 811366 h 1227436"/>
              <a:gd name="connsiteX143" fmla="*/ 792248 w 1018525"/>
              <a:gd name="connsiteY143" fmla="*/ 778751 h 1227436"/>
              <a:gd name="connsiteX144" fmla="*/ 723056 w 1018525"/>
              <a:gd name="connsiteY144" fmla="*/ 732730 h 1227436"/>
              <a:gd name="connsiteX145" fmla="*/ 719509 w 1018525"/>
              <a:gd name="connsiteY145" fmla="*/ 738535 h 1227436"/>
              <a:gd name="connsiteX146" fmla="*/ 299062 w 1018525"/>
              <a:gd name="connsiteY146" fmla="*/ 738443 h 1227436"/>
              <a:gd name="connsiteX147" fmla="*/ 298970 w 1018525"/>
              <a:gd name="connsiteY147" fmla="*/ 738258 h 1227436"/>
              <a:gd name="connsiteX148" fmla="*/ 298463 w 1018525"/>
              <a:gd name="connsiteY148" fmla="*/ 737429 h 1227436"/>
              <a:gd name="connsiteX149" fmla="*/ 297450 w 1018525"/>
              <a:gd name="connsiteY149" fmla="*/ 735817 h 1227436"/>
              <a:gd name="connsiteX150" fmla="*/ 297358 w 1018525"/>
              <a:gd name="connsiteY150" fmla="*/ 735679 h 1227436"/>
              <a:gd name="connsiteX151" fmla="*/ 297266 w 1018525"/>
              <a:gd name="connsiteY151" fmla="*/ 735540 h 1227436"/>
              <a:gd name="connsiteX152" fmla="*/ 297082 w 1018525"/>
              <a:gd name="connsiteY152" fmla="*/ 735218 h 1227436"/>
              <a:gd name="connsiteX153" fmla="*/ 229825 w 1018525"/>
              <a:gd name="connsiteY153" fmla="*/ 780639 h 1227436"/>
              <a:gd name="connsiteX154" fmla="*/ 251752 w 1018525"/>
              <a:gd name="connsiteY154" fmla="*/ 813116 h 1227436"/>
              <a:gd name="connsiteX155" fmla="*/ 319930 w 1018525"/>
              <a:gd name="connsiteY155" fmla="*/ 767096 h 1227436"/>
              <a:gd name="connsiteX156" fmla="*/ 299108 w 1018525"/>
              <a:gd name="connsiteY156" fmla="*/ 738581 h 1227436"/>
              <a:gd name="connsiteX157" fmla="*/ 299062 w 1018525"/>
              <a:gd name="connsiteY157" fmla="*/ 738443 h 1227436"/>
              <a:gd name="connsiteX158" fmla="*/ 524188 w 1018525"/>
              <a:gd name="connsiteY158" fmla="*/ 854760 h 1227436"/>
              <a:gd name="connsiteX159" fmla="*/ 521056 w 1018525"/>
              <a:gd name="connsiteY159" fmla="*/ 854898 h 1227436"/>
              <a:gd name="connsiteX160" fmla="*/ 509309 w 1018525"/>
              <a:gd name="connsiteY160" fmla="*/ 855175 h 1227436"/>
              <a:gd name="connsiteX161" fmla="*/ 493877 w 1018525"/>
              <a:gd name="connsiteY161" fmla="*/ 854714 h 1227436"/>
              <a:gd name="connsiteX162" fmla="*/ 490145 w 1018525"/>
              <a:gd name="connsiteY162" fmla="*/ 854484 h 1227436"/>
              <a:gd name="connsiteX163" fmla="*/ 489730 w 1018525"/>
              <a:gd name="connsiteY163" fmla="*/ 854438 h 1227436"/>
              <a:gd name="connsiteX164" fmla="*/ 489730 w 1018525"/>
              <a:gd name="connsiteY164" fmla="*/ 940167 h 1227436"/>
              <a:gd name="connsiteX165" fmla="*/ 528887 w 1018525"/>
              <a:gd name="connsiteY165" fmla="*/ 940167 h 1227436"/>
              <a:gd name="connsiteX166" fmla="*/ 528887 w 1018525"/>
              <a:gd name="connsiteY166" fmla="*/ 854438 h 1227436"/>
              <a:gd name="connsiteX167" fmla="*/ 524465 w 1018525"/>
              <a:gd name="connsiteY167" fmla="*/ 854760 h 1227436"/>
              <a:gd name="connsiteX168" fmla="*/ 524188 w 1018525"/>
              <a:gd name="connsiteY168" fmla="*/ 854760 h 1227436"/>
              <a:gd name="connsiteX169" fmla="*/ 625857 w 1018525"/>
              <a:gd name="connsiteY169" fmla="*/ 609872 h 1227436"/>
              <a:gd name="connsiteX170" fmla="*/ 620329 w 1018525"/>
              <a:gd name="connsiteY170" fmla="*/ 561640 h 1227436"/>
              <a:gd name="connsiteX171" fmla="*/ 529394 w 1018525"/>
              <a:gd name="connsiteY171" fmla="*/ 561640 h 1227436"/>
              <a:gd name="connsiteX172" fmla="*/ 529394 w 1018525"/>
              <a:gd name="connsiteY172" fmla="*/ 665842 h 1227436"/>
              <a:gd name="connsiteX173" fmla="*/ 618394 w 1018525"/>
              <a:gd name="connsiteY173" fmla="*/ 665842 h 1227436"/>
              <a:gd name="connsiteX174" fmla="*/ 625857 w 1018525"/>
              <a:gd name="connsiteY174" fmla="*/ 609872 h 1227436"/>
              <a:gd name="connsiteX175" fmla="*/ 649534 w 1018525"/>
              <a:gd name="connsiteY175" fmla="*/ 522300 h 1227436"/>
              <a:gd name="connsiteX176" fmla="*/ 696983 w 1018525"/>
              <a:gd name="connsiteY176" fmla="*/ 522300 h 1227436"/>
              <a:gd name="connsiteX177" fmla="*/ 688921 w 1018525"/>
              <a:gd name="connsiteY177" fmla="*/ 506315 h 1227436"/>
              <a:gd name="connsiteX178" fmla="*/ 688414 w 1018525"/>
              <a:gd name="connsiteY178" fmla="*/ 505393 h 1227436"/>
              <a:gd name="connsiteX179" fmla="*/ 670725 w 1018525"/>
              <a:gd name="connsiteY179" fmla="*/ 479274 h 1227436"/>
              <a:gd name="connsiteX180" fmla="*/ 569287 w 1018525"/>
              <a:gd name="connsiteY180" fmla="*/ 410220 h 1227436"/>
              <a:gd name="connsiteX181" fmla="*/ 649534 w 1018525"/>
              <a:gd name="connsiteY181" fmla="*/ 522300 h 1227436"/>
              <a:gd name="connsiteX182" fmla="*/ 308368 w 1018525"/>
              <a:gd name="connsiteY182" fmla="*/ 561594 h 1227436"/>
              <a:gd name="connsiteX183" fmla="*/ 303346 w 1018525"/>
              <a:gd name="connsiteY183" fmla="*/ 599092 h 1227436"/>
              <a:gd name="connsiteX184" fmla="*/ 303162 w 1018525"/>
              <a:gd name="connsiteY184" fmla="*/ 607522 h 1227436"/>
              <a:gd name="connsiteX185" fmla="*/ 303945 w 1018525"/>
              <a:gd name="connsiteY185" fmla="*/ 625212 h 1227436"/>
              <a:gd name="connsiteX186" fmla="*/ 311546 w 1018525"/>
              <a:gd name="connsiteY186" fmla="*/ 665796 h 1227436"/>
              <a:gd name="connsiteX187" fmla="*/ 360100 w 1018525"/>
              <a:gd name="connsiteY187" fmla="*/ 665796 h 1227436"/>
              <a:gd name="connsiteX188" fmla="*/ 353513 w 1018525"/>
              <a:gd name="connsiteY188" fmla="*/ 609595 h 1227436"/>
              <a:gd name="connsiteX189" fmla="*/ 358442 w 1018525"/>
              <a:gd name="connsiteY189" fmla="*/ 561594 h 1227436"/>
              <a:gd name="connsiteX190" fmla="*/ 308368 w 1018525"/>
              <a:gd name="connsiteY190" fmla="*/ 561594 h 1227436"/>
              <a:gd name="connsiteX191" fmla="*/ 707071 w 1018525"/>
              <a:gd name="connsiteY191" fmla="*/ 665842 h 1227436"/>
              <a:gd name="connsiteX192" fmla="*/ 714672 w 1018525"/>
              <a:gd name="connsiteY192" fmla="*/ 625258 h 1227436"/>
              <a:gd name="connsiteX193" fmla="*/ 715455 w 1018525"/>
              <a:gd name="connsiteY193" fmla="*/ 607568 h 1227436"/>
              <a:gd name="connsiteX194" fmla="*/ 715271 w 1018525"/>
              <a:gd name="connsiteY194" fmla="*/ 599138 h 1227436"/>
              <a:gd name="connsiteX195" fmla="*/ 710296 w 1018525"/>
              <a:gd name="connsiteY195" fmla="*/ 561640 h 1227436"/>
              <a:gd name="connsiteX196" fmla="*/ 660176 w 1018525"/>
              <a:gd name="connsiteY196" fmla="*/ 561640 h 1227436"/>
              <a:gd name="connsiteX197" fmla="*/ 665105 w 1018525"/>
              <a:gd name="connsiteY197" fmla="*/ 609641 h 1227436"/>
              <a:gd name="connsiteX198" fmla="*/ 658517 w 1018525"/>
              <a:gd name="connsiteY198" fmla="*/ 665842 h 1227436"/>
              <a:gd name="connsiteX199" fmla="*/ 707071 w 1018525"/>
              <a:gd name="connsiteY199" fmla="*/ 665842 h 1227436"/>
              <a:gd name="connsiteX200" fmla="*/ 392761 w 1018525"/>
              <a:gd name="connsiteY200" fmla="*/ 609872 h 1227436"/>
              <a:gd name="connsiteX201" fmla="*/ 400224 w 1018525"/>
              <a:gd name="connsiteY201" fmla="*/ 665842 h 1227436"/>
              <a:gd name="connsiteX202" fmla="*/ 490237 w 1018525"/>
              <a:gd name="connsiteY202" fmla="*/ 665842 h 1227436"/>
              <a:gd name="connsiteX203" fmla="*/ 490237 w 1018525"/>
              <a:gd name="connsiteY203" fmla="*/ 561640 h 1227436"/>
              <a:gd name="connsiteX204" fmla="*/ 398289 w 1018525"/>
              <a:gd name="connsiteY204" fmla="*/ 561640 h 1227436"/>
              <a:gd name="connsiteX205" fmla="*/ 392761 w 1018525"/>
              <a:gd name="connsiteY205" fmla="*/ 609872 h 1227436"/>
              <a:gd name="connsiteX206" fmla="*/ 529394 w 1018525"/>
              <a:gd name="connsiteY206" fmla="*/ 428555 h 1227436"/>
              <a:gd name="connsiteX207" fmla="*/ 529394 w 1018525"/>
              <a:gd name="connsiteY207" fmla="*/ 522300 h 1227436"/>
              <a:gd name="connsiteX208" fmla="*/ 608489 w 1018525"/>
              <a:gd name="connsiteY208" fmla="*/ 522300 h 1227436"/>
              <a:gd name="connsiteX209" fmla="*/ 529394 w 1018525"/>
              <a:gd name="connsiteY209" fmla="*/ 428555 h 1227436"/>
              <a:gd name="connsiteX210" fmla="*/ 449284 w 1018525"/>
              <a:gd name="connsiteY210" fmla="*/ 410266 h 1227436"/>
              <a:gd name="connsiteX211" fmla="*/ 347892 w 1018525"/>
              <a:gd name="connsiteY211" fmla="*/ 479320 h 1227436"/>
              <a:gd name="connsiteX212" fmla="*/ 337620 w 1018525"/>
              <a:gd name="connsiteY212" fmla="*/ 493278 h 1227436"/>
              <a:gd name="connsiteX213" fmla="*/ 330157 w 1018525"/>
              <a:gd name="connsiteY213" fmla="*/ 505439 h 1227436"/>
              <a:gd name="connsiteX214" fmla="*/ 324583 w 1018525"/>
              <a:gd name="connsiteY214" fmla="*/ 515896 h 1227436"/>
              <a:gd name="connsiteX215" fmla="*/ 321589 w 1018525"/>
              <a:gd name="connsiteY215" fmla="*/ 522346 h 1227436"/>
              <a:gd name="connsiteX216" fmla="*/ 369083 w 1018525"/>
              <a:gd name="connsiteY216" fmla="*/ 522346 h 1227436"/>
              <a:gd name="connsiteX217" fmla="*/ 449284 w 1018525"/>
              <a:gd name="connsiteY217" fmla="*/ 410266 h 1227436"/>
              <a:gd name="connsiteX218" fmla="*/ 569149 w 1018525"/>
              <a:gd name="connsiteY218" fmla="*/ 804916 h 1227436"/>
              <a:gd name="connsiteX219" fmla="*/ 665013 w 1018525"/>
              <a:gd name="connsiteY219" fmla="*/ 742727 h 1227436"/>
              <a:gd name="connsiteX220" fmla="*/ 681090 w 1018525"/>
              <a:gd name="connsiteY220" fmla="*/ 721675 h 1227436"/>
              <a:gd name="connsiteX221" fmla="*/ 684315 w 1018525"/>
              <a:gd name="connsiteY221" fmla="*/ 716607 h 1227436"/>
              <a:gd name="connsiteX222" fmla="*/ 690948 w 1018525"/>
              <a:gd name="connsiteY222" fmla="*/ 705091 h 1227436"/>
              <a:gd name="connsiteX223" fmla="*/ 646356 w 1018525"/>
              <a:gd name="connsiteY223" fmla="*/ 705091 h 1227436"/>
              <a:gd name="connsiteX224" fmla="*/ 569149 w 1018525"/>
              <a:gd name="connsiteY224" fmla="*/ 804916 h 1227436"/>
              <a:gd name="connsiteX225" fmla="*/ 410082 w 1018525"/>
              <a:gd name="connsiteY225" fmla="*/ 522300 h 1227436"/>
              <a:gd name="connsiteX226" fmla="*/ 490191 w 1018525"/>
              <a:gd name="connsiteY226" fmla="*/ 522300 h 1227436"/>
              <a:gd name="connsiteX227" fmla="*/ 490191 w 1018525"/>
              <a:gd name="connsiteY227" fmla="*/ 428232 h 1227436"/>
              <a:gd name="connsiteX228" fmla="*/ 410082 w 1018525"/>
              <a:gd name="connsiteY228" fmla="*/ 522300 h 1227436"/>
              <a:gd name="connsiteX229" fmla="*/ 604712 w 1018525"/>
              <a:gd name="connsiteY229" fmla="*/ 705137 h 1227436"/>
              <a:gd name="connsiteX230" fmla="*/ 529394 w 1018525"/>
              <a:gd name="connsiteY230" fmla="*/ 705137 h 1227436"/>
              <a:gd name="connsiteX231" fmla="*/ 529394 w 1018525"/>
              <a:gd name="connsiteY231" fmla="*/ 786720 h 1227436"/>
              <a:gd name="connsiteX232" fmla="*/ 604712 w 1018525"/>
              <a:gd name="connsiteY232" fmla="*/ 705137 h 1227436"/>
              <a:gd name="connsiteX233" fmla="*/ 490237 w 1018525"/>
              <a:gd name="connsiteY233" fmla="*/ 787043 h 1227436"/>
              <a:gd name="connsiteX234" fmla="*/ 490237 w 1018525"/>
              <a:gd name="connsiteY234" fmla="*/ 705137 h 1227436"/>
              <a:gd name="connsiteX235" fmla="*/ 413906 w 1018525"/>
              <a:gd name="connsiteY235" fmla="*/ 705137 h 1227436"/>
              <a:gd name="connsiteX236" fmla="*/ 490237 w 1018525"/>
              <a:gd name="connsiteY236" fmla="*/ 787043 h 1227436"/>
              <a:gd name="connsiteX237" fmla="*/ 372308 w 1018525"/>
              <a:gd name="connsiteY237" fmla="*/ 705137 h 1227436"/>
              <a:gd name="connsiteX238" fmla="*/ 327715 w 1018525"/>
              <a:gd name="connsiteY238" fmla="*/ 705137 h 1227436"/>
              <a:gd name="connsiteX239" fmla="*/ 332829 w 1018525"/>
              <a:gd name="connsiteY239" fmla="*/ 714212 h 1227436"/>
              <a:gd name="connsiteX240" fmla="*/ 334349 w 1018525"/>
              <a:gd name="connsiteY240" fmla="*/ 716653 h 1227436"/>
              <a:gd name="connsiteX241" fmla="*/ 353651 w 1018525"/>
              <a:gd name="connsiteY241" fmla="*/ 742773 h 1227436"/>
              <a:gd name="connsiteX242" fmla="*/ 449469 w 1018525"/>
              <a:gd name="connsiteY242" fmla="*/ 804916 h 1227436"/>
              <a:gd name="connsiteX243" fmla="*/ 372308 w 1018525"/>
              <a:gd name="connsiteY243" fmla="*/ 705137 h 122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018525" h="1227436">
                <a:moveTo>
                  <a:pt x="597894" y="247054"/>
                </a:moveTo>
                <a:cubicBezTo>
                  <a:pt x="597894" y="247054"/>
                  <a:pt x="597894" y="247054"/>
                  <a:pt x="420769" y="247054"/>
                </a:cubicBezTo>
                <a:cubicBezTo>
                  <a:pt x="420769" y="209878"/>
                  <a:pt x="420769" y="169201"/>
                  <a:pt x="420769" y="162107"/>
                </a:cubicBezTo>
                <a:lnTo>
                  <a:pt x="421092" y="161785"/>
                </a:lnTo>
                <a:cubicBezTo>
                  <a:pt x="421414" y="140963"/>
                  <a:pt x="432793" y="126544"/>
                  <a:pt x="449607" y="125254"/>
                </a:cubicBezTo>
                <a:cubicBezTo>
                  <a:pt x="449607" y="125254"/>
                  <a:pt x="449607" y="125254"/>
                  <a:pt x="479918" y="122997"/>
                </a:cubicBezTo>
                <a:cubicBezTo>
                  <a:pt x="479918" y="122997"/>
                  <a:pt x="479918" y="122997"/>
                  <a:pt x="509355" y="154414"/>
                </a:cubicBezTo>
                <a:cubicBezTo>
                  <a:pt x="509355" y="154414"/>
                  <a:pt x="509355" y="154414"/>
                  <a:pt x="539068" y="122997"/>
                </a:cubicBezTo>
                <a:cubicBezTo>
                  <a:pt x="539068" y="122997"/>
                  <a:pt x="539068" y="122997"/>
                  <a:pt x="569379" y="125254"/>
                </a:cubicBezTo>
                <a:cubicBezTo>
                  <a:pt x="586193" y="126544"/>
                  <a:pt x="597618" y="140963"/>
                  <a:pt x="597894" y="161785"/>
                </a:cubicBezTo>
                <a:lnTo>
                  <a:pt x="597894" y="162107"/>
                </a:lnTo>
                <a:cubicBezTo>
                  <a:pt x="597894" y="169201"/>
                  <a:pt x="597894" y="209878"/>
                  <a:pt x="597894" y="247054"/>
                </a:cubicBezTo>
                <a:close/>
                <a:moveTo>
                  <a:pt x="509355" y="101899"/>
                </a:moveTo>
                <a:cubicBezTo>
                  <a:pt x="534277" y="101899"/>
                  <a:pt x="551091" y="81399"/>
                  <a:pt x="551091" y="50949"/>
                </a:cubicBezTo>
                <a:cubicBezTo>
                  <a:pt x="551091" y="20500"/>
                  <a:pt x="534277" y="0"/>
                  <a:pt x="509355" y="0"/>
                </a:cubicBezTo>
                <a:cubicBezTo>
                  <a:pt x="484755" y="0"/>
                  <a:pt x="467619" y="20500"/>
                  <a:pt x="467619" y="50949"/>
                </a:cubicBezTo>
                <a:cubicBezTo>
                  <a:pt x="467619" y="81399"/>
                  <a:pt x="484755" y="101899"/>
                  <a:pt x="509355" y="101899"/>
                </a:cubicBezTo>
                <a:close/>
                <a:moveTo>
                  <a:pt x="990010" y="400546"/>
                </a:moveTo>
                <a:cubicBezTo>
                  <a:pt x="959699" y="398289"/>
                  <a:pt x="959699" y="398289"/>
                  <a:pt x="959699" y="398289"/>
                </a:cubicBezTo>
                <a:cubicBezTo>
                  <a:pt x="929986" y="429706"/>
                  <a:pt x="929986" y="429706"/>
                  <a:pt x="929986" y="429706"/>
                </a:cubicBezTo>
                <a:cubicBezTo>
                  <a:pt x="900550" y="398289"/>
                  <a:pt x="900550" y="398289"/>
                  <a:pt x="900550" y="398289"/>
                </a:cubicBezTo>
                <a:cubicBezTo>
                  <a:pt x="870238" y="400546"/>
                  <a:pt x="870238" y="400546"/>
                  <a:pt x="870238" y="400546"/>
                </a:cubicBezTo>
                <a:cubicBezTo>
                  <a:pt x="853424" y="401836"/>
                  <a:pt x="841999" y="416255"/>
                  <a:pt x="841723" y="437077"/>
                </a:cubicBezTo>
                <a:lnTo>
                  <a:pt x="841401" y="437399"/>
                </a:lnTo>
                <a:cubicBezTo>
                  <a:pt x="841401" y="444448"/>
                  <a:pt x="841401" y="485170"/>
                  <a:pt x="841401" y="522346"/>
                </a:cubicBezTo>
                <a:cubicBezTo>
                  <a:pt x="1018525" y="522346"/>
                  <a:pt x="1018525" y="522346"/>
                  <a:pt x="1018525" y="522346"/>
                </a:cubicBezTo>
                <a:cubicBezTo>
                  <a:pt x="1018525" y="485170"/>
                  <a:pt x="1018525" y="444448"/>
                  <a:pt x="1018525" y="437399"/>
                </a:cubicBezTo>
                <a:lnTo>
                  <a:pt x="1018525" y="437077"/>
                </a:lnTo>
                <a:cubicBezTo>
                  <a:pt x="1018249" y="416209"/>
                  <a:pt x="1006824" y="401790"/>
                  <a:pt x="990010" y="400546"/>
                </a:cubicBezTo>
                <a:close/>
                <a:moveTo>
                  <a:pt x="929986" y="377145"/>
                </a:moveTo>
                <a:cubicBezTo>
                  <a:pt x="954908" y="377145"/>
                  <a:pt x="971722" y="356645"/>
                  <a:pt x="971722" y="326195"/>
                </a:cubicBezTo>
                <a:cubicBezTo>
                  <a:pt x="971722" y="295746"/>
                  <a:pt x="954908" y="275246"/>
                  <a:pt x="929986" y="275246"/>
                </a:cubicBezTo>
                <a:cubicBezTo>
                  <a:pt x="905387" y="275246"/>
                  <a:pt x="888250" y="295746"/>
                  <a:pt x="888250" y="326195"/>
                </a:cubicBezTo>
                <a:cubicBezTo>
                  <a:pt x="888250" y="356599"/>
                  <a:pt x="905387" y="377145"/>
                  <a:pt x="929986" y="377145"/>
                </a:cubicBezTo>
                <a:close/>
                <a:moveTo>
                  <a:pt x="569932" y="1105637"/>
                </a:moveTo>
                <a:cubicBezTo>
                  <a:pt x="539620" y="1103380"/>
                  <a:pt x="539620" y="1103380"/>
                  <a:pt x="539620" y="1103380"/>
                </a:cubicBezTo>
                <a:cubicBezTo>
                  <a:pt x="509908" y="1134797"/>
                  <a:pt x="509908" y="1134797"/>
                  <a:pt x="509908" y="1134797"/>
                </a:cubicBezTo>
                <a:cubicBezTo>
                  <a:pt x="480471" y="1103380"/>
                  <a:pt x="480471" y="1103380"/>
                  <a:pt x="480471" y="1103380"/>
                </a:cubicBezTo>
                <a:cubicBezTo>
                  <a:pt x="450160" y="1105637"/>
                  <a:pt x="450160" y="1105637"/>
                  <a:pt x="450160" y="1105637"/>
                </a:cubicBezTo>
                <a:cubicBezTo>
                  <a:pt x="433345" y="1106927"/>
                  <a:pt x="421921" y="1121346"/>
                  <a:pt x="421645" y="1142168"/>
                </a:cubicBezTo>
                <a:lnTo>
                  <a:pt x="421322" y="1142490"/>
                </a:lnTo>
                <a:cubicBezTo>
                  <a:pt x="421322" y="1149538"/>
                  <a:pt x="421322" y="1190261"/>
                  <a:pt x="421322" y="1227436"/>
                </a:cubicBezTo>
                <a:cubicBezTo>
                  <a:pt x="598447" y="1227436"/>
                  <a:pt x="598447" y="1227436"/>
                  <a:pt x="598447" y="1227436"/>
                </a:cubicBezTo>
                <a:cubicBezTo>
                  <a:pt x="598447" y="1190261"/>
                  <a:pt x="598447" y="1149584"/>
                  <a:pt x="598447" y="1142490"/>
                </a:cubicBezTo>
                <a:lnTo>
                  <a:pt x="598447" y="1142168"/>
                </a:lnTo>
                <a:cubicBezTo>
                  <a:pt x="598125" y="1121346"/>
                  <a:pt x="586746" y="1106927"/>
                  <a:pt x="569932" y="1105637"/>
                </a:cubicBezTo>
                <a:close/>
                <a:moveTo>
                  <a:pt x="509861" y="1082281"/>
                </a:moveTo>
                <a:cubicBezTo>
                  <a:pt x="534783" y="1082281"/>
                  <a:pt x="551598" y="1061782"/>
                  <a:pt x="551598" y="1031332"/>
                </a:cubicBezTo>
                <a:cubicBezTo>
                  <a:pt x="551598" y="1000882"/>
                  <a:pt x="534783" y="980383"/>
                  <a:pt x="509861" y="980383"/>
                </a:cubicBezTo>
                <a:cubicBezTo>
                  <a:pt x="485262" y="980383"/>
                  <a:pt x="468125" y="1000882"/>
                  <a:pt x="468125" y="1031332"/>
                </a:cubicBezTo>
                <a:cubicBezTo>
                  <a:pt x="468171" y="1061736"/>
                  <a:pt x="485262" y="1082281"/>
                  <a:pt x="509861" y="1082281"/>
                </a:cubicBezTo>
                <a:close/>
                <a:moveTo>
                  <a:pt x="963937" y="844487"/>
                </a:moveTo>
                <a:cubicBezTo>
                  <a:pt x="933625" y="842230"/>
                  <a:pt x="933625" y="842230"/>
                  <a:pt x="933625" y="842230"/>
                </a:cubicBezTo>
                <a:cubicBezTo>
                  <a:pt x="903913" y="873647"/>
                  <a:pt x="903913" y="873647"/>
                  <a:pt x="903913" y="873647"/>
                </a:cubicBezTo>
                <a:cubicBezTo>
                  <a:pt x="874476" y="842230"/>
                  <a:pt x="874476" y="842230"/>
                  <a:pt x="874476" y="842230"/>
                </a:cubicBezTo>
                <a:cubicBezTo>
                  <a:pt x="844164" y="844487"/>
                  <a:pt x="844164" y="844487"/>
                  <a:pt x="844164" y="844487"/>
                </a:cubicBezTo>
                <a:cubicBezTo>
                  <a:pt x="827350" y="845777"/>
                  <a:pt x="815926" y="860196"/>
                  <a:pt x="815649" y="881018"/>
                </a:cubicBezTo>
                <a:lnTo>
                  <a:pt x="815327" y="881340"/>
                </a:lnTo>
                <a:cubicBezTo>
                  <a:pt x="815327" y="888388"/>
                  <a:pt x="815327" y="929111"/>
                  <a:pt x="815327" y="966287"/>
                </a:cubicBezTo>
                <a:cubicBezTo>
                  <a:pt x="992452" y="966287"/>
                  <a:pt x="992452" y="966287"/>
                  <a:pt x="992452" y="966287"/>
                </a:cubicBezTo>
                <a:cubicBezTo>
                  <a:pt x="992452" y="929111"/>
                  <a:pt x="992452" y="888388"/>
                  <a:pt x="992452" y="881340"/>
                </a:cubicBezTo>
                <a:lnTo>
                  <a:pt x="992452" y="881018"/>
                </a:lnTo>
                <a:cubicBezTo>
                  <a:pt x="992129" y="860196"/>
                  <a:pt x="980705" y="845777"/>
                  <a:pt x="963937" y="844487"/>
                </a:cubicBezTo>
                <a:close/>
                <a:moveTo>
                  <a:pt x="903866" y="821086"/>
                </a:moveTo>
                <a:cubicBezTo>
                  <a:pt x="928788" y="821086"/>
                  <a:pt x="945602" y="800586"/>
                  <a:pt x="945602" y="770136"/>
                </a:cubicBezTo>
                <a:cubicBezTo>
                  <a:pt x="945602" y="739686"/>
                  <a:pt x="928788" y="719187"/>
                  <a:pt x="903866" y="719187"/>
                </a:cubicBezTo>
                <a:cubicBezTo>
                  <a:pt x="879267" y="719187"/>
                  <a:pt x="862130" y="739686"/>
                  <a:pt x="862130" y="770136"/>
                </a:cubicBezTo>
                <a:cubicBezTo>
                  <a:pt x="862130" y="800586"/>
                  <a:pt x="879267" y="821086"/>
                  <a:pt x="903866" y="821086"/>
                </a:cubicBezTo>
                <a:close/>
                <a:moveTo>
                  <a:pt x="200849" y="844441"/>
                </a:moveTo>
                <a:cubicBezTo>
                  <a:pt x="170537" y="842184"/>
                  <a:pt x="170537" y="842184"/>
                  <a:pt x="170537" y="842184"/>
                </a:cubicBezTo>
                <a:cubicBezTo>
                  <a:pt x="140825" y="873601"/>
                  <a:pt x="140825" y="873601"/>
                  <a:pt x="140825" y="873601"/>
                </a:cubicBezTo>
                <a:cubicBezTo>
                  <a:pt x="111388" y="842184"/>
                  <a:pt x="111388" y="842184"/>
                  <a:pt x="111388" y="842184"/>
                </a:cubicBezTo>
                <a:cubicBezTo>
                  <a:pt x="81077" y="844441"/>
                  <a:pt x="81077" y="844441"/>
                  <a:pt x="81077" y="844441"/>
                </a:cubicBezTo>
                <a:cubicBezTo>
                  <a:pt x="64262" y="845731"/>
                  <a:pt x="52838" y="860150"/>
                  <a:pt x="52562" y="880972"/>
                </a:cubicBezTo>
                <a:lnTo>
                  <a:pt x="52239" y="881294"/>
                </a:lnTo>
                <a:cubicBezTo>
                  <a:pt x="52239" y="888342"/>
                  <a:pt x="52239" y="929065"/>
                  <a:pt x="52239" y="966240"/>
                </a:cubicBezTo>
                <a:cubicBezTo>
                  <a:pt x="229364" y="966240"/>
                  <a:pt x="229364" y="966240"/>
                  <a:pt x="229364" y="966240"/>
                </a:cubicBezTo>
                <a:cubicBezTo>
                  <a:pt x="229364" y="929065"/>
                  <a:pt x="229364" y="888342"/>
                  <a:pt x="229364" y="881294"/>
                </a:cubicBezTo>
                <a:lnTo>
                  <a:pt x="229364" y="880972"/>
                </a:lnTo>
                <a:cubicBezTo>
                  <a:pt x="229042" y="860150"/>
                  <a:pt x="217663" y="845731"/>
                  <a:pt x="200849" y="844441"/>
                </a:cubicBezTo>
                <a:close/>
                <a:moveTo>
                  <a:pt x="140779" y="719141"/>
                </a:moveTo>
                <a:cubicBezTo>
                  <a:pt x="116179" y="719141"/>
                  <a:pt x="99042" y="739640"/>
                  <a:pt x="99042" y="770090"/>
                </a:cubicBezTo>
                <a:cubicBezTo>
                  <a:pt x="99042" y="800540"/>
                  <a:pt x="116133" y="821039"/>
                  <a:pt x="140779" y="821039"/>
                </a:cubicBezTo>
                <a:cubicBezTo>
                  <a:pt x="165700" y="821039"/>
                  <a:pt x="182515" y="800540"/>
                  <a:pt x="182515" y="770090"/>
                </a:cubicBezTo>
                <a:cubicBezTo>
                  <a:pt x="182515" y="739640"/>
                  <a:pt x="165700" y="719141"/>
                  <a:pt x="140779" y="719141"/>
                </a:cubicBezTo>
                <a:close/>
                <a:moveTo>
                  <a:pt x="88585" y="377145"/>
                </a:moveTo>
                <a:cubicBezTo>
                  <a:pt x="113507" y="377145"/>
                  <a:pt x="130321" y="356645"/>
                  <a:pt x="130321" y="326195"/>
                </a:cubicBezTo>
                <a:cubicBezTo>
                  <a:pt x="130321" y="295746"/>
                  <a:pt x="113507" y="275246"/>
                  <a:pt x="88585" y="275246"/>
                </a:cubicBezTo>
                <a:cubicBezTo>
                  <a:pt x="63986" y="275246"/>
                  <a:pt x="46849" y="295746"/>
                  <a:pt x="46849" y="326195"/>
                </a:cubicBezTo>
                <a:cubicBezTo>
                  <a:pt x="46849" y="356599"/>
                  <a:pt x="63940" y="377145"/>
                  <a:pt x="88585" y="377145"/>
                </a:cubicBezTo>
                <a:close/>
                <a:moveTo>
                  <a:pt x="177125" y="437399"/>
                </a:moveTo>
                <a:lnTo>
                  <a:pt x="177125" y="437077"/>
                </a:lnTo>
                <a:cubicBezTo>
                  <a:pt x="176802" y="416255"/>
                  <a:pt x="165424" y="401836"/>
                  <a:pt x="148610" y="400546"/>
                </a:cubicBezTo>
                <a:cubicBezTo>
                  <a:pt x="118298" y="398289"/>
                  <a:pt x="118298" y="398289"/>
                  <a:pt x="118298" y="398289"/>
                </a:cubicBezTo>
                <a:cubicBezTo>
                  <a:pt x="88585" y="429706"/>
                  <a:pt x="88585" y="429706"/>
                  <a:pt x="88585" y="429706"/>
                </a:cubicBezTo>
                <a:cubicBezTo>
                  <a:pt x="59149" y="398289"/>
                  <a:pt x="59149" y="398289"/>
                  <a:pt x="59149" y="398289"/>
                </a:cubicBezTo>
                <a:cubicBezTo>
                  <a:pt x="28837" y="400546"/>
                  <a:pt x="28837" y="400546"/>
                  <a:pt x="28837" y="400546"/>
                </a:cubicBezTo>
                <a:cubicBezTo>
                  <a:pt x="12023" y="401836"/>
                  <a:pt x="599" y="416255"/>
                  <a:pt x="322" y="437077"/>
                </a:cubicBezTo>
                <a:lnTo>
                  <a:pt x="0" y="437399"/>
                </a:lnTo>
                <a:cubicBezTo>
                  <a:pt x="0" y="444448"/>
                  <a:pt x="0" y="485170"/>
                  <a:pt x="0" y="522346"/>
                </a:cubicBezTo>
                <a:cubicBezTo>
                  <a:pt x="177125" y="522346"/>
                  <a:pt x="177125" y="522346"/>
                  <a:pt x="177125" y="522346"/>
                </a:cubicBezTo>
                <a:cubicBezTo>
                  <a:pt x="177125" y="485124"/>
                  <a:pt x="177125" y="444448"/>
                  <a:pt x="177125" y="437399"/>
                </a:cubicBezTo>
                <a:close/>
                <a:moveTo>
                  <a:pt x="327439" y="716838"/>
                </a:moveTo>
                <a:lnTo>
                  <a:pt x="327900" y="716607"/>
                </a:lnTo>
                <a:lnTo>
                  <a:pt x="327439" y="716607"/>
                </a:lnTo>
                <a:lnTo>
                  <a:pt x="327439" y="716838"/>
                </a:lnTo>
                <a:close/>
                <a:moveTo>
                  <a:pt x="294317" y="484571"/>
                </a:moveTo>
                <a:lnTo>
                  <a:pt x="294548" y="484157"/>
                </a:lnTo>
                <a:lnTo>
                  <a:pt x="294824" y="483742"/>
                </a:lnTo>
                <a:lnTo>
                  <a:pt x="302287" y="471581"/>
                </a:lnTo>
                <a:lnTo>
                  <a:pt x="302748" y="470844"/>
                </a:lnTo>
                <a:lnTo>
                  <a:pt x="303254" y="470106"/>
                </a:lnTo>
                <a:cubicBezTo>
                  <a:pt x="305834" y="466237"/>
                  <a:pt x="308552" y="462506"/>
                  <a:pt x="311316" y="458866"/>
                </a:cubicBezTo>
                <a:lnTo>
                  <a:pt x="250416" y="418374"/>
                </a:lnTo>
                <a:lnTo>
                  <a:pt x="228719" y="450989"/>
                </a:lnTo>
                <a:lnTo>
                  <a:pt x="290264" y="491942"/>
                </a:lnTo>
                <a:cubicBezTo>
                  <a:pt x="291645" y="489362"/>
                  <a:pt x="292982" y="486921"/>
                  <a:pt x="294317" y="484571"/>
                </a:cubicBezTo>
                <a:close/>
                <a:moveTo>
                  <a:pt x="725498" y="486782"/>
                </a:moveTo>
                <a:cubicBezTo>
                  <a:pt x="726373" y="488349"/>
                  <a:pt x="727202" y="489915"/>
                  <a:pt x="728032" y="491481"/>
                </a:cubicBezTo>
                <a:lnTo>
                  <a:pt x="790958" y="449008"/>
                </a:lnTo>
                <a:lnTo>
                  <a:pt x="769030" y="416531"/>
                </a:lnTo>
                <a:lnTo>
                  <a:pt x="706979" y="458452"/>
                </a:lnTo>
                <a:cubicBezTo>
                  <a:pt x="713336" y="466882"/>
                  <a:pt x="719187" y="475634"/>
                  <a:pt x="724300" y="484663"/>
                </a:cubicBezTo>
                <a:cubicBezTo>
                  <a:pt x="724668" y="485216"/>
                  <a:pt x="725083" y="485953"/>
                  <a:pt x="725498" y="486782"/>
                </a:cubicBezTo>
                <a:close/>
                <a:moveTo>
                  <a:pt x="528933" y="289527"/>
                </a:moveTo>
                <a:lnTo>
                  <a:pt x="489777" y="289527"/>
                </a:lnTo>
                <a:lnTo>
                  <a:pt x="489777" y="360653"/>
                </a:lnTo>
                <a:cubicBezTo>
                  <a:pt x="489869" y="360653"/>
                  <a:pt x="489961" y="360653"/>
                  <a:pt x="490053" y="360607"/>
                </a:cubicBezTo>
                <a:cubicBezTo>
                  <a:pt x="491343" y="360515"/>
                  <a:pt x="492633" y="360423"/>
                  <a:pt x="493877" y="360331"/>
                </a:cubicBezTo>
                <a:cubicBezTo>
                  <a:pt x="498990" y="360008"/>
                  <a:pt x="504149" y="359870"/>
                  <a:pt x="509309" y="359870"/>
                </a:cubicBezTo>
                <a:cubicBezTo>
                  <a:pt x="513224" y="359870"/>
                  <a:pt x="517186" y="359962"/>
                  <a:pt x="521056" y="360146"/>
                </a:cubicBezTo>
                <a:cubicBezTo>
                  <a:pt x="522115" y="360192"/>
                  <a:pt x="523128" y="360238"/>
                  <a:pt x="524188" y="360284"/>
                </a:cubicBezTo>
                <a:lnTo>
                  <a:pt x="524419" y="360284"/>
                </a:lnTo>
                <a:lnTo>
                  <a:pt x="524649" y="360284"/>
                </a:lnTo>
                <a:lnTo>
                  <a:pt x="524879" y="360284"/>
                </a:lnTo>
                <a:cubicBezTo>
                  <a:pt x="526261" y="360377"/>
                  <a:pt x="527597" y="360469"/>
                  <a:pt x="528979" y="360607"/>
                </a:cubicBezTo>
                <a:lnTo>
                  <a:pt x="528979" y="289527"/>
                </a:lnTo>
                <a:close/>
                <a:moveTo>
                  <a:pt x="719509" y="738535"/>
                </a:moveTo>
                <a:cubicBezTo>
                  <a:pt x="718311" y="740470"/>
                  <a:pt x="717114" y="742358"/>
                  <a:pt x="715870" y="744293"/>
                </a:cubicBezTo>
                <a:lnTo>
                  <a:pt x="715732" y="744523"/>
                </a:lnTo>
                <a:lnTo>
                  <a:pt x="715594" y="744754"/>
                </a:lnTo>
                <a:cubicBezTo>
                  <a:pt x="710849" y="751848"/>
                  <a:pt x="705828" y="758574"/>
                  <a:pt x="700668" y="764885"/>
                </a:cubicBezTo>
                <a:lnTo>
                  <a:pt x="770551" y="811366"/>
                </a:lnTo>
                <a:lnTo>
                  <a:pt x="792248" y="778751"/>
                </a:lnTo>
                <a:lnTo>
                  <a:pt x="723056" y="732730"/>
                </a:lnTo>
                <a:cubicBezTo>
                  <a:pt x="721812" y="734619"/>
                  <a:pt x="720661" y="736600"/>
                  <a:pt x="719509" y="738535"/>
                </a:cubicBezTo>
                <a:close/>
                <a:moveTo>
                  <a:pt x="299062" y="738443"/>
                </a:moveTo>
                <a:lnTo>
                  <a:pt x="298970" y="738258"/>
                </a:lnTo>
                <a:lnTo>
                  <a:pt x="298463" y="737429"/>
                </a:lnTo>
                <a:lnTo>
                  <a:pt x="297450" y="735817"/>
                </a:lnTo>
                <a:lnTo>
                  <a:pt x="297358" y="735679"/>
                </a:lnTo>
                <a:lnTo>
                  <a:pt x="297266" y="735540"/>
                </a:lnTo>
                <a:cubicBezTo>
                  <a:pt x="297220" y="735448"/>
                  <a:pt x="297127" y="735356"/>
                  <a:pt x="297082" y="735218"/>
                </a:cubicBezTo>
                <a:lnTo>
                  <a:pt x="229825" y="780639"/>
                </a:lnTo>
                <a:lnTo>
                  <a:pt x="251752" y="813116"/>
                </a:lnTo>
                <a:lnTo>
                  <a:pt x="319930" y="767096"/>
                </a:lnTo>
                <a:cubicBezTo>
                  <a:pt x="312421" y="758205"/>
                  <a:pt x="305420" y="748623"/>
                  <a:pt x="299108" y="738581"/>
                </a:cubicBezTo>
                <a:lnTo>
                  <a:pt x="299062" y="738443"/>
                </a:lnTo>
                <a:close/>
                <a:moveTo>
                  <a:pt x="524188" y="854760"/>
                </a:moveTo>
                <a:cubicBezTo>
                  <a:pt x="523128" y="854806"/>
                  <a:pt x="522115" y="854898"/>
                  <a:pt x="521056" y="854898"/>
                </a:cubicBezTo>
                <a:cubicBezTo>
                  <a:pt x="517186" y="855082"/>
                  <a:pt x="513224" y="855175"/>
                  <a:pt x="509309" y="855175"/>
                </a:cubicBezTo>
                <a:cubicBezTo>
                  <a:pt x="504149" y="855175"/>
                  <a:pt x="498944" y="854990"/>
                  <a:pt x="493877" y="854714"/>
                </a:cubicBezTo>
                <a:cubicBezTo>
                  <a:pt x="492633" y="854668"/>
                  <a:pt x="491389" y="854576"/>
                  <a:pt x="490145" y="854484"/>
                </a:cubicBezTo>
                <a:cubicBezTo>
                  <a:pt x="490007" y="854484"/>
                  <a:pt x="489869" y="854484"/>
                  <a:pt x="489730" y="854438"/>
                </a:cubicBezTo>
                <a:lnTo>
                  <a:pt x="489730" y="940167"/>
                </a:lnTo>
                <a:lnTo>
                  <a:pt x="528887" y="940167"/>
                </a:lnTo>
                <a:lnTo>
                  <a:pt x="528887" y="854438"/>
                </a:lnTo>
                <a:cubicBezTo>
                  <a:pt x="527505" y="854530"/>
                  <a:pt x="526031" y="854668"/>
                  <a:pt x="524465" y="854760"/>
                </a:cubicBezTo>
                <a:lnTo>
                  <a:pt x="524188" y="854760"/>
                </a:lnTo>
                <a:close/>
                <a:moveTo>
                  <a:pt x="625857" y="609872"/>
                </a:moveTo>
                <a:cubicBezTo>
                  <a:pt x="625857" y="594347"/>
                  <a:pt x="623922" y="577948"/>
                  <a:pt x="620329" y="561640"/>
                </a:cubicBezTo>
                <a:lnTo>
                  <a:pt x="529394" y="561640"/>
                </a:lnTo>
                <a:lnTo>
                  <a:pt x="529394" y="665842"/>
                </a:lnTo>
                <a:lnTo>
                  <a:pt x="618394" y="665842"/>
                </a:lnTo>
                <a:cubicBezTo>
                  <a:pt x="623231" y="647139"/>
                  <a:pt x="625857" y="628022"/>
                  <a:pt x="625857" y="609872"/>
                </a:cubicBezTo>
                <a:close/>
                <a:moveTo>
                  <a:pt x="649534" y="522300"/>
                </a:moveTo>
                <a:lnTo>
                  <a:pt x="696983" y="522300"/>
                </a:lnTo>
                <a:cubicBezTo>
                  <a:pt x="694495" y="516864"/>
                  <a:pt x="691869" y="511520"/>
                  <a:pt x="688921" y="506315"/>
                </a:cubicBezTo>
                <a:cubicBezTo>
                  <a:pt x="688783" y="505992"/>
                  <a:pt x="688599" y="505716"/>
                  <a:pt x="688414" y="505393"/>
                </a:cubicBezTo>
                <a:cubicBezTo>
                  <a:pt x="683209" y="496226"/>
                  <a:pt x="677266" y="487474"/>
                  <a:pt x="670725" y="479274"/>
                </a:cubicBezTo>
                <a:cubicBezTo>
                  <a:pt x="645020" y="446935"/>
                  <a:pt x="609779" y="422520"/>
                  <a:pt x="569287" y="410220"/>
                </a:cubicBezTo>
                <a:cubicBezTo>
                  <a:pt x="606140" y="433438"/>
                  <a:pt x="633642" y="476418"/>
                  <a:pt x="649534" y="522300"/>
                </a:cubicBezTo>
                <a:close/>
                <a:moveTo>
                  <a:pt x="308368" y="561594"/>
                </a:moveTo>
                <a:cubicBezTo>
                  <a:pt x="305604" y="573756"/>
                  <a:pt x="303853" y="586240"/>
                  <a:pt x="303346" y="599092"/>
                </a:cubicBezTo>
                <a:cubicBezTo>
                  <a:pt x="303208" y="601902"/>
                  <a:pt x="303162" y="604712"/>
                  <a:pt x="303162" y="607522"/>
                </a:cubicBezTo>
                <a:cubicBezTo>
                  <a:pt x="303162" y="613465"/>
                  <a:pt x="303393" y="619407"/>
                  <a:pt x="303945" y="625212"/>
                </a:cubicBezTo>
                <a:cubicBezTo>
                  <a:pt x="305097" y="639170"/>
                  <a:pt x="307723" y="652759"/>
                  <a:pt x="311546" y="665796"/>
                </a:cubicBezTo>
                <a:lnTo>
                  <a:pt x="360100" y="665796"/>
                </a:lnTo>
                <a:cubicBezTo>
                  <a:pt x="355816" y="647185"/>
                  <a:pt x="353513" y="628206"/>
                  <a:pt x="353513" y="609595"/>
                </a:cubicBezTo>
                <a:cubicBezTo>
                  <a:pt x="353513" y="594347"/>
                  <a:pt x="355171" y="578086"/>
                  <a:pt x="358442" y="561594"/>
                </a:cubicBezTo>
                <a:lnTo>
                  <a:pt x="308368" y="561594"/>
                </a:lnTo>
                <a:close/>
                <a:moveTo>
                  <a:pt x="707071" y="665842"/>
                </a:moveTo>
                <a:cubicBezTo>
                  <a:pt x="710895" y="652805"/>
                  <a:pt x="713521" y="639216"/>
                  <a:pt x="714672" y="625258"/>
                </a:cubicBezTo>
                <a:cubicBezTo>
                  <a:pt x="715225" y="619453"/>
                  <a:pt x="715455" y="613511"/>
                  <a:pt x="715455" y="607568"/>
                </a:cubicBezTo>
                <a:cubicBezTo>
                  <a:pt x="715455" y="604758"/>
                  <a:pt x="715409" y="601948"/>
                  <a:pt x="715271" y="599138"/>
                </a:cubicBezTo>
                <a:cubicBezTo>
                  <a:pt x="714764" y="586286"/>
                  <a:pt x="713060" y="573756"/>
                  <a:pt x="710296" y="561640"/>
                </a:cubicBezTo>
                <a:lnTo>
                  <a:pt x="660176" y="561640"/>
                </a:lnTo>
                <a:cubicBezTo>
                  <a:pt x="663446" y="578132"/>
                  <a:pt x="665105" y="594393"/>
                  <a:pt x="665105" y="609641"/>
                </a:cubicBezTo>
                <a:cubicBezTo>
                  <a:pt x="665105" y="628252"/>
                  <a:pt x="662801" y="647231"/>
                  <a:pt x="658517" y="665842"/>
                </a:cubicBezTo>
                <a:lnTo>
                  <a:pt x="707071" y="665842"/>
                </a:lnTo>
                <a:close/>
                <a:moveTo>
                  <a:pt x="392761" y="609872"/>
                </a:moveTo>
                <a:cubicBezTo>
                  <a:pt x="392761" y="628068"/>
                  <a:pt x="395387" y="647139"/>
                  <a:pt x="400224" y="665842"/>
                </a:cubicBezTo>
                <a:lnTo>
                  <a:pt x="490237" y="665842"/>
                </a:lnTo>
                <a:lnTo>
                  <a:pt x="490237" y="561640"/>
                </a:lnTo>
                <a:lnTo>
                  <a:pt x="398289" y="561640"/>
                </a:lnTo>
                <a:cubicBezTo>
                  <a:pt x="394696" y="577948"/>
                  <a:pt x="392761" y="594301"/>
                  <a:pt x="392761" y="609872"/>
                </a:cubicBezTo>
                <a:close/>
                <a:moveTo>
                  <a:pt x="529394" y="428555"/>
                </a:moveTo>
                <a:lnTo>
                  <a:pt x="529394" y="522300"/>
                </a:lnTo>
                <a:lnTo>
                  <a:pt x="608489" y="522300"/>
                </a:lnTo>
                <a:cubicBezTo>
                  <a:pt x="591307" y="477938"/>
                  <a:pt x="562792" y="439841"/>
                  <a:pt x="529394" y="428555"/>
                </a:cubicBezTo>
                <a:close/>
                <a:moveTo>
                  <a:pt x="449284" y="410266"/>
                </a:moveTo>
                <a:cubicBezTo>
                  <a:pt x="408792" y="422566"/>
                  <a:pt x="373551" y="446981"/>
                  <a:pt x="347892" y="479320"/>
                </a:cubicBezTo>
                <a:cubicBezTo>
                  <a:pt x="344253" y="483834"/>
                  <a:pt x="340844" y="488487"/>
                  <a:pt x="337620" y="493278"/>
                </a:cubicBezTo>
                <a:lnTo>
                  <a:pt x="330157" y="505439"/>
                </a:lnTo>
                <a:cubicBezTo>
                  <a:pt x="328176" y="508848"/>
                  <a:pt x="326334" y="512349"/>
                  <a:pt x="324583" y="515896"/>
                </a:cubicBezTo>
                <a:cubicBezTo>
                  <a:pt x="323524" y="518015"/>
                  <a:pt x="322556" y="520181"/>
                  <a:pt x="321589" y="522346"/>
                </a:cubicBezTo>
                <a:lnTo>
                  <a:pt x="369083" y="522346"/>
                </a:lnTo>
                <a:cubicBezTo>
                  <a:pt x="384976" y="476418"/>
                  <a:pt x="412431" y="433438"/>
                  <a:pt x="449284" y="410266"/>
                </a:cubicBezTo>
                <a:close/>
                <a:moveTo>
                  <a:pt x="569149" y="804916"/>
                </a:moveTo>
                <a:cubicBezTo>
                  <a:pt x="606785" y="793538"/>
                  <a:pt x="639861" y="771656"/>
                  <a:pt x="665013" y="742727"/>
                </a:cubicBezTo>
                <a:cubicBezTo>
                  <a:pt x="670817" y="736093"/>
                  <a:pt x="676161" y="729045"/>
                  <a:pt x="681090" y="721675"/>
                </a:cubicBezTo>
                <a:cubicBezTo>
                  <a:pt x="682196" y="719970"/>
                  <a:pt x="683255" y="718312"/>
                  <a:pt x="684315" y="716607"/>
                </a:cubicBezTo>
                <a:cubicBezTo>
                  <a:pt x="686664" y="712876"/>
                  <a:pt x="688829" y="709006"/>
                  <a:pt x="690948" y="705091"/>
                </a:cubicBezTo>
                <a:lnTo>
                  <a:pt x="646356" y="705091"/>
                </a:lnTo>
                <a:cubicBezTo>
                  <a:pt x="629588" y="747333"/>
                  <a:pt x="602593" y="784186"/>
                  <a:pt x="569149" y="804916"/>
                </a:cubicBezTo>
                <a:close/>
                <a:moveTo>
                  <a:pt x="410082" y="522300"/>
                </a:moveTo>
                <a:lnTo>
                  <a:pt x="490191" y="522300"/>
                </a:lnTo>
                <a:lnTo>
                  <a:pt x="490191" y="428232"/>
                </a:lnTo>
                <a:cubicBezTo>
                  <a:pt x="456379" y="439058"/>
                  <a:pt x="427449" y="477477"/>
                  <a:pt x="410082" y="522300"/>
                </a:cubicBezTo>
                <a:close/>
                <a:moveTo>
                  <a:pt x="604712" y="705137"/>
                </a:moveTo>
                <a:lnTo>
                  <a:pt x="529394" y="705137"/>
                </a:lnTo>
                <a:lnTo>
                  <a:pt x="529394" y="786720"/>
                </a:lnTo>
                <a:cubicBezTo>
                  <a:pt x="560488" y="776632"/>
                  <a:pt x="587299" y="744339"/>
                  <a:pt x="604712" y="705137"/>
                </a:cubicBezTo>
                <a:close/>
                <a:moveTo>
                  <a:pt x="490237" y="787043"/>
                </a:moveTo>
                <a:lnTo>
                  <a:pt x="490237" y="705137"/>
                </a:lnTo>
                <a:lnTo>
                  <a:pt x="413906" y="705137"/>
                </a:lnTo>
                <a:cubicBezTo>
                  <a:pt x="431503" y="744800"/>
                  <a:pt x="458728" y="777369"/>
                  <a:pt x="490237" y="787043"/>
                </a:cubicBezTo>
                <a:close/>
                <a:moveTo>
                  <a:pt x="372308" y="705137"/>
                </a:moveTo>
                <a:lnTo>
                  <a:pt x="327715" y="705137"/>
                </a:lnTo>
                <a:cubicBezTo>
                  <a:pt x="329374" y="708177"/>
                  <a:pt x="331032" y="711217"/>
                  <a:pt x="332829" y="714212"/>
                </a:cubicBezTo>
                <a:cubicBezTo>
                  <a:pt x="333336" y="715041"/>
                  <a:pt x="333842" y="715824"/>
                  <a:pt x="334349" y="716653"/>
                </a:cubicBezTo>
                <a:cubicBezTo>
                  <a:pt x="340107" y="725867"/>
                  <a:pt x="346557" y="734619"/>
                  <a:pt x="353651" y="742773"/>
                </a:cubicBezTo>
                <a:cubicBezTo>
                  <a:pt x="378803" y="771702"/>
                  <a:pt x="411879" y="793538"/>
                  <a:pt x="449469" y="804916"/>
                </a:cubicBezTo>
                <a:cubicBezTo>
                  <a:pt x="416024" y="784140"/>
                  <a:pt x="389030" y="747333"/>
                  <a:pt x="372308" y="705137"/>
                </a:cubicBezTo>
                <a:close/>
              </a:path>
            </a:pathLst>
          </a:custGeom>
          <a:solidFill>
            <a:schemeClr val="tx1"/>
          </a:solid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224" name="Freihandform: Form 221">
            <a:extLst>
              <a:ext uri="{FF2B5EF4-FFF2-40B4-BE49-F238E27FC236}">
                <a16:creationId xmlns:a16="http://schemas.microsoft.com/office/drawing/2014/main" id="{A680278C-AC8E-4993-0EA3-A5B701D7078B}"/>
              </a:ext>
            </a:extLst>
          </p:cNvPr>
          <p:cNvSpPr>
            <a:spLocks noChangeAspect="1"/>
          </p:cNvSpPr>
          <p:nvPr/>
        </p:nvSpPr>
        <p:spPr>
          <a:xfrm>
            <a:off x="7006284" y="2700931"/>
            <a:ext cx="257130" cy="257870"/>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solidFill>
            <a:schemeClr val="tx1"/>
          </a:solid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250" name="Freihandform: Form 222">
            <a:extLst>
              <a:ext uri="{FF2B5EF4-FFF2-40B4-BE49-F238E27FC236}">
                <a16:creationId xmlns:a16="http://schemas.microsoft.com/office/drawing/2014/main" id="{3AF016D2-B12B-7257-B126-EC2E40B76C61}"/>
              </a:ext>
            </a:extLst>
          </p:cNvPr>
          <p:cNvSpPr>
            <a:spLocks noChangeAspect="1"/>
          </p:cNvSpPr>
          <p:nvPr/>
        </p:nvSpPr>
        <p:spPr>
          <a:xfrm>
            <a:off x="6734761" y="2697503"/>
            <a:ext cx="212811" cy="260841"/>
          </a:xfrm>
          <a:custGeom>
            <a:avLst/>
            <a:gdLst>
              <a:gd name="connsiteX0" fmla="*/ 352591 w 705182"/>
              <a:gd name="connsiteY0" fmla="*/ 0 h 861853"/>
              <a:gd name="connsiteX1" fmla="*/ 0 w 705182"/>
              <a:gd name="connsiteY1" fmla="*/ 160357 h 861853"/>
              <a:gd name="connsiteX2" fmla="*/ 0 w 705182"/>
              <a:gd name="connsiteY2" fmla="*/ 391748 h 861853"/>
              <a:gd name="connsiteX3" fmla="*/ 352591 w 705182"/>
              <a:gd name="connsiteY3" fmla="*/ 861854 h 861853"/>
              <a:gd name="connsiteX4" fmla="*/ 705182 w 705182"/>
              <a:gd name="connsiteY4" fmla="*/ 391748 h 861853"/>
              <a:gd name="connsiteX5" fmla="*/ 705182 w 705182"/>
              <a:gd name="connsiteY5" fmla="*/ 160357 h 861853"/>
              <a:gd name="connsiteX6" fmla="*/ 352591 w 705182"/>
              <a:gd name="connsiteY6" fmla="*/ 0 h 861853"/>
              <a:gd name="connsiteX7" fmla="*/ 352591 w 705182"/>
              <a:gd name="connsiteY7" fmla="*/ 430535 h 861853"/>
              <a:gd name="connsiteX8" fmla="*/ 626824 w 705182"/>
              <a:gd name="connsiteY8" fmla="*/ 430535 h 861853"/>
              <a:gd name="connsiteX9" fmla="*/ 352591 w 705182"/>
              <a:gd name="connsiteY9" fmla="*/ 780547 h 861853"/>
              <a:gd name="connsiteX10" fmla="*/ 352591 w 705182"/>
              <a:gd name="connsiteY10" fmla="*/ 430904 h 861853"/>
              <a:gd name="connsiteX11" fmla="*/ 78359 w 705182"/>
              <a:gd name="connsiteY11" fmla="*/ 430904 h 861853"/>
              <a:gd name="connsiteX12" fmla="*/ 78359 w 705182"/>
              <a:gd name="connsiteY12" fmla="*/ 207621 h 861853"/>
              <a:gd name="connsiteX13" fmla="*/ 352591 w 705182"/>
              <a:gd name="connsiteY13" fmla="*/ 85775 h 861853"/>
              <a:gd name="connsiteX14" fmla="*/ 352591 w 705182"/>
              <a:gd name="connsiteY14" fmla="*/ 430535 h 86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5182" h="861853">
                <a:moveTo>
                  <a:pt x="352591" y="0"/>
                </a:moveTo>
                <a:lnTo>
                  <a:pt x="0" y="160357"/>
                </a:lnTo>
                <a:lnTo>
                  <a:pt x="0" y="391748"/>
                </a:lnTo>
                <a:cubicBezTo>
                  <a:pt x="0" y="609365"/>
                  <a:pt x="150222" y="812287"/>
                  <a:pt x="352591" y="861854"/>
                </a:cubicBezTo>
                <a:cubicBezTo>
                  <a:pt x="554914" y="812287"/>
                  <a:pt x="705182" y="609365"/>
                  <a:pt x="705182" y="391748"/>
                </a:cubicBezTo>
                <a:lnTo>
                  <a:pt x="705182" y="160357"/>
                </a:lnTo>
                <a:lnTo>
                  <a:pt x="352591" y="0"/>
                </a:lnTo>
                <a:close/>
                <a:moveTo>
                  <a:pt x="352591" y="430535"/>
                </a:moveTo>
                <a:lnTo>
                  <a:pt x="626824" y="430535"/>
                </a:lnTo>
                <a:cubicBezTo>
                  <a:pt x="606048" y="591952"/>
                  <a:pt x="498529" y="735724"/>
                  <a:pt x="352591" y="780547"/>
                </a:cubicBezTo>
                <a:lnTo>
                  <a:pt x="352591" y="430904"/>
                </a:lnTo>
                <a:lnTo>
                  <a:pt x="78359" y="430904"/>
                </a:lnTo>
                <a:lnTo>
                  <a:pt x="78359" y="207621"/>
                </a:lnTo>
                <a:lnTo>
                  <a:pt x="352591" y="85775"/>
                </a:lnTo>
                <a:lnTo>
                  <a:pt x="352591" y="430535"/>
                </a:lnTo>
                <a:close/>
              </a:path>
            </a:pathLst>
          </a:custGeom>
          <a:solidFill>
            <a:schemeClr val="tx1"/>
          </a:solid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pic>
        <p:nvPicPr>
          <p:cNvPr id="257" name="Grafik 256">
            <a:extLst>
              <a:ext uri="{FF2B5EF4-FFF2-40B4-BE49-F238E27FC236}">
                <a16:creationId xmlns:a16="http://schemas.microsoft.com/office/drawing/2014/main" id="{248C1280-3311-4569-D3B9-EFEB9B11E24C}"/>
              </a:ext>
            </a:extLst>
          </p:cNvPr>
          <p:cNvPicPr>
            <a:picLocks noChangeAspect="1"/>
          </p:cNvPicPr>
          <p:nvPr/>
        </p:nvPicPr>
        <p:blipFill>
          <a:blip r:embed="rId26"/>
          <a:stretch>
            <a:fillRect/>
          </a:stretch>
        </p:blipFill>
        <p:spPr>
          <a:xfrm>
            <a:off x="10418323" y="5251473"/>
            <a:ext cx="1657350" cy="438150"/>
          </a:xfrm>
          <a:prstGeom prst="rect">
            <a:avLst/>
          </a:prstGeom>
        </p:spPr>
      </p:pic>
    </p:spTree>
    <p:extLst>
      <p:ext uri="{BB962C8B-B14F-4D97-AF65-F5344CB8AC3E}">
        <p14:creationId xmlns:p14="http://schemas.microsoft.com/office/powerpoint/2010/main" val="4080730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B7C51-9556-7A0A-F6B7-1C8153E2AD4C}"/>
            </a:ext>
          </a:extLst>
        </p:cNvPr>
        <p:cNvGrpSpPr/>
        <p:nvPr/>
      </p:nvGrpSpPr>
      <p:grpSpPr>
        <a:xfrm>
          <a:off x="0" y="0"/>
          <a:ext cx="0" cy="0"/>
          <a:chOff x="0" y="0"/>
          <a:chExt cx="0" cy="0"/>
        </a:xfrm>
      </p:grpSpPr>
      <p:graphicFrame>
        <p:nvGraphicFramePr>
          <p:cNvPr id="152" name="think-cell data - do not delete" hidden="1">
            <a:extLst>
              <a:ext uri="{FF2B5EF4-FFF2-40B4-BE49-F238E27FC236}">
                <a16:creationId xmlns:a16="http://schemas.microsoft.com/office/drawing/2014/main" id="{5D1EC8D6-356C-B08B-C215-F2A58A5763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52" name="think-cell data - do not delete" hidden="1">
                        <a:extLst>
                          <a:ext uri="{FF2B5EF4-FFF2-40B4-BE49-F238E27FC236}">
                            <a16:creationId xmlns:a16="http://schemas.microsoft.com/office/drawing/2014/main" id="{5D1EC8D6-356C-B08B-C215-F2A58A5763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957BA0E-36F4-D31E-65E1-3C84753E25EB}"/>
              </a:ext>
            </a:extLst>
          </p:cNvPr>
          <p:cNvSpPr>
            <a:spLocks noGrp="1"/>
          </p:cNvSpPr>
          <p:nvPr>
            <p:ph type="title"/>
          </p:nvPr>
        </p:nvSpPr>
        <p:spPr/>
        <p:txBody>
          <a:bodyPr vert="horz"/>
          <a:lstStyle/>
          <a:p>
            <a:r>
              <a:rPr lang="en-US"/>
              <a:t>Software-Defined</a:t>
            </a:r>
            <a:r>
              <a:rPr lang="en-US" b="0"/>
              <a:t> </a:t>
            </a:r>
            <a:r>
              <a:rPr lang="en-US"/>
              <a:t>Automation</a:t>
            </a:r>
            <a:r>
              <a:rPr lang="en-US" sz="2000" b="1"/>
              <a:t> comprises </a:t>
            </a:r>
            <a:r>
              <a:rPr lang="en-US"/>
              <a:t>four key</a:t>
            </a:r>
            <a:r>
              <a:rPr lang="en-US" sz="2000" b="1"/>
              <a:t> elements</a:t>
            </a:r>
            <a:endParaRPr lang="en-US" b="0"/>
          </a:p>
        </p:txBody>
      </p:sp>
      <p:sp>
        <p:nvSpPr>
          <p:cNvPr id="4" name="Footer Placeholder 3">
            <a:extLst>
              <a:ext uri="{FF2B5EF4-FFF2-40B4-BE49-F238E27FC236}">
                <a16:creationId xmlns:a16="http://schemas.microsoft.com/office/drawing/2014/main" id="{E678EC80-0581-E651-3F5A-2546DA5DFEE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Unrestricted | © Siemens 2025 | Raghav Tripathi</a:t>
            </a:r>
          </a:p>
        </p:txBody>
      </p:sp>
      <p:sp>
        <p:nvSpPr>
          <p:cNvPr id="6" name="Rectangle 165">
            <a:extLst>
              <a:ext uri="{FF2B5EF4-FFF2-40B4-BE49-F238E27FC236}">
                <a16:creationId xmlns:a16="http://schemas.microsoft.com/office/drawing/2014/main" id="{E21C3148-D47E-BAAF-4206-6F0208F9CB9B}"/>
              </a:ext>
            </a:extLst>
          </p:cNvPr>
          <p:cNvSpPr>
            <a:spLocks/>
          </p:cNvSpPr>
          <p:nvPr/>
        </p:nvSpPr>
        <p:spPr>
          <a:xfrm>
            <a:off x="4520082"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pPr>
            <a:r>
              <a:rPr lang="en-US" sz="1200" kern="1200">
                <a:solidFill>
                  <a:prstClr val="white"/>
                </a:solidFill>
                <a:cs typeface="Arial"/>
              </a:rPr>
              <a:t>PCS neo engineering </a:t>
            </a:r>
            <a:br>
              <a:rPr lang="en-US" sz="1200" kern="1200">
                <a:solidFill>
                  <a:prstClr val="white"/>
                </a:solidFill>
                <a:cs typeface="Arial"/>
              </a:rPr>
            </a:br>
            <a:r>
              <a:rPr lang="en-US" sz="1200" kern="1200">
                <a:solidFill>
                  <a:prstClr val="white"/>
                </a:solidFill>
                <a:cs typeface="Arial"/>
              </a:rPr>
              <a:t>in the cloud</a:t>
            </a:r>
          </a:p>
        </p:txBody>
      </p:sp>
      <p:sp>
        <p:nvSpPr>
          <p:cNvPr id="16" name="Rectangle 27">
            <a:extLst>
              <a:ext uri="{FF2B5EF4-FFF2-40B4-BE49-F238E27FC236}">
                <a16:creationId xmlns:a16="http://schemas.microsoft.com/office/drawing/2014/main" id="{FA40DA15-EAB6-532B-2FBB-1724DAB30571}"/>
              </a:ext>
            </a:extLst>
          </p:cNvPr>
          <p:cNvSpPr>
            <a:spLocks/>
          </p:cNvSpPr>
          <p:nvPr/>
        </p:nvSpPr>
        <p:spPr>
          <a:xfrm>
            <a:off x="6966343" y="3803541"/>
            <a:ext cx="2059553" cy="534337"/>
          </a:xfrm>
          <a:prstGeom prst="rect">
            <a:avLst/>
          </a:prstGeom>
          <a:solidFill>
            <a:srgbClr val="333353"/>
          </a:solidFill>
          <a:ln>
            <a:solidFill>
              <a:srgbClr val="00C1B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l" rtl="0">
              <a:buClrTx/>
              <a:defRPr/>
            </a:pPr>
            <a:r>
              <a:rPr lang="en-US" sz="1200" kern="1200">
                <a:solidFill>
                  <a:prstClr val="white"/>
                </a:solidFill>
                <a:cs typeface="Arial"/>
              </a:rPr>
              <a:t>DCS Co-Pilo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0">
            <a:extLst>
              <a:ext uri="{FF2B5EF4-FFF2-40B4-BE49-F238E27FC236}">
                <a16:creationId xmlns:a16="http://schemas.microsoft.com/office/drawing/2014/main" id="{6E45A5A8-4761-C36D-1EF0-806A113D32FD}"/>
              </a:ext>
            </a:extLst>
          </p:cNvPr>
          <p:cNvSpPr txBox="1">
            <a:spLocks noChangeAspect="1"/>
          </p:cNvSpPr>
          <p:nvPr/>
        </p:nvSpPr>
        <p:spPr>
          <a:xfrm>
            <a:off x="411163" y="4421788"/>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Siemens Portfolio</a:t>
            </a:r>
          </a:p>
        </p:txBody>
      </p:sp>
      <p:sp>
        <p:nvSpPr>
          <p:cNvPr id="27" name="Rechteck 51">
            <a:extLst>
              <a:ext uri="{FF2B5EF4-FFF2-40B4-BE49-F238E27FC236}">
                <a16:creationId xmlns:a16="http://schemas.microsoft.com/office/drawing/2014/main" id="{5FCE4ADA-DEF3-951B-2B62-9D3F1E19523E}"/>
              </a:ext>
            </a:extLst>
          </p:cNvPr>
          <p:cNvSpPr>
            <a:spLocks/>
          </p:cNvSpPr>
          <p:nvPr/>
        </p:nvSpPr>
        <p:spPr>
          <a:xfrm>
            <a:off x="2071043" y="1417050"/>
            <a:ext cx="2304833"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IT-like </a:t>
            </a: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Engineering</a:t>
            </a:r>
            <a:endParaRPr kumimoji="0" lang="en-US" sz="1800" b="1" i="0" u="none" strike="noStrike" kern="1200" cap="none" spc="0" normalizeH="0" baseline="0" noProof="0">
              <a:ln>
                <a:noFill/>
              </a:ln>
              <a:solidFill>
                <a:schemeClr val="tx1"/>
              </a:solidFill>
              <a:effectLst/>
              <a:uLnTx/>
              <a:uFillTx/>
              <a:latin typeface="Arial"/>
              <a:ea typeface="+mn-ea"/>
              <a:cs typeface="+mn-cs"/>
            </a:endParaRPr>
          </a:p>
        </p:txBody>
      </p:sp>
      <p:sp>
        <p:nvSpPr>
          <p:cNvPr id="30" name="Rechteck 53">
            <a:extLst>
              <a:ext uri="{FF2B5EF4-FFF2-40B4-BE49-F238E27FC236}">
                <a16:creationId xmlns:a16="http://schemas.microsoft.com/office/drawing/2014/main" id="{C4CF84D6-6350-E636-5199-433CE5B38897}"/>
              </a:ext>
            </a:extLst>
          </p:cNvPr>
          <p:cNvSpPr>
            <a:spLocks/>
          </p:cNvSpPr>
          <p:nvPr/>
        </p:nvSpPr>
        <p:spPr>
          <a:xfrm>
            <a:off x="6969123" y="1417050"/>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a:solidFill>
                  <a:prstClr val="white"/>
                </a:solidFill>
                <a:latin typeface="Arial"/>
              </a:rPr>
              <a:t>Intelligent Operations</a:t>
            </a:r>
            <a:endParaRPr kumimoji="0" lang="en-US" sz="1800" b="1" i="0" u="none" strike="noStrike" kern="1200" cap="none" spc="0" normalizeH="0" baseline="0" noProof="0">
              <a:ln>
                <a:noFill/>
              </a:ln>
              <a:solidFill>
                <a:prstClr val="white"/>
              </a:solidFill>
              <a:effectLst/>
              <a:uLnTx/>
              <a:uFillTx/>
              <a:latin typeface="Arial"/>
            </a:endParaRPr>
          </a:p>
        </p:txBody>
      </p:sp>
      <p:sp>
        <p:nvSpPr>
          <p:cNvPr id="31" name="Rechteck 52">
            <a:extLst>
              <a:ext uri="{FF2B5EF4-FFF2-40B4-BE49-F238E27FC236}">
                <a16:creationId xmlns:a16="http://schemas.microsoft.com/office/drawing/2014/main" id="{74BA0F2D-F9DA-A6CF-CF3D-D2C93257F196}"/>
              </a:ext>
            </a:extLst>
          </p:cNvPr>
          <p:cNvSpPr>
            <a:spLocks/>
          </p:cNvSpPr>
          <p:nvPr/>
        </p:nvSpPr>
        <p:spPr>
          <a:xfrm>
            <a:off x="4520083"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Cloud &amp; Virtualizatio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20">
            <a:extLst>
              <a:ext uri="{FF2B5EF4-FFF2-40B4-BE49-F238E27FC236}">
                <a16:creationId xmlns:a16="http://schemas.microsoft.com/office/drawing/2014/main" id="{728A9BE0-5731-06D7-64AF-5A20D395E453}"/>
              </a:ext>
            </a:extLst>
          </p:cNvPr>
          <p:cNvSpPr txBox="1">
            <a:spLocks noChangeAspect="1"/>
          </p:cNvSpPr>
          <p:nvPr/>
        </p:nvSpPr>
        <p:spPr>
          <a:xfrm>
            <a:off x="410400" y="2243136"/>
            <a:ext cx="1160180" cy="534337"/>
          </a:xfrm>
          <a:prstGeom prst="rect">
            <a:avLst/>
          </a:prstGeom>
          <a:solidFill>
            <a:srgbClr val="00C1B6"/>
          </a:solidFill>
          <a:ln>
            <a:solidFill>
              <a:srgbClr val="00C1B6"/>
            </a:solidFill>
          </a:ln>
        </p:spPr>
        <p:txBody>
          <a:bodyPr wrap="square" lIns="108000" tIns="108000" rIns="108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Arial"/>
                <a:ea typeface="+mn-ea"/>
                <a:cs typeface="Arial"/>
              </a:rPr>
              <a:t>Explanation</a:t>
            </a:r>
          </a:p>
        </p:txBody>
      </p:sp>
      <p:sp>
        <p:nvSpPr>
          <p:cNvPr id="38" name="TextBox 20">
            <a:extLst>
              <a:ext uri="{FF2B5EF4-FFF2-40B4-BE49-F238E27FC236}">
                <a16:creationId xmlns:a16="http://schemas.microsoft.com/office/drawing/2014/main" id="{67394A11-33BA-D89F-6EF1-001BECF9B39E}"/>
              </a:ext>
            </a:extLst>
          </p:cNvPr>
          <p:cNvSpPr txBox="1">
            <a:spLocks/>
          </p:cNvSpPr>
          <p:nvPr/>
        </p:nvSpPr>
        <p:spPr>
          <a:xfrm>
            <a:off x="207104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W development principles, applied to industrial automation</a:t>
            </a:r>
          </a:p>
        </p:txBody>
      </p:sp>
      <p:sp>
        <p:nvSpPr>
          <p:cNvPr id="39" name="TextBox 13">
            <a:extLst>
              <a:ext uri="{FF2B5EF4-FFF2-40B4-BE49-F238E27FC236}">
                <a16:creationId xmlns:a16="http://schemas.microsoft.com/office/drawing/2014/main" id="{61D6DAF5-14A0-B8CE-EF3F-21F1A9BACC02}"/>
              </a:ext>
            </a:extLst>
          </p:cNvPr>
          <p:cNvSpPr txBox="1">
            <a:spLocks/>
          </p:cNvSpPr>
          <p:nvPr/>
        </p:nvSpPr>
        <p:spPr>
          <a:xfrm>
            <a:off x="452008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Decoupling fixed hardware from automation </a:t>
            </a:r>
            <a:r>
              <a:rPr lang="en-US" sz="1200" kern="1200">
                <a:solidFill>
                  <a:prstClr val="white"/>
                </a:solidFill>
                <a:latin typeface="Arial"/>
                <a:ea typeface="+mn-ea"/>
                <a:cs typeface="Arial"/>
              </a:rPr>
              <a:t>s</a:t>
            </a:r>
            <a:r>
              <a:rPr kumimoji="0" lang="en-US" sz="1200" b="0" i="0" u="none" strike="noStrike" kern="1200" cap="none" spc="0" normalizeH="0" baseline="0" noProof="0" err="1">
                <a:ln>
                  <a:noFill/>
                </a:ln>
                <a:solidFill>
                  <a:prstClr val="white"/>
                </a:solidFill>
                <a:effectLst/>
                <a:uLnTx/>
                <a:uFillTx/>
                <a:latin typeface="Arial"/>
                <a:ea typeface="+mn-ea"/>
                <a:cs typeface="Arial"/>
              </a:rPr>
              <a:t>oftware</a:t>
            </a:r>
            <a:r>
              <a:rPr kumimoji="0" lang="en-US" sz="1200" b="0" i="0" u="none" strike="noStrike" kern="1200" cap="none" spc="0" normalizeH="0" baseline="0" noProof="0">
                <a:ln>
                  <a:noFill/>
                </a:ln>
                <a:solidFill>
                  <a:prstClr val="white"/>
                </a:solidFill>
                <a:effectLst/>
                <a:uLnTx/>
                <a:uFillTx/>
                <a:latin typeface="Arial"/>
                <a:ea typeface="+mn-ea"/>
                <a:cs typeface="Arial"/>
              </a:rPr>
              <a:t> </a:t>
            </a:r>
          </a:p>
        </p:txBody>
      </p:sp>
      <p:sp>
        <p:nvSpPr>
          <p:cNvPr id="40" name="TextBox 20">
            <a:extLst>
              <a:ext uri="{FF2B5EF4-FFF2-40B4-BE49-F238E27FC236}">
                <a16:creationId xmlns:a16="http://schemas.microsoft.com/office/drawing/2014/main" id="{100048B0-9B35-5099-CEA5-B78D3335D585}"/>
              </a:ext>
            </a:extLst>
          </p:cNvPr>
          <p:cNvSpPr txBox="1">
            <a:spLocks/>
          </p:cNvSpPr>
          <p:nvPr/>
        </p:nvSpPr>
        <p:spPr>
          <a:xfrm>
            <a:off x="6969124" y="2223475"/>
            <a:ext cx="1696038" cy="55399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Arial"/>
                <a:ea typeface="+mn-ea"/>
                <a:cs typeface="Arial"/>
              </a:rPr>
              <a:t>Smart solutions that build upon Software-</a:t>
            </a:r>
            <a:r>
              <a:rPr lang="en-US" sz="1200" kern="1200">
                <a:solidFill>
                  <a:prstClr val="white"/>
                </a:solidFill>
                <a:latin typeface="Arial"/>
                <a:ea typeface="+mn-ea"/>
                <a:cs typeface="Arial"/>
              </a:rPr>
              <a:t>D</a:t>
            </a:r>
            <a:r>
              <a:rPr kumimoji="0" lang="en-US" sz="1200" i="0" u="none" strike="noStrike" kern="1200" cap="none" spc="0" normalizeH="0" baseline="0" noProof="0" err="1">
                <a:ln>
                  <a:noFill/>
                </a:ln>
                <a:solidFill>
                  <a:prstClr val="white"/>
                </a:solidFill>
                <a:effectLst/>
                <a:uLnTx/>
                <a:uFillTx/>
                <a:latin typeface="Arial"/>
                <a:ea typeface="+mn-ea"/>
                <a:cs typeface="Arial"/>
              </a:rPr>
              <a:t>efined</a:t>
            </a:r>
            <a:r>
              <a:rPr kumimoji="0" lang="en-US" sz="1200" i="0" u="none" strike="noStrike" kern="1200" cap="none" spc="0" normalizeH="0" baseline="0" noProof="0">
                <a:ln>
                  <a:noFill/>
                </a:ln>
                <a:solidFill>
                  <a:prstClr val="white"/>
                </a:solidFill>
                <a:effectLst/>
                <a:uLnTx/>
                <a:uFillTx/>
                <a:latin typeface="Arial"/>
                <a:ea typeface="+mn-ea"/>
                <a:cs typeface="Arial"/>
              </a:rPr>
              <a:t> </a:t>
            </a:r>
            <a:r>
              <a:rPr lang="en-US" sz="1200" kern="1200">
                <a:solidFill>
                  <a:prstClr val="white"/>
                </a:solidFill>
                <a:latin typeface="Arial"/>
                <a:ea typeface="+mn-ea"/>
                <a:cs typeface="Arial"/>
              </a:rPr>
              <a:t>A</a:t>
            </a:r>
            <a:r>
              <a:rPr kumimoji="0" lang="en-US" sz="1200" i="0" u="none" strike="noStrike" kern="1200" cap="none" spc="0" normalizeH="0" baseline="0" noProof="0" err="1">
                <a:ln>
                  <a:noFill/>
                </a:ln>
                <a:solidFill>
                  <a:prstClr val="white"/>
                </a:solidFill>
                <a:effectLst/>
                <a:uLnTx/>
                <a:uFillTx/>
                <a:latin typeface="Arial"/>
                <a:ea typeface="+mn-ea"/>
                <a:cs typeface="Arial"/>
              </a:rPr>
              <a:t>utomation</a:t>
            </a:r>
            <a:endParaRPr kumimoji="0" lang="en-US" sz="1200" i="0" u="none" strike="noStrike" kern="1200" cap="none" spc="0" normalizeH="0" baseline="0" noProof="0">
              <a:ln>
                <a:noFill/>
              </a:ln>
              <a:solidFill>
                <a:prstClr val="white"/>
              </a:solidFill>
              <a:effectLst/>
              <a:uLnTx/>
              <a:uFillTx/>
              <a:latin typeface="Arial"/>
              <a:ea typeface="+mn-ea"/>
              <a:cs typeface="Arial"/>
            </a:endParaRPr>
          </a:p>
        </p:txBody>
      </p:sp>
      <p:sp>
        <p:nvSpPr>
          <p:cNvPr id="41" name="Rechteck 52">
            <a:extLst>
              <a:ext uri="{FF2B5EF4-FFF2-40B4-BE49-F238E27FC236}">
                <a16:creationId xmlns:a16="http://schemas.microsoft.com/office/drawing/2014/main" id="{2D989998-3B8D-EB9A-B858-7D966BAF48E1}"/>
              </a:ext>
            </a:extLst>
          </p:cNvPr>
          <p:cNvSpPr>
            <a:spLocks/>
          </p:cNvSpPr>
          <p:nvPr/>
        </p:nvSpPr>
        <p:spPr>
          <a:xfrm>
            <a:off x="410400" y="5279668"/>
            <a:ext cx="11384805" cy="527408"/>
          </a:xfrm>
          <a:prstGeom prst="rect">
            <a:avLst/>
          </a:prstGeom>
          <a:solidFill>
            <a:srgbClr val="333353"/>
          </a:solidFill>
        </p:spPr>
        <p:txBody>
          <a:bodyPr wrap="square" lIns="72000" tIns="72000" rIns="72000" bIns="72000" anchor="ctr">
            <a:noAutofit/>
          </a:bodyPr>
          <a:lstStyle/>
          <a:p>
            <a:pPr lvl="0" algn="ctr" rtl="0">
              <a:buClrTx/>
              <a:defRPr/>
            </a:pPr>
            <a:r>
              <a:rPr lang="en-US" sz="2000" b="1" kern="1200">
                <a:solidFill>
                  <a:schemeClr val="tx1"/>
                </a:solidFill>
                <a:latin typeface="Arial"/>
                <a:ea typeface="+mn-ea"/>
                <a:cs typeface="Arial"/>
              </a:rPr>
              <a:t>Cybersecurity offering as strong protection layer for the software-based production</a:t>
            </a:r>
            <a:endParaRPr kumimoji="0" lang="en-US" sz="2000" b="1" i="0" u="none" strike="noStrike" kern="1200" cap="none" spc="0" normalizeH="0" baseline="0" noProof="0">
              <a:ln>
                <a:noFill/>
              </a:ln>
              <a:solidFill>
                <a:schemeClr val="tx1"/>
              </a:solidFill>
              <a:effectLst/>
              <a:uLnTx/>
              <a:uFillTx/>
              <a:latin typeface="Arial"/>
              <a:ea typeface="+mn-ea"/>
              <a:cs typeface="Arial"/>
            </a:endParaRPr>
          </a:p>
        </p:txBody>
      </p:sp>
      <p:sp>
        <p:nvSpPr>
          <p:cNvPr id="42" name="Freeform 5">
            <a:extLst>
              <a:ext uri="{FF2B5EF4-FFF2-40B4-BE49-F238E27FC236}">
                <a16:creationId xmlns:a16="http://schemas.microsoft.com/office/drawing/2014/main" id="{0BB46DB3-F86E-A7BE-8063-B9C48F6E9C88}"/>
              </a:ext>
            </a:extLst>
          </p:cNvPr>
          <p:cNvSpPr>
            <a:spLocks/>
          </p:cNvSpPr>
          <p:nvPr/>
        </p:nvSpPr>
        <p:spPr bwMode="auto">
          <a:xfrm>
            <a:off x="2071042" y="3019766"/>
            <a:ext cx="645283" cy="553998"/>
          </a:xfrm>
          <a:custGeom>
            <a:avLst/>
            <a:gdLst>
              <a:gd name="T0" fmla="*/ 48 w 84"/>
              <a:gd name="T1" fmla="*/ 0 h 72"/>
              <a:gd name="T2" fmla="*/ 12 w 84"/>
              <a:gd name="T3" fmla="*/ 36 h 72"/>
              <a:gd name="T4" fmla="*/ 0 w 84"/>
              <a:gd name="T5" fmla="*/ 36 h 72"/>
              <a:gd name="T6" fmla="*/ 16 w 84"/>
              <a:gd name="T7" fmla="*/ 56 h 72"/>
              <a:gd name="T8" fmla="*/ 32 w 84"/>
              <a:gd name="T9" fmla="*/ 36 h 72"/>
              <a:gd name="T10" fmla="*/ 20 w 84"/>
              <a:gd name="T11" fmla="*/ 36 h 72"/>
              <a:gd name="T12" fmla="*/ 48 w 84"/>
              <a:gd name="T13" fmla="*/ 8 h 72"/>
              <a:gd name="T14" fmla="*/ 76 w 84"/>
              <a:gd name="T15" fmla="*/ 36 h 72"/>
              <a:gd name="T16" fmla="*/ 48 w 84"/>
              <a:gd name="T17" fmla="*/ 64 h 72"/>
              <a:gd name="T18" fmla="*/ 33 w 84"/>
              <a:gd name="T19" fmla="*/ 60 h 72"/>
              <a:gd name="T20" fmla="*/ 28 w 84"/>
              <a:gd name="T21" fmla="*/ 66 h 72"/>
              <a:gd name="T22" fmla="*/ 48 w 84"/>
              <a:gd name="T23" fmla="*/ 72 h 72"/>
              <a:gd name="T24" fmla="*/ 84 w 84"/>
              <a:gd name="T25" fmla="*/ 36 h 72"/>
              <a:gd name="T26" fmla="*/ 48 w 84"/>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2">
                <a:moveTo>
                  <a:pt x="48" y="0"/>
                </a:moveTo>
                <a:cubicBezTo>
                  <a:pt x="28" y="0"/>
                  <a:pt x="12" y="16"/>
                  <a:pt x="12" y="36"/>
                </a:cubicBezTo>
                <a:cubicBezTo>
                  <a:pt x="0" y="36"/>
                  <a:pt x="0" y="36"/>
                  <a:pt x="0" y="36"/>
                </a:cubicBezTo>
                <a:cubicBezTo>
                  <a:pt x="16" y="56"/>
                  <a:pt x="16" y="56"/>
                  <a:pt x="16" y="56"/>
                </a:cubicBezTo>
                <a:cubicBezTo>
                  <a:pt x="32" y="36"/>
                  <a:pt x="32" y="36"/>
                  <a:pt x="32" y="36"/>
                </a:cubicBezTo>
                <a:cubicBezTo>
                  <a:pt x="20" y="36"/>
                  <a:pt x="20" y="36"/>
                  <a:pt x="20" y="36"/>
                </a:cubicBezTo>
                <a:cubicBezTo>
                  <a:pt x="20" y="21"/>
                  <a:pt x="33" y="8"/>
                  <a:pt x="48" y="8"/>
                </a:cubicBezTo>
                <a:cubicBezTo>
                  <a:pt x="63" y="8"/>
                  <a:pt x="76" y="21"/>
                  <a:pt x="76" y="36"/>
                </a:cubicBezTo>
                <a:cubicBezTo>
                  <a:pt x="76" y="51"/>
                  <a:pt x="63" y="64"/>
                  <a:pt x="48" y="64"/>
                </a:cubicBezTo>
                <a:cubicBezTo>
                  <a:pt x="43" y="64"/>
                  <a:pt x="38" y="62"/>
                  <a:pt x="33" y="60"/>
                </a:cubicBezTo>
                <a:cubicBezTo>
                  <a:pt x="28" y="66"/>
                  <a:pt x="28" y="66"/>
                  <a:pt x="28" y="66"/>
                </a:cubicBezTo>
                <a:cubicBezTo>
                  <a:pt x="34" y="70"/>
                  <a:pt x="41" y="72"/>
                  <a:pt x="48" y="72"/>
                </a:cubicBezTo>
                <a:cubicBezTo>
                  <a:pt x="68" y="72"/>
                  <a:pt x="84" y="56"/>
                  <a:pt x="84" y="36"/>
                </a:cubicBezTo>
                <a:cubicBezTo>
                  <a:pt x="84" y="16"/>
                  <a:pt x="68" y="0"/>
                  <a:pt x="48" y="0"/>
                </a:cubicBezTo>
                <a:close/>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eck 49">
            <a:extLst>
              <a:ext uri="{FF2B5EF4-FFF2-40B4-BE49-F238E27FC236}">
                <a16:creationId xmlns:a16="http://schemas.microsoft.com/office/drawing/2014/main" id="{309ED565-C926-0DB1-A201-F17A2D706DFE}"/>
              </a:ext>
            </a:extLst>
          </p:cNvPr>
          <p:cNvSpPr>
            <a:spLocks/>
          </p:cNvSpPr>
          <p:nvPr/>
        </p:nvSpPr>
        <p:spPr>
          <a:xfrm>
            <a:off x="9418164" y="1414807"/>
            <a:ext cx="230483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l" rtl="0">
              <a:buClrTx/>
              <a:defRPr/>
            </a:pPr>
            <a:r>
              <a:rPr lang="en-US" b="1" kern="1200">
                <a:latin typeface="Arial"/>
              </a:rPr>
              <a:t>Dynamic </a:t>
            </a:r>
            <a:r>
              <a:rPr lang="en-US" b="1" kern="1200">
                <a:solidFill>
                  <a:schemeClr val="tx1"/>
                </a:solidFill>
                <a:latin typeface="Arial"/>
              </a:rPr>
              <a:t>Lifecycle Management</a:t>
            </a:r>
            <a:endParaRPr kumimoji="0" lang="en-US" sz="1800" b="1" i="0" u="none" strike="noStrike" kern="1200" cap="none" spc="0" normalizeH="0" baseline="0" noProof="0">
              <a:ln>
                <a:noFill/>
              </a:ln>
              <a:solidFill>
                <a:schemeClr val="tx1"/>
              </a:solidFill>
              <a:effectLst/>
              <a:uLnTx/>
              <a:uFillTx/>
              <a:latin typeface="Arial"/>
            </a:endParaRPr>
          </a:p>
        </p:txBody>
      </p:sp>
      <p:sp>
        <p:nvSpPr>
          <p:cNvPr id="44" name="TextBox 20">
            <a:extLst>
              <a:ext uri="{FF2B5EF4-FFF2-40B4-BE49-F238E27FC236}">
                <a16:creationId xmlns:a16="http://schemas.microsoft.com/office/drawing/2014/main" id="{5C3CADA2-A7BE-0A5B-26D6-9D4250ABE5FE}"/>
              </a:ext>
            </a:extLst>
          </p:cNvPr>
          <p:cNvSpPr txBox="1">
            <a:spLocks/>
          </p:cNvSpPr>
          <p:nvPr/>
        </p:nvSpPr>
        <p:spPr>
          <a:xfrm>
            <a:off x="9418164" y="2223475"/>
            <a:ext cx="2151609" cy="36933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Management</a:t>
            </a:r>
            <a:br>
              <a:rPr kumimoji="0" lang="en-US" sz="1200" b="0" i="0" u="none" strike="noStrike" kern="1200" cap="none" spc="0" normalizeH="0" baseline="0" noProof="0">
                <a:ln>
                  <a:noFill/>
                </a:ln>
                <a:solidFill>
                  <a:prstClr val="white"/>
                </a:solidFill>
                <a:effectLst/>
                <a:uLnTx/>
                <a:uFillTx/>
                <a:latin typeface="Arial"/>
                <a:ea typeface="+mn-ea"/>
                <a:cs typeface="Arial"/>
              </a:rPr>
            </a:br>
            <a:r>
              <a:rPr kumimoji="0" lang="en-US" sz="1200" b="0" i="0" u="none" strike="noStrike" kern="1200" cap="none" spc="0" normalizeH="0" baseline="0" noProof="0">
                <a:ln>
                  <a:noFill/>
                </a:ln>
                <a:solidFill>
                  <a:prstClr val="white"/>
                </a:solidFill>
                <a:effectLst/>
                <a:uLnTx/>
                <a:uFillTx/>
                <a:latin typeface="Arial"/>
                <a:ea typeface="+mn-ea"/>
                <a:cs typeface="Arial"/>
              </a:rPr>
              <a:t>&amp;</a:t>
            </a:r>
            <a:r>
              <a:rPr lang="en-US" sz="1200" kern="1200">
                <a:solidFill>
                  <a:prstClr val="white"/>
                </a:solidFill>
                <a:latin typeface="Arial"/>
                <a:ea typeface="+mn-ea"/>
                <a:cs typeface="Arial"/>
              </a:rPr>
              <a:t> </a:t>
            </a:r>
            <a:r>
              <a:rPr kumimoji="0" lang="en-US" sz="1200" b="0" i="0" u="none" strike="noStrike" kern="1200" cap="none" spc="0" normalizeH="0" baseline="0" noProof="0">
                <a:ln>
                  <a:noFill/>
                </a:ln>
                <a:solidFill>
                  <a:prstClr val="white"/>
                </a:solidFill>
                <a:effectLst/>
                <a:uLnTx/>
                <a:uFillTx/>
                <a:latin typeface="Arial"/>
                <a:ea typeface="+mn-ea"/>
                <a:cs typeface="Arial"/>
              </a:rPr>
              <a:t>Deployment infrastructure</a:t>
            </a:r>
          </a:p>
        </p:txBody>
      </p:sp>
      <p:sp>
        <p:nvSpPr>
          <p:cNvPr id="45" name="Freeform 6">
            <a:extLst>
              <a:ext uri="{FF2B5EF4-FFF2-40B4-BE49-F238E27FC236}">
                <a16:creationId xmlns:a16="http://schemas.microsoft.com/office/drawing/2014/main" id="{FED04EAC-74D4-E4B7-A31C-21F754BC4835}"/>
              </a:ext>
            </a:extLst>
          </p:cNvPr>
          <p:cNvSpPr>
            <a:spLocks noChangeAspect="1" noEditPoints="1"/>
          </p:cNvSpPr>
          <p:nvPr/>
        </p:nvSpPr>
        <p:spPr bwMode="auto">
          <a:xfrm>
            <a:off x="9418163" y="3021499"/>
            <a:ext cx="404423" cy="550287"/>
          </a:xfrm>
          <a:custGeom>
            <a:avLst/>
            <a:gdLst>
              <a:gd name="T0" fmla="*/ 1892 w 2362"/>
              <a:gd name="T1" fmla="*/ 0 h 3213"/>
              <a:gd name="T2" fmla="*/ 1892 w 2362"/>
              <a:gd name="T3" fmla="*/ 475 h 3213"/>
              <a:gd name="T4" fmla="*/ 470 w 2362"/>
              <a:gd name="T5" fmla="*/ 475 h 3213"/>
              <a:gd name="T6" fmla="*/ 470 w 2362"/>
              <a:gd name="T7" fmla="*/ 0 h 3213"/>
              <a:gd name="T8" fmla="*/ 0 w 2362"/>
              <a:gd name="T9" fmla="*/ 0 h 3213"/>
              <a:gd name="T10" fmla="*/ 0 w 2362"/>
              <a:gd name="T11" fmla="*/ 3213 h 3213"/>
              <a:gd name="T12" fmla="*/ 2362 w 2362"/>
              <a:gd name="T13" fmla="*/ 3213 h 3213"/>
              <a:gd name="T14" fmla="*/ 2362 w 2362"/>
              <a:gd name="T15" fmla="*/ 0 h 3213"/>
              <a:gd name="T16" fmla="*/ 1892 w 2362"/>
              <a:gd name="T17" fmla="*/ 0 h 3213"/>
              <a:gd name="T18" fmla="*/ 756 w 2362"/>
              <a:gd name="T19" fmla="*/ 2646 h 3213"/>
              <a:gd name="T20" fmla="*/ 378 w 2362"/>
              <a:gd name="T21" fmla="*/ 2646 h 3213"/>
              <a:gd name="T22" fmla="*/ 378 w 2362"/>
              <a:gd name="T23" fmla="*/ 2268 h 3213"/>
              <a:gd name="T24" fmla="*/ 756 w 2362"/>
              <a:gd name="T25" fmla="*/ 2268 h 3213"/>
              <a:gd name="T26" fmla="*/ 756 w 2362"/>
              <a:gd name="T27" fmla="*/ 2646 h 3213"/>
              <a:gd name="T28" fmla="*/ 756 w 2362"/>
              <a:gd name="T29" fmla="*/ 1607 h 3213"/>
              <a:gd name="T30" fmla="*/ 378 w 2362"/>
              <a:gd name="T31" fmla="*/ 1607 h 3213"/>
              <a:gd name="T32" fmla="*/ 378 w 2362"/>
              <a:gd name="T33" fmla="*/ 1229 h 3213"/>
              <a:gd name="T34" fmla="*/ 756 w 2362"/>
              <a:gd name="T35" fmla="*/ 1229 h 3213"/>
              <a:gd name="T36" fmla="*/ 756 w 2362"/>
              <a:gd name="T37" fmla="*/ 1607 h 3213"/>
              <a:gd name="T38" fmla="*/ 1423 w 2362"/>
              <a:gd name="T39" fmla="*/ 2786 h 3213"/>
              <a:gd name="T40" fmla="*/ 1067 w 2362"/>
              <a:gd name="T41" fmla="*/ 2430 h 3213"/>
              <a:gd name="T42" fmla="*/ 1172 w 2362"/>
              <a:gd name="T43" fmla="*/ 2324 h 3213"/>
              <a:gd name="T44" fmla="*/ 1400 w 2362"/>
              <a:gd name="T45" fmla="*/ 2522 h 3213"/>
              <a:gd name="T46" fmla="*/ 1980 w 2362"/>
              <a:gd name="T47" fmla="*/ 2019 h 3213"/>
              <a:gd name="T48" fmla="*/ 2085 w 2362"/>
              <a:gd name="T49" fmla="*/ 2124 h 3213"/>
              <a:gd name="T50" fmla="*/ 1423 w 2362"/>
              <a:gd name="T51" fmla="*/ 2786 h 3213"/>
              <a:gd name="T52" fmla="*/ 1423 w 2362"/>
              <a:gd name="T53" fmla="*/ 1747 h 3213"/>
              <a:gd name="T54" fmla="*/ 1067 w 2362"/>
              <a:gd name="T55" fmla="*/ 1390 h 3213"/>
              <a:gd name="T56" fmla="*/ 1172 w 2362"/>
              <a:gd name="T57" fmla="*/ 1285 h 3213"/>
              <a:gd name="T58" fmla="*/ 1400 w 2362"/>
              <a:gd name="T59" fmla="*/ 1483 h 3213"/>
              <a:gd name="T60" fmla="*/ 1980 w 2362"/>
              <a:gd name="T61" fmla="*/ 979 h 3213"/>
              <a:gd name="T62" fmla="*/ 2085 w 2362"/>
              <a:gd name="T63" fmla="*/ 1085 h 3213"/>
              <a:gd name="T64" fmla="*/ 1423 w 2362"/>
              <a:gd name="T65" fmla="*/ 1747 h 3213"/>
              <a:gd name="T66" fmla="*/ 1698 w 2362"/>
              <a:gd name="T67" fmla="*/ 281 h 3213"/>
              <a:gd name="T68" fmla="*/ 664 w 2362"/>
              <a:gd name="T69" fmla="*/ 281 h 3213"/>
              <a:gd name="T70" fmla="*/ 664 w 2362"/>
              <a:gd name="T71" fmla="*/ 0 h 3213"/>
              <a:gd name="T72" fmla="*/ 1698 w 2362"/>
              <a:gd name="T73" fmla="*/ 0 h 3213"/>
              <a:gd name="T74" fmla="*/ 1698 w 2362"/>
              <a:gd name="T75" fmla="*/ 281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2" h="3213">
                <a:moveTo>
                  <a:pt x="1892" y="0"/>
                </a:moveTo>
                <a:lnTo>
                  <a:pt x="1892" y="475"/>
                </a:lnTo>
                <a:lnTo>
                  <a:pt x="470" y="475"/>
                </a:lnTo>
                <a:lnTo>
                  <a:pt x="470" y="0"/>
                </a:lnTo>
                <a:lnTo>
                  <a:pt x="0" y="0"/>
                </a:lnTo>
                <a:lnTo>
                  <a:pt x="0" y="3213"/>
                </a:lnTo>
                <a:lnTo>
                  <a:pt x="2362" y="3213"/>
                </a:lnTo>
                <a:lnTo>
                  <a:pt x="2362" y="0"/>
                </a:lnTo>
                <a:lnTo>
                  <a:pt x="1892" y="0"/>
                </a:lnTo>
                <a:close/>
                <a:moveTo>
                  <a:pt x="756" y="2646"/>
                </a:moveTo>
                <a:lnTo>
                  <a:pt x="378" y="2646"/>
                </a:lnTo>
                <a:lnTo>
                  <a:pt x="378" y="2268"/>
                </a:lnTo>
                <a:lnTo>
                  <a:pt x="756" y="2268"/>
                </a:lnTo>
                <a:lnTo>
                  <a:pt x="756" y="2646"/>
                </a:lnTo>
                <a:close/>
                <a:moveTo>
                  <a:pt x="756" y="1607"/>
                </a:moveTo>
                <a:lnTo>
                  <a:pt x="378" y="1607"/>
                </a:lnTo>
                <a:lnTo>
                  <a:pt x="378" y="1229"/>
                </a:lnTo>
                <a:lnTo>
                  <a:pt x="756" y="1229"/>
                </a:lnTo>
                <a:lnTo>
                  <a:pt x="756" y="1607"/>
                </a:lnTo>
                <a:close/>
                <a:moveTo>
                  <a:pt x="1423" y="2786"/>
                </a:moveTo>
                <a:lnTo>
                  <a:pt x="1067" y="2430"/>
                </a:lnTo>
                <a:lnTo>
                  <a:pt x="1172" y="2324"/>
                </a:lnTo>
                <a:lnTo>
                  <a:pt x="1400" y="2522"/>
                </a:lnTo>
                <a:lnTo>
                  <a:pt x="1980" y="2019"/>
                </a:lnTo>
                <a:lnTo>
                  <a:pt x="2085" y="2124"/>
                </a:lnTo>
                <a:lnTo>
                  <a:pt x="1423" y="2786"/>
                </a:lnTo>
                <a:close/>
                <a:moveTo>
                  <a:pt x="1423" y="1747"/>
                </a:moveTo>
                <a:lnTo>
                  <a:pt x="1067" y="1390"/>
                </a:lnTo>
                <a:lnTo>
                  <a:pt x="1172" y="1285"/>
                </a:lnTo>
                <a:lnTo>
                  <a:pt x="1400" y="1483"/>
                </a:lnTo>
                <a:lnTo>
                  <a:pt x="1980" y="979"/>
                </a:lnTo>
                <a:lnTo>
                  <a:pt x="2085" y="1085"/>
                </a:lnTo>
                <a:lnTo>
                  <a:pt x="1423" y="1747"/>
                </a:lnTo>
                <a:close/>
                <a:moveTo>
                  <a:pt x="1698" y="281"/>
                </a:moveTo>
                <a:lnTo>
                  <a:pt x="664" y="281"/>
                </a:lnTo>
                <a:lnTo>
                  <a:pt x="664" y="0"/>
                </a:lnTo>
                <a:lnTo>
                  <a:pt x="1698" y="0"/>
                </a:lnTo>
                <a:lnTo>
                  <a:pt x="1698" y="281"/>
                </a:ln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6">
            <a:extLst>
              <a:ext uri="{FF2B5EF4-FFF2-40B4-BE49-F238E27FC236}">
                <a16:creationId xmlns:a16="http://schemas.microsoft.com/office/drawing/2014/main" id="{0405062E-6B04-BB85-CDC9-0C4AA0602247}"/>
              </a:ext>
            </a:extLst>
          </p:cNvPr>
          <p:cNvSpPr>
            <a:spLocks noChangeAspect="1" noEditPoints="1"/>
          </p:cNvSpPr>
          <p:nvPr/>
        </p:nvSpPr>
        <p:spPr bwMode="auto">
          <a:xfrm>
            <a:off x="4520082" y="3000549"/>
            <a:ext cx="600131" cy="595114"/>
          </a:xfrm>
          <a:custGeom>
            <a:avLst/>
            <a:gdLst>
              <a:gd name="T0" fmla="*/ 1319 w 3239"/>
              <a:gd name="T1" fmla="*/ 2759 h 3212"/>
              <a:gd name="T2" fmla="*/ 1181 w 3239"/>
              <a:gd name="T3" fmla="*/ 3212 h 3212"/>
              <a:gd name="T4" fmla="*/ 0 w 3239"/>
              <a:gd name="T5" fmla="*/ 2031 h 3212"/>
              <a:gd name="T6" fmla="*/ 591 w 3239"/>
              <a:gd name="T7" fmla="*/ 2409 h 3212"/>
              <a:gd name="T8" fmla="*/ 1181 w 3239"/>
              <a:gd name="T9" fmla="*/ 2031 h 3212"/>
              <a:gd name="T10" fmla="*/ 1319 w 3239"/>
              <a:gd name="T11" fmla="*/ 2484 h 3212"/>
              <a:gd name="T12" fmla="*/ 1559 w 3239"/>
              <a:gd name="T13" fmla="*/ 2622 h 3212"/>
              <a:gd name="T14" fmla="*/ 453 w 3239"/>
              <a:gd name="T15" fmla="*/ 1980 h 3212"/>
              <a:gd name="T16" fmla="*/ 590 w 3239"/>
              <a:gd name="T17" fmla="*/ 2220 h 3212"/>
              <a:gd name="T18" fmla="*/ 728 w 3239"/>
              <a:gd name="T19" fmla="*/ 1980 h 3212"/>
              <a:gd name="T20" fmla="*/ 1181 w 3239"/>
              <a:gd name="T21" fmla="*/ 1842 h 3212"/>
              <a:gd name="T22" fmla="*/ 1043 w 3239"/>
              <a:gd name="T23" fmla="*/ 1366 h 3212"/>
              <a:gd name="T24" fmla="*/ 803 w 3239"/>
              <a:gd name="T25" fmla="*/ 1228 h 3212"/>
              <a:gd name="T26" fmla="*/ 1043 w 3239"/>
              <a:gd name="T27" fmla="*/ 1091 h 3212"/>
              <a:gd name="T28" fmla="*/ 1181 w 3239"/>
              <a:gd name="T29" fmla="*/ 661 h 3212"/>
              <a:gd name="T30" fmla="*/ 0 w 3239"/>
              <a:gd name="T31" fmla="*/ 1842 h 3212"/>
              <a:gd name="T32" fmla="*/ 453 w 3239"/>
              <a:gd name="T33" fmla="*/ 1980 h 3212"/>
              <a:gd name="T34" fmla="*/ 2815 w 3239"/>
              <a:gd name="T35" fmla="*/ 1264 h 3212"/>
              <a:gd name="T36" fmla="*/ 3076 w 3239"/>
              <a:gd name="T37" fmla="*/ 664 h 3212"/>
              <a:gd name="T38" fmla="*/ 2873 w 3239"/>
              <a:gd name="T39" fmla="*/ 761 h 3212"/>
              <a:gd name="T40" fmla="*/ 2762 w 3239"/>
              <a:gd name="T41" fmla="*/ 457 h 3212"/>
              <a:gd name="T42" fmla="*/ 2981 w 3239"/>
              <a:gd name="T43" fmla="*/ 401 h 3212"/>
              <a:gd name="T44" fmla="*/ 1725 w 3239"/>
              <a:gd name="T45" fmla="*/ 404 h 3212"/>
              <a:gd name="T46" fmla="*/ 2553 w 3239"/>
              <a:gd name="T47" fmla="*/ 1359 h 3212"/>
              <a:gd name="T48" fmla="*/ 2608 w 3239"/>
              <a:gd name="T49" fmla="*/ 1578 h 3212"/>
              <a:gd name="T50" fmla="*/ 2913 w 3239"/>
              <a:gd name="T51" fmla="*/ 1467 h 3212"/>
              <a:gd name="T52" fmla="*/ 2098 w 3239"/>
              <a:gd name="T53" fmla="*/ 1893 h 3212"/>
              <a:gd name="T54" fmla="*/ 1961 w 3239"/>
              <a:gd name="T55" fmla="*/ 1653 h 3212"/>
              <a:gd name="T56" fmla="*/ 1823 w 3239"/>
              <a:gd name="T57" fmla="*/ 1893 h 3212"/>
              <a:gd name="T58" fmla="*/ 1370 w 3239"/>
              <a:gd name="T59" fmla="*/ 2031 h 3212"/>
              <a:gd name="T60" fmla="*/ 1748 w 3239"/>
              <a:gd name="T61" fmla="*/ 2622 h 3212"/>
              <a:gd name="T62" fmla="*/ 1370 w 3239"/>
              <a:gd name="T63" fmla="*/ 3212 h 3212"/>
              <a:gd name="T64" fmla="*/ 2551 w 3239"/>
              <a:gd name="T65" fmla="*/ 2031 h 3212"/>
              <a:gd name="T66" fmla="*/ 2098 w 3239"/>
              <a:gd name="T67" fmla="*/ 1893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39" h="3212">
                <a:moveTo>
                  <a:pt x="1406" y="2784"/>
                </a:moveTo>
                <a:cubicBezTo>
                  <a:pt x="1376" y="2784"/>
                  <a:pt x="1346" y="2771"/>
                  <a:pt x="1319" y="2759"/>
                </a:cubicBezTo>
                <a:cubicBezTo>
                  <a:pt x="1262" y="2735"/>
                  <a:pt x="1197" y="2690"/>
                  <a:pt x="1181" y="2761"/>
                </a:cubicBezTo>
                <a:lnTo>
                  <a:pt x="1181" y="3212"/>
                </a:lnTo>
                <a:lnTo>
                  <a:pt x="0" y="3212"/>
                </a:lnTo>
                <a:lnTo>
                  <a:pt x="0" y="2031"/>
                </a:lnTo>
                <a:lnTo>
                  <a:pt x="213" y="2031"/>
                </a:lnTo>
                <a:cubicBezTo>
                  <a:pt x="213" y="2240"/>
                  <a:pt x="382" y="2409"/>
                  <a:pt x="591" y="2409"/>
                </a:cubicBezTo>
                <a:cubicBezTo>
                  <a:pt x="799" y="2409"/>
                  <a:pt x="969" y="2240"/>
                  <a:pt x="969" y="2031"/>
                </a:cubicBezTo>
                <a:lnTo>
                  <a:pt x="1181" y="2031"/>
                </a:lnTo>
                <a:lnTo>
                  <a:pt x="1181" y="2482"/>
                </a:lnTo>
                <a:cubicBezTo>
                  <a:pt x="1197" y="2554"/>
                  <a:pt x="1262" y="2509"/>
                  <a:pt x="1319" y="2484"/>
                </a:cubicBezTo>
                <a:cubicBezTo>
                  <a:pt x="1346" y="2473"/>
                  <a:pt x="1376" y="2460"/>
                  <a:pt x="1406" y="2460"/>
                </a:cubicBezTo>
                <a:cubicBezTo>
                  <a:pt x="1491" y="2460"/>
                  <a:pt x="1559" y="2532"/>
                  <a:pt x="1559" y="2622"/>
                </a:cubicBezTo>
                <a:cubicBezTo>
                  <a:pt x="1559" y="2712"/>
                  <a:pt x="1491" y="2784"/>
                  <a:pt x="1406" y="2784"/>
                </a:cubicBezTo>
                <a:close/>
                <a:moveTo>
                  <a:pt x="453" y="1980"/>
                </a:moveTo>
                <a:cubicBezTo>
                  <a:pt x="442" y="2007"/>
                  <a:pt x="429" y="2037"/>
                  <a:pt x="429" y="2067"/>
                </a:cubicBezTo>
                <a:cubicBezTo>
                  <a:pt x="429" y="2152"/>
                  <a:pt x="501" y="2220"/>
                  <a:pt x="590" y="2220"/>
                </a:cubicBezTo>
                <a:cubicBezTo>
                  <a:pt x="680" y="2220"/>
                  <a:pt x="753" y="2152"/>
                  <a:pt x="753" y="2067"/>
                </a:cubicBezTo>
                <a:cubicBezTo>
                  <a:pt x="753" y="2037"/>
                  <a:pt x="740" y="2007"/>
                  <a:pt x="728" y="1980"/>
                </a:cubicBezTo>
                <a:cubicBezTo>
                  <a:pt x="704" y="1923"/>
                  <a:pt x="659" y="1858"/>
                  <a:pt x="730" y="1842"/>
                </a:cubicBezTo>
                <a:lnTo>
                  <a:pt x="1181" y="1842"/>
                </a:lnTo>
                <a:lnTo>
                  <a:pt x="1181" y="1368"/>
                </a:lnTo>
                <a:cubicBezTo>
                  <a:pt x="1166" y="1296"/>
                  <a:pt x="1100" y="1341"/>
                  <a:pt x="1043" y="1366"/>
                </a:cubicBezTo>
                <a:cubicBezTo>
                  <a:pt x="1016" y="1377"/>
                  <a:pt x="987" y="1390"/>
                  <a:pt x="957" y="1390"/>
                </a:cubicBezTo>
                <a:cubicBezTo>
                  <a:pt x="872" y="1390"/>
                  <a:pt x="803" y="1318"/>
                  <a:pt x="803" y="1228"/>
                </a:cubicBezTo>
                <a:cubicBezTo>
                  <a:pt x="803" y="1138"/>
                  <a:pt x="872" y="1066"/>
                  <a:pt x="957" y="1066"/>
                </a:cubicBezTo>
                <a:cubicBezTo>
                  <a:pt x="987" y="1066"/>
                  <a:pt x="1016" y="1079"/>
                  <a:pt x="1043" y="1091"/>
                </a:cubicBezTo>
                <a:cubicBezTo>
                  <a:pt x="1100" y="1115"/>
                  <a:pt x="1166" y="1160"/>
                  <a:pt x="1181" y="1089"/>
                </a:cubicBezTo>
                <a:lnTo>
                  <a:pt x="1181" y="661"/>
                </a:lnTo>
                <a:lnTo>
                  <a:pt x="0" y="661"/>
                </a:lnTo>
                <a:lnTo>
                  <a:pt x="0" y="1842"/>
                </a:lnTo>
                <a:lnTo>
                  <a:pt x="451" y="1842"/>
                </a:lnTo>
                <a:cubicBezTo>
                  <a:pt x="522" y="1858"/>
                  <a:pt x="477" y="1923"/>
                  <a:pt x="453" y="1980"/>
                </a:cubicBezTo>
                <a:close/>
                <a:moveTo>
                  <a:pt x="2860" y="1394"/>
                </a:moveTo>
                <a:cubicBezTo>
                  <a:pt x="2818" y="1349"/>
                  <a:pt x="2753" y="1303"/>
                  <a:pt x="2815" y="1264"/>
                </a:cubicBezTo>
                <a:lnTo>
                  <a:pt x="3239" y="1110"/>
                </a:lnTo>
                <a:lnTo>
                  <a:pt x="3076" y="664"/>
                </a:lnTo>
                <a:cubicBezTo>
                  <a:pt x="3037" y="602"/>
                  <a:pt x="2991" y="667"/>
                  <a:pt x="2946" y="709"/>
                </a:cubicBezTo>
                <a:cubicBezTo>
                  <a:pt x="2924" y="729"/>
                  <a:pt x="2901" y="751"/>
                  <a:pt x="2873" y="761"/>
                </a:cubicBezTo>
                <a:cubicBezTo>
                  <a:pt x="2793" y="791"/>
                  <a:pt x="2704" y="746"/>
                  <a:pt x="2673" y="661"/>
                </a:cubicBezTo>
                <a:cubicBezTo>
                  <a:pt x="2643" y="577"/>
                  <a:pt x="2682" y="486"/>
                  <a:pt x="2762" y="457"/>
                </a:cubicBezTo>
                <a:cubicBezTo>
                  <a:pt x="2790" y="447"/>
                  <a:pt x="2822" y="449"/>
                  <a:pt x="2852" y="451"/>
                </a:cubicBezTo>
                <a:cubicBezTo>
                  <a:pt x="2914" y="454"/>
                  <a:pt x="2991" y="474"/>
                  <a:pt x="2981" y="401"/>
                </a:cubicBezTo>
                <a:lnTo>
                  <a:pt x="2835" y="0"/>
                </a:lnTo>
                <a:lnTo>
                  <a:pt x="1725" y="404"/>
                </a:lnTo>
                <a:lnTo>
                  <a:pt x="2129" y="1514"/>
                </a:lnTo>
                <a:lnTo>
                  <a:pt x="2553" y="1359"/>
                </a:lnTo>
                <a:cubicBezTo>
                  <a:pt x="2625" y="1350"/>
                  <a:pt x="2605" y="1426"/>
                  <a:pt x="2602" y="1488"/>
                </a:cubicBezTo>
                <a:cubicBezTo>
                  <a:pt x="2600" y="1518"/>
                  <a:pt x="2598" y="1550"/>
                  <a:pt x="2608" y="1578"/>
                </a:cubicBezTo>
                <a:cubicBezTo>
                  <a:pt x="2637" y="1658"/>
                  <a:pt x="2728" y="1697"/>
                  <a:pt x="2813" y="1667"/>
                </a:cubicBezTo>
                <a:cubicBezTo>
                  <a:pt x="2897" y="1636"/>
                  <a:pt x="2942" y="1547"/>
                  <a:pt x="2913" y="1467"/>
                </a:cubicBezTo>
                <a:cubicBezTo>
                  <a:pt x="2902" y="1439"/>
                  <a:pt x="2880" y="1416"/>
                  <a:pt x="2860" y="1394"/>
                </a:cubicBezTo>
                <a:close/>
                <a:moveTo>
                  <a:pt x="2098" y="1893"/>
                </a:moveTo>
                <a:cubicBezTo>
                  <a:pt x="2110" y="1866"/>
                  <a:pt x="2123" y="1837"/>
                  <a:pt x="2123" y="1807"/>
                </a:cubicBezTo>
                <a:cubicBezTo>
                  <a:pt x="2123" y="1722"/>
                  <a:pt x="2051" y="1654"/>
                  <a:pt x="1961" y="1653"/>
                </a:cubicBezTo>
                <a:cubicBezTo>
                  <a:pt x="1871" y="1654"/>
                  <a:pt x="1799" y="1722"/>
                  <a:pt x="1799" y="1807"/>
                </a:cubicBezTo>
                <a:cubicBezTo>
                  <a:pt x="1799" y="1837"/>
                  <a:pt x="1812" y="1866"/>
                  <a:pt x="1823" y="1893"/>
                </a:cubicBezTo>
                <a:cubicBezTo>
                  <a:pt x="1847" y="1950"/>
                  <a:pt x="1892" y="2016"/>
                  <a:pt x="1821" y="2031"/>
                </a:cubicBezTo>
                <a:lnTo>
                  <a:pt x="1370" y="2031"/>
                </a:lnTo>
                <a:lnTo>
                  <a:pt x="1370" y="2244"/>
                </a:lnTo>
                <a:cubicBezTo>
                  <a:pt x="1579" y="2244"/>
                  <a:pt x="1748" y="2413"/>
                  <a:pt x="1748" y="2622"/>
                </a:cubicBezTo>
                <a:cubicBezTo>
                  <a:pt x="1748" y="2831"/>
                  <a:pt x="1579" y="3000"/>
                  <a:pt x="1370" y="3000"/>
                </a:cubicBezTo>
                <a:lnTo>
                  <a:pt x="1370" y="3212"/>
                </a:lnTo>
                <a:lnTo>
                  <a:pt x="2551" y="3212"/>
                </a:lnTo>
                <a:lnTo>
                  <a:pt x="2551" y="2031"/>
                </a:lnTo>
                <a:lnTo>
                  <a:pt x="2100" y="2031"/>
                </a:lnTo>
                <a:cubicBezTo>
                  <a:pt x="2029" y="2016"/>
                  <a:pt x="2074" y="1950"/>
                  <a:pt x="2098" y="1893"/>
                </a:cubicBezTo>
              </a:path>
            </a:pathLst>
          </a:custGeom>
          <a:solidFill>
            <a:srgbClr val="00C1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Rectangle 39">
            <a:extLst>
              <a:ext uri="{FF2B5EF4-FFF2-40B4-BE49-F238E27FC236}">
                <a16:creationId xmlns:a16="http://schemas.microsoft.com/office/drawing/2014/main" id="{43055071-615D-BCDE-E9FE-79C39FF20CFF}"/>
              </a:ext>
            </a:extLst>
          </p:cNvPr>
          <p:cNvSpPr>
            <a:spLocks/>
          </p:cNvSpPr>
          <p:nvPr/>
        </p:nvSpPr>
        <p:spPr>
          <a:xfrm>
            <a:off x="207104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neo </a:t>
            </a:r>
          </a:p>
        </p:txBody>
      </p:sp>
      <p:sp>
        <p:nvSpPr>
          <p:cNvPr id="48" name="Rectangle 166">
            <a:extLst>
              <a:ext uri="{FF2B5EF4-FFF2-40B4-BE49-F238E27FC236}">
                <a16:creationId xmlns:a16="http://schemas.microsoft.com/office/drawing/2014/main" id="{7AFAABCF-DD67-48A8-C541-CB9D9ED4CFB9}"/>
              </a:ext>
            </a:extLst>
          </p:cNvPr>
          <p:cNvSpPr>
            <a:spLocks/>
          </p:cNvSpPr>
          <p:nvPr/>
        </p:nvSpPr>
        <p:spPr>
          <a:xfrm>
            <a:off x="4520083"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Virtual Process Controller</a:t>
            </a:r>
          </a:p>
        </p:txBody>
      </p:sp>
      <p:sp>
        <p:nvSpPr>
          <p:cNvPr id="49" name="Rectangle 12">
            <a:extLst>
              <a:ext uri="{FF2B5EF4-FFF2-40B4-BE49-F238E27FC236}">
                <a16:creationId xmlns:a16="http://schemas.microsoft.com/office/drawing/2014/main" id="{E53BF5B9-12D2-A6A8-49E7-83BED2A73952}"/>
              </a:ext>
            </a:extLst>
          </p:cNvPr>
          <p:cNvSpPr>
            <a:spLocks/>
          </p:cNvSpPr>
          <p:nvPr/>
        </p:nvSpPr>
        <p:spPr>
          <a:xfrm>
            <a:off x="6969124"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err="1">
                <a:solidFill>
                  <a:prstClr val="white"/>
                </a:solidFill>
                <a:latin typeface="Arial"/>
                <a:cs typeface="Arial"/>
              </a:rPr>
              <a:t>eaSie</a:t>
            </a:r>
            <a:endParaRPr lang="en-US" sz="1200" kern="1200">
              <a:solidFill>
                <a:prstClr val="white"/>
              </a:solidFill>
              <a:latin typeface="Arial"/>
              <a:cs typeface="Arial"/>
            </a:endParaRPr>
          </a:p>
        </p:txBody>
      </p:sp>
      <p:sp>
        <p:nvSpPr>
          <p:cNvPr id="50" name="Rectangle 40">
            <a:extLst>
              <a:ext uri="{FF2B5EF4-FFF2-40B4-BE49-F238E27FC236}">
                <a16:creationId xmlns:a16="http://schemas.microsoft.com/office/drawing/2014/main" id="{F05CC897-53BF-FD09-1207-F5523F35748A}"/>
              </a:ext>
            </a:extLst>
          </p:cNvPr>
          <p:cNvSpPr>
            <a:spLocks/>
          </p:cNvSpPr>
          <p:nvPr/>
        </p:nvSpPr>
        <p:spPr>
          <a:xfrm>
            <a:off x="9418165" y="4421788"/>
            <a:ext cx="2059553" cy="534337"/>
          </a:xfrm>
          <a:prstGeom prst="rect">
            <a:avLst/>
          </a:prstGeom>
          <a:solidFill>
            <a:srgbClr val="333353"/>
          </a:solidFill>
          <a:ln>
            <a:solidFill>
              <a:srgbClr val="00C1B6"/>
            </a:solidFill>
          </a:ln>
        </p:spPr>
        <p:txBody>
          <a:bodyPr wrap="square" lIns="72000" tIns="72000" rIns="72000" bIns="72000" anchor="t">
            <a:noAutofit/>
          </a:bodyPr>
          <a:lstStyle/>
          <a:p>
            <a:pPr algn="l" rtl="0">
              <a:buClrTx/>
            </a:pPr>
            <a:r>
              <a:rPr lang="en-US" sz="1200" kern="1200">
                <a:solidFill>
                  <a:prstClr val="white"/>
                </a:solidFill>
                <a:latin typeface="Arial"/>
                <a:cs typeface="Arial"/>
              </a:rPr>
              <a:t>SIMATIC PCS </a:t>
            </a:r>
            <a:r>
              <a:rPr lang="en-US" sz="1200" kern="1200" err="1">
                <a:solidFill>
                  <a:prstClr val="white"/>
                </a:solidFill>
                <a:latin typeface="Arial"/>
                <a:cs typeface="Arial"/>
              </a:rPr>
              <a:t>myExpert</a:t>
            </a:r>
            <a:endParaRPr lang="en-US" sz="1200" kern="1200">
              <a:solidFill>
                <a:prstClr val="white"/>
              </a:solidFill>
              <a:latin typeface="Arial"/>
              <a:cs typeface="Arial"/>
            </a:endParaRPr>
          </a:p>
        </p:txBody>
      </p:sp>
      <p:sp>
        <p:nvSpPr>
          <p:cNvPr id="51" name="Freihandform: Form 74">
            <a:extLst>
              <a:ext uri="{FF2B5EF4-FFF2-40B4-BE49-F238E27FC236}">
                <a16:creationId xmlns:a16="http://schemas.microsoft.com/office/drawing/2014/main" id="{D2929332-C552-2D27-3793-875A34D73222}"/>
              </a:ext>
            </a:extLst>
          </p:cNvPr>
          <p:cNvSpPr/>
          <p:nvPr/>
        </p:nvSpPr>
        <p:spPr bwMode="gray">
          <a:xfrm>
            <a:off x="6969123" y="3013167"/>
            <a:ext cx="750361" cy="568116"/>
          </a:xfrm>
          <a:custGeom>
            <a:avLst/>
            <a:gdLst>
              <a:gd name="connsiteX0" fmla="*/ 224748 w 648997"/>
              <a:gd name="connsiteY0" fmla="*/ 325810 h 491371"/>
              <a:gd name="connsiteX1" fmla="*/ 253408 w 648997"/>
              <a:gd name="connsiteY1" fmla="*/ 309286 h 491371"/>
              <a:gd name="connsiteX2" fmla="*/ 232839 w 648997"/>
              <a:gd name="connsiteY2" fmla="*/ 273634 h 491371"/>
              <a:gd name="connsiteX3" fmla="*/ 204111 w 648997"/>
              <a:gd name="connsiteY3" fmla="*/ 290226 h 491371"/>
              <a:gd name="connsiteX4" fmla="*/ 196638 w 648997"/>
              <a:gd name="connsiteY4" fmla="*/ 282752 h 491371"/>
              <a:gd name="connsiteX5" fmla="*/ 213230 w 648997"/>
              <a:gd name="connsiteY5" fmla="*/ 254025 h 491371"/>
              <a:gd name="connsiteX6" fmla="*/ 177577 w 648997"/>
              <a:gd name="connsiteY6" fmla="*/ 233456 h 491371"/>
              <a:gd name="connsiteX7" fmla="*/ 161054 w 648997"/>
              <a:gd name="connsiteY7" fmla="*/ 262115 h 491371"/>
              <a:gd name="connsiteX8" fmla="*/ 150838 w 648997"/>
              <a:gd name="connsiteY8" fmla="*/ 259373 h 491371"/>
              <a:gd name="connsiteX9" fmla="*/ 150838 w 648997"/>
              <a:gd name="connsiteY9" fmla="*/ 226325 h 491371"/>
              <a:gd name="connsiteX10" fmla="*/ 109700 w 648997"/>
              <a:gd name="connsiteY10" fmla="*/ 226325 h 491371"/>
              <a:gd name="connsiteX11" fmla="*/ 109700 w 648997"/>
              <a:gd name="connsiteY11" fmla="*/ 259373 h 491371"/>
              <a:gd name="connsiteX12" fmla="*/ 99484 w 648997"/>
              <a:gd name="connsiteY12" fmla="*/ 262115 h 491371"/>
              <a:gd name="connsiteX13" fmla="*/ 82961 w 648997"/>
              <a:gd name="connsiteY13" fmla="*/ 233456 h 491371"/>
              <a:gd name="connsiteX14" fmla="*/ 47308 w 648997"/>
              <a:gd name="connsiteY14" fmla="*/ 254025 h 491371"/>
              <a:gd name="connsiteX15" fmla="*/ 63900 w 648997"/>
              <a:gd name="connsiteY15" fmla="*/ 282752 h 491371"/>
              <a:gd name="connsiteX16" fmla="*/ 56427 w 648997"/>
              <a:gd name="connsiteY16" fmla="*/ 290226 h 491371"/>
              <a:gd name="connsiteX17" fmla="*/ 27699 w 648997"/>
              <a:gd name="connsiteY17" fmla="*/ 273634 h 491371"/>
              <a:gd name="connsiteX18" fmla="*/ 7131 w 648997"/>
              <a:gd name="connsiteY18" fmla="*/ 309286 h 491371"/>
              <a:gd name="connsiteX19" fmla="*/ 35790 w 648997"/>
              <a:gd name="connsiteY19" fmla="*/ 325810 h 491371"/>
              <a:gd name="connsiteX20" fmla="*/ 33047 w 648997"/>
              <a:gd name="connsiteY20" fmla="*/ 336026 h 491371"/>
              <a:gd name="connsiteX21" fmla="*/ 0 w 648997"/>
              <a:gd name="connsiteY21" fmla="*/ 336026 h 491371"/>
              <a:gd name="connsiteX22" fmla="*/ 0 w 648997"/>
              <a:gd name="connsiteY22" fmla="*/ 377163 h 491371"/>
              <a:gd name="connsiteX23" fmla="*/ 33047 w 648997"/>
              <a:gd name="connsiteY23" fmla="*/ 377163 h 491371"/>
              <a:gd name="connsiteX24" fmla="*/ 35790 w 648997"/>
              <a:gd name="connsiteY24" fmla="*/ 387379 h 491371"/>
              <a:gd name="connsiteX25" fmla="*/ 7131 w 648997"/>
              <a:gd name="connsiteY25" fmla="*/ 403903 h 491371"/>
              <a:gd name="connsiteX26" fmla="*/ 27699 w 648997"/>
              <a:gd name="connsiteY26" fmla="*/ 439555 h 491371"/>
              <a:gd name="connsiteX27" fmla="*/ 56427 w 648997"/>
              <a:gd name="connsiteY27" fmla="*/ 422963 h 491371"/>
              <a:gd name="connsiteX28" fmla="*/ 63900 w 648997"/>
              <a:gd name="connsiteY28" fmla="*/ 430436 h 491371"/>
              <a:gd name="connsiteX29" fmla="*/ 47308 w 648997"/>
              <a:gd name="connsiteY29" fmla="*/ 459164 h 491371"/>
              <a:gd name="connsiteX30" fmla="*/ 82961 w 648997"/>
              <a:gd name="connsiteY30" fmla="*/ 479733 h 491371"/>
              <a:gd name="connsiteX31" fmla="*/ 99484 w 648997"/>
              <a:gd name="connsiteY31" fmla="*/ 451074 h 491371"/>
              <a:gd name="connsiteX32" fmla="*/ 109700 w 648997"/>
              <a:gd name="connsiteY32" fmla="*/ 453816 h 491371"/>
              <a:gd name="connsiteX33" fmla="*/ 109700 w 648997"/>
              <a:gd name="connsiteY33" fmla="*/ 486864 h 491371"/>
              <a:gd name="connsiteX34" fmla="*/ 150838 w 648997"/>
              <a:gd name="connsiteY34" fmla="*/ 486864 h 491371"/>
              <a:gd name="connsiteX35" fmla="*/ 150838 w 648997"/>
              <a:gd name="connsiteY35" fmla="*/ 453816 h 491371"/>
              <a:gd name="connsiteX36" fmla="*/ 161054 w 648997"/>
              <a:gd name="connsiteY36" fmla="*/ 451074 h 491371"/>
              <a:gd name="connsiteX37" fmla="*/ 177577 w 648997"/>
              <a:gd name="connsiteY37" fmla="*/ 479733 h 491371"/>
              <a:gd name="connsiteX38" fmla="*/ 213230 w 648997"/>
              <a:gd name="connsiteY38" fmla="*/ 459164 h 491371"/>
              <a:gd name="connsiteX39" fmla="*/ 196638 w 648997"/>
              <a:gd name="connsiteY39" fmla="*/ 430436 h 491371"/>
              <a:gd name="connsiteX40" fmla="*/ 204111 w 648997"/>
              <a:gd name="connsiteY40" fmla="*/ 422963 h 491371"/>
              <a:gd name="connsiteX41" fmla="*/ 232839 w 648997"/>
              <a:gd name="connsiteY41" fmla="*/ 439555 h 491371"/>
              <a:gd name="connsiteX42" fmla="*/ 253408 w 648997"/>
              <a:gd name="connsiteY42" fmla="*/ 403903 h 491371"/>
              <a:gd name="connsiteX43" fmla="*/ 224748 w 648997"/>
              <a:gd name="connsiteY43" fmla="*/ 387379 h 491371"/>
              <a:gd name="connsiteX44" fmla="*/ 227491 w 648997"/>
              <a:gd name="connsiteY44" fmla="*/ 377163 h 491371"/>
              <a:gd name="connsiteX45" fmla="*/ 260538 w 648997"/>
              <a:gd name="connsiteY45" fmla="*/ 377163 h 491371"/>
              <a:gd name="connsiteX46" fmla="*/ 260538 w 648997"/>
              <a:gd name="connsiteY46" fmla="*/ 336026 h 491371"/>
              <a:gd name="connsiteX47" fmla="*/ 227491 w 648997"/>
              <a:gd name="connsiteY47" fmla="*/ 336026 h 491371"/>
              <a:gd name="connsiteX48" fmla="*/ 224748 w 648997"/>
              <a:gd name="connsiteY48" fmla="*/ 325810 h 491371"/>
              <a:gd name="connsiteX49" fmla="*/ 202260 w 648997"/>
              <a:gd name="connsiteY49" fmla="*/ 356594 h 491371"/>
              <a:gd name="connsiteX50" fmla="*/ 130269 w 648997"/>
              <a:gd name="connsiteY50" fmla="*/ 428585 h 491371"/>
              <a:gd name="connsiteX51" fmla="*/ 58278 w 648997"/>
              <a:gd name="connsiteY51" fmla="*/ 356594 h 491371"/>
              <a:gd name="connsiteX52" fmla="*/ 130269 w 648997"/>
              <a:gd name="connsiteY52" fmla="*/ 284604 h 491371"/>
              <a:gd name="connsiteX53" fmla="*/ 202260 w 648997"/>
              <a:gd name="connsiteY53" fmla="*/ 356594 h 491371"/>
              <a:gd name="connsiteX54" fmla="*/ 164550 w 648997"/>
              <a:gd name="connsiteY54" fmla="*/ 356594 h 491371"/>
              <a:gd name="connsiteX55" fmla="*/ 130269 w 648997"/>
              <a:gd name="connsiteY55" fmla="*/ 390876 h 491371"/>
              <a:gd name="connsiteX56" fmla="*/ 95988 w 648997"/>
              <a:gd name="connsiteY56" fmla="*/ 356594 h 491371"/>
              <a:gd name="connsiteX57" fmla="*/ 130269 w 648997"/>
              <a:gd name="connsiteY57" fmla="*/ 322313 h 491371"/>
              <a:gd name="connsiteX58" fmla="*/ 164550 w 648997"/>
              <a:gd name="connsiteY58" fmla="*/ 356594 h 491371"/>
              <a:gd name="connsiteX59" fmla="*/ 307778 w 648997"/>
              <a:gd name="connsiteY59" fmla="*/ 105655 h 491371"/>
              <a:gd name="connsiteX60" fmla="*/ 286866 w 648997"/>
              <a:gd name="connsiteY60" fmla="*/ 93588 h 491371"/>
              <a:gd name="connsiteX61" fmla="*/ 286866 w 648997"/>
              <a:gd name="connsiteY61" fmla="*/ 71099 h 491371"/>
              <a:gd name="connsiteX62" fmla="*/ 307778 w 648997"/>
              <a:gd name="connsiteY62" fmla="*/ 59032 h 491371"/>
              <a:gd name="connsiteX63" fmla="*/ 287209 w 648997"/>
              <a:gd name="connsiteY63" fmla="*/ 23380 h 491371"/>
              <a:gd name="connsiteX64" fmla="*/ 266297 w 648997"/>
              <a:gd name="connsiteY64" fmla="*/ 35447 h 491371"/>
              <a:gd name="connsiteX65" fmla="*/ 246826 w 648997"/>
              <a:gd name="connsiteY65" fmla="*/ 24203 h 491371"/>
              <a:gd name="connsiteX66" fmla="*/ 246826 w 648997"/>
              <a:gd name="connsiteY66" fmla="*/ 0 h 491371"/>
              <a:gd name="connsiteX67" fmla="*/ 205688 w 648997"/>
              <a:gd name="connsiteY67" fmla="*/ 0 h 491371"/>
              <a:gd name="connsiteX68" fmla="*/ 205688 w 648997"/>
              <a:gd name="connsiteY68" fmla="*/ 24203 h 491371"/>
              <a:gd name="connsiteX69" fmla="*/ 186216 w 648997"/>
              <a:gd name="connsiteY69" fmla="*/ 35447 h 491371"/>
              <a:gd name="connsiteX70" fmla="*/ 165305 w 648997"/>
              <a:gd name="connsiteY70" fmla="*/ 23380 h 491371"/>
              <a:gd name="connsiteX71" fmla="*/ 144736 w 648997"/>
              <a:gd name="connsiteY71" fmla="*/ 59032 h 491371"/>
              <a:gd name="connsiteX72" fmla="*/ 165647 w 648997"/>
              <a:gd name="connsiteY72" fmla="*/ 71099 h 491371"/>
              <a:gd name="connsiteX73" fmla="*/ 165647 w 648997"/>
              <a:gd name="connsiteY73" fmla="*/ 93588 h 491371"/>
              <a:gd name="connsiteX74" fmla="*/ 144736 w 648997"/>
              <a:gd name="connsiteY74" fmla="*/ 105655 h 491371"/>
              <a:gd name="connsiteX75" fmla="*/ 165305 w 648997"/>
              <a:gd name="connsiteY75" fmla="*/ 141308 h 491371"/>
              <a:gd name="connsiteX76" fmla="*/ 186216 w 648997"/>
              <a:gd name="connsiteY76" fmla="*/ 129241 h 491371"/>
              <a:gd name="connsiteX77" fmla="*/ 205688 w 648997"/>
              <a:gd name="connsiteY77" fmla="*/ 140485 h 491371"/>
              <a:gd name="connsiteX78" fmla="*/ 205688 w 648997"/>
              <a:gd name="connsiteY78" fmla="*/ 164688 h 491371"/>
              <a:gd name="connsiteX79" fmla="*/ 246826 w 648997"/>
              <a:gd name="connsiteY79" fmla="*/ 164688 h 491371"/>
              <a:gd name="connsiteX80" fmla="*/ 246826 w 648997"/>
              <a:gd name="connsiteY80" fmla="*/ 140485 h 491371"/>
              <a:gd name="connsiteX81" fmla="*/ 266297 w 648997"/>
              <a:gd name="connsiteY81" fmla="*/ 129241 h 491371"/>
              <a:gd name="connsiteX82" fmla="*/ 287209 w 648997"/>
              <a:gd name="connsiteY82" fmla="*/ 141308 h 491371"/>
              <a:gd name="connsiteX83" fmla="*/ 307778 w 648997"/>
              <a:gd name="connsiteY83" fmla="*/ 105655 h 491371"/>
              <a:gd name="connsiteX84" fmla="*/ 226257 w 648997"/>
              <a:gd name="connsiteY84" fmla="*/ 116625 h 491371"/>
              <a:gd name="connsiteX85" fmla="*/ 191975 w 648997"/>
              <a:gd name="connsiteY85" fmla="*/ 82344 h 491371"/>
              <a:gd name="connsiteX86" fmla="*/ 226257 w 648997"/>
              <a:gd name="connsiteY86" fmla="*/ 48062 h 491371"/>
              <a:gd name="connsiteX87" fmla="*/ 260538 w 648997"/>
              <a:gd name="connsiteY87" fmla="*/ 82344 h 491371"/>
              <a:gd name="connsiteX88" fmla="*/ 226257 w 648997"/>
              <a:gd name="connsiteY88" fmla="*/ 116625 h 491371"/>
              <a:gd name="connsiteX89" fmla="*/ 637633 w 648997"/>
              <a:gd name="connsiteY89" fmla="*/ 425157 h 491371"/>
              <a:gd name="connsiteX90" fmla="*/ 466226 w 648997"/>
              <a:gd name="connsiteY90" fmla="*/ 253750 h 491371"/>
              <a:gd name="connsiteX91" fmla="*/ 466226 w 648997"/>
              <a:gd name="connsiteY91" fmla="*/ 192250 h 491371"/>
              <a:gd name="connsiteX92" fmla="*/ 427420 w 648997"/>
              <a:gd name="connsiteY92" fmla="*/ 153443 h 491371"/>
              <a:gd name="connsiteX93" fmla="*/ 378946 w 648997"/>
              <a:gd name="connsiteY93" fmla="*/ 153443 h 491371"/>
              <a:gd name="connsiteX94" fmla="*/ 365576 w 648997"/>
              <a:gd name="connsiteY94" fmla="*/ 166813 h 491371"/>
              <a:gd name="connsiteX95" fmla="*/ 418232 w 648997"/>
              <a:gd name="connsiteY95" fmla="*/ 219469 h 491371"/>
              <a:gd name="connsiteX96" fmla="*/ 377095 w 648997"/>
              <a:gd name="connsiteY96" fmla="*/ 260607 h 491371"/>
              <a:gd name="connsiteX97" fmla="*/ 324439 w 648997"/>
              <a:gd name="connsiteY97" fmla="*/ 207951 h 491371"/>
              <a:gd name="connsiteX98" fmla="*/ 311069 w 648997"/>
              <a:gd name="connsiteY98" fmla="*/ 221320 h 491371"/>
              <a:gd name="connsiteX99" fmla="*/ 311069 w 648997"/>
              <a:gd name="connsiteY99" fmla="*/ 269794 h 491371"/>
              <a:gd name="connsiteX100" fmla="*/ 349875 w 648997"/>
              <a:gd name="connsiteY100" fmla="*/ 308601 h 491371"/>
              <a:gd name="connsiteX101" fmla="*/ 411376 w 648997"/>
              <a:gd name="connsiteY101" fmla="*/ 308601 h 491371"/>
              <a:gd name="connsiteX102" fmla="*/ 582783 w 648997"/>
              <a:gd name="connsiteY102" fmla="*/ 480007 h 491371"/>
              <a:gd name="connsiteX103" fmla="*/ 637633 w 648997"/>
              <a:gd name="connsiteY103" fmla="*/ 480007 h 491371"/>
              <a:gd name="connsiteX104" fmla="*/ 637633 w 648997"/>
              <a:gd name="connsiteY104" fmla="*/ 425157 h 491371"/>
              <a:gd name="connsiteX105" fmla="*/ 610208 w 648997"/>
              <a:gd name="connsiteY105" fmla="*/ 466295 h 491371"/>
              <a:gd name="connsiteX106" fmla="*/ 596495 w 648997"/>
              <a:gd name="connsiteY106" fmla="*/ 452582 h 491371"/>
              <a:gd name="connsiteX107" fmla="*/ 610208 w 648997"/>
              <a:gd name="connsiteY107" fmla="*/ 438870 h 491371"/>
              <a:gd name="connsiteX108" fmla="*/ 623920 w 648997"/>
              <a:gd name="connsiteY108" fmla="*/ 452582 h 491371"/>
              <a:gd name="connsiteX109" fmla="*/ 610208 w 648997"/>
              <a:gd name="connsiteY109" fmla="*/ 466295 h 49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648997" h="491371">
                <a:moveTo>
                  <a:pt x="224748" y="325810"/>
                </a:moveTo>
                <a:lnTo>
                  <a:pt x="253408" y="309286"/>
                </a:lnTo>
                <a:lnTo>
                  <a:pt x="232839" y="273634"/>
                </a:lnTo>
                <a:lnTo>
                  <a:pt x="204111" y="290226"/>
                </a:lnTo>
                <a:cubicBezTo>
                  <a:pt x="201780" y="287620"/>
                  <a:pt x="199312" y="285152"/>
                  <a:pt x="196638" y="282752"/>
                </a:cubicBezTo>
                <a:lnTo>
                  <a:pt x="213230" y="254025"/>
                </a:lnTo>
                <a:lnTo>
                  <a:pt x="177577" y="233456"/>
                </a:lnTo>
                <a:lnTo>
                  <a:pt x="161054" y="262115"/>
                </a:lnTo>
                <a:cubicBezTo>
                  <a:pt x="157694" y="261018"/>
                  <a:pt x="154266" y="260058"/>
                  <a:pt x="150838" y="259373"/>
                </a:cubicBezTo>
                <a:lnTo>
                  <a:pt x="150838" y="226325"/>
                </a:lnTo>
                <a:lnTo>
                  <a:pt x="109700" y="226325"/>
                </a:lnTo>
                <a:lnTo>
                  <a:pt x="109700" y="259373"/>
                </a:lnTo>
                <a:cubicBezTo>
                  <a:pt x="106272" y="260127"/>
                  <a:pt x="102844" y="261018"/>
                  <a:pt x="99484" y="262115"/>
                </a:cubicBezTo>
                <a:lnTo>
                  <a:pt x="82961" y="233456"/>
                </a:lnTo>
                <a:lnTo>
                  <a:pt x="47308" y="254025"/>
                </a:lnTo>
                <a:lnTo>
                  <a:pt x="63900" y="282752"/>
                </a:lnTo>
                <a:cubicBezTo>
                  <a:pt x="61295" y="285084"/>
                  <a:pt x="58827" y="287552"/>
                  <a:pt x="56427" y="290226"/>
                </a:cubicBezTo>
                <a:lnTo>
                  <a:pt x="27699" y="273634"/>
                </a:lnTo>
                <a:lnTo>
                  <a:pt x="7131" y="309286"/>
                </a:lnTo>
                <a:lnTo>
                  <a:pt x="35790" y="325810"/>
                </a:lnTo>
                <a:cubicBezTo>
                  <a:pt x="34693" y="329169"/>
                  <a:pt x="33733" y="332598"/>
                  <a:pt x="33047" y="336026"/>
                </a:cubicBezTo>
                <a:lnTo>
                  <a:pt x="0" y="336026"/>
                </a:lnTo>
                <a:lnTo>
                  <a:pt x="0" y="377163"/>
                </a:lnTo>
                <a:lnTo>
                  <a:pt x="33047" y="377163"/>
                </a:lnTo>
                <a:cubicBezTo>
                  <a:pt x="33801" y="380591"/>
                  <a:pt x="34693" y="384020"/>
                  <a:pt x="35790" y="387379"/>
                </a:cubicBezTo>
                <a:lnTo>
                  <a:pt x="7131" y="403903"/>
                </a:lnTo>
                <a:lnTo>
                  <a:pt x="27699" y="439555"/>
                </a:lnTo>
                <a:lnTo>
                  <a:pt x="56427" y="422963"/>
                </a:lnTo>
                <a:cubicBezTo>
                  <a:pt x="58758" y="425568"/>
                  <a:pt x="61226" y="428037"/>
                  <a:pt x="63900" y="430436"/>
                </a:cubicBezTo>
                <a:lnTo>
                  <a:pt x="47308" y="459164"/>
                </a:lnTo>
                <a:lnTo>
                  <a:pt x="82961" y="479733"/>
                </a:lnTo>
                <a:lnTo>
                  <a:pt x="99484" y="451074"/>
                </a:lnTo>
                <a:cubicBezTo>
                  <a:pt x="102844" y="452171"/>
                  <a:pt x="106272" y="453131"/>
                  <a:pt x="109700" y="453816"/>
                </a:cubicBezTo>
                <a:lnTo>
                  <a:pt x="109700" y="486864"/>
                </a:lnTo>
                <a:lnTo>
                  <a:pt x="150838" y="486864"/>
                </a:lnTo>
                <a:lnTo>
                  <a:pt x="150838" y="453816"/>
                </a:lnTo>
                <a:cubicBezTo>
                  <a:pt x="154266" y="453062"/>
                  <a:pt x="157694" y="452171"/>
                  <a:pt x="161054" y="451074"/>
                </a:cubicBezTo>
                <a:lnTo>
                  <a:pt x="177577" y="479733"/>
                </a:lnTo>
                <a:lnTo>
                  <a:pt x="213230" y="459164"/>
                </a:lnTo>
                <a:lnTo>
                  <a:pt x="196638" y="430436"/>
                </a:lnTo>
                <a:cubicBezTo>
                  <a:pt x="199243" y="428105"/>
                  <a:pt x="201711" y="425637"/>
                  <a:pt x="204111" y="422963"/>
                </a:cubicBezTo>
                <a:lnTo>
                  <a:pt x="232839" y="439555"/>
                </a:lnTo>
                <a:lnTo>
                  <a:pt x="253408" y="403903"/>
                </a:lnTo>
                <a:lnTo>
                  <a:pt x="224748" y="387379"/>
                </a:lnTo>
                <a:cubicBezTo>
                  <a:pt x="225845" y="384020"/>
                  <a:pt x="226805" y="380591"/>
                  <a:pt x="227491" y="377163"/>
                </a:cubicBezTo>
                <a:lnTo>
                  <a:pt x="260538" y="377163"/>
                </a:lnTo>
                <a:lnTo>
                  <a:pt x="260538" y="336026"/>
                </a:lnTo>
                <a:lnTo>
                  <a:pt x="227491" y="336026"/>
                </a:lnTo>
                <a:cubicBezTo>
                  <a:pt x="226737" y="332598"/>
                  <a:pt x="225845" y="329169"/>
                  <a:pt x="224748" y="325810"/>
                </a:cubicBezTo>
                <a:close/>
                <a:moveTo>
                  <a:pt x="202260" y="356594"/>
                </a:moveTo>
                <a:cubicBezTo>
                  <a:pt x="202260" y="396361"/>
                  <a:pt x="170035" y="428585"/>
                  <a:pt x="130269" y="428585"/>
                </a:cubicBezTo>
                <a:cubicBezTo>
                  <a:pt x="90503" y="428585"/>
                  <a:pt x="58278" y="396361"/>
                  <a:pt x="58278" y="356594"/>
                </a:cubicBezTo>
                <a:cubicBezTo>
                  <a:pt x="58278" y="316828"/>
                  <a:pt x="90503" y="284604"/>
                  <a:pt x="130269" y="284604"/>
                </a:cubicBezTo>
                <a:cubicBezTo>
                  <a:pt x="170035" y="284604"/>
                  <a:pt x="202191" y="316828"/>
                  <a:pt x="202260" y="356594"/>
                </a:cubicBezTo>
                <a:close/>
                <a:moveTo>
                  <a:pt x="164550" y="356594"/>
                </a:moveTo>
                <a:cubicBezTo>
                  <a:pt x="164550" y="375518"/>
                  <a:pt x="149192" y="390876"/>
                  <a:pt x="130269" y="390876"/>
                </a:cubicBezTo>
                <a:cubicBezTo>
                  <a:pt x="111346" y="390876"/>
                  <a:pt x="95988" y="375518"/>
                  <a:pt x="95988" y="356594"/>
                </a:cubicBezTo>
                <a:cubicBezTo>
                  <a:pt x="95988" y="337671"/>
                  <a:pt x="111346" y="322313"/>
                  <a:pt x="130269" y="322313"/>
                </a:cubicBezTo>
                <a:cubicBezTo>
                  <a:pt x="149192" y="322313"/>
                  <a:pt x="164550" y="337671"/>
                  <a:pt x="164550" y="356594"/>
                </a:cubicBezTo>
                <a:close/>
                <a:moveTo>
                  <a:pt x="307778" y="105655"/>
                </a:moveTo>
                <a:lnTo>
                  <a:pt x="286866" y="93588"/>
                </a:lnTo>
                <a:cubicBezTo>
                  <a:pt x="288306" y="86183"/>
                  <a:pt x="288306" y="78504"/>
                  <a:pt x="286866" y="71099"/>
                </a:cubicBezTo>
                <a:lnTo>
                  <a:pt x="307778" y="59032"/>
                </a:lnTo>
                <a:lnTo>
                  <a:pt x="287209" y="23380"/>
                </a:lnTo>
                <a:lnTo>
                  <a:pt x="266297" y="35447"/>
                </a:lnTo>
                <a:cubicBezTo>
                  <a:pt x="260538" y="30510"/>
                  <a:pt x="253956" y="26739"/>
                  <a:pt x="246826" y="24203"/>
                </a:cubicBezTo>
                <a:lnTo>
                  <a:pt x="246826" y="0"/>
                </a:lnTo>
                <a:lnTo>
                  <a:pt x="205688" y="0"/>
                </a:lnTo>
                <a:lnTo>
                  <a:pt x="205688" y="24203"/>
                </a:lnTo>
                <a:cubicBezTo>
                  <a:pt x="198557" y="26739"/>
                  <a:pt x="191975" y="30510"/>
                  <a:pt x="186216" y="35447"/>
                </a:cubicBezTo>
                <a:lnTo>
                  <a:pt x="165305" y="23380"/>
                </a:lnTo>
                <a:lnTo>
                  <a:pt x="144736" y="59032"/>
                </a:lnTo>
                <a:lnTo>
                  <a:pt x="165647" y="71099"/>
                </a:lnTo>
                <a:cubicBezTo>
                  <a:pt x="164208" y="78504"/>
                  <a:pt x="164208" y="86183"/>
                  <a:pt x="165647" y="93588"/>
                </a:cubicBezTo>
                <a:lnTo>
                  <a:pt x="144736" y="105655"/>
                </a:lnTo>
                <a:lnTo>
                  <a:pt x="165305" y="141308"/>
                </a:lnTo>
                <a:lnTo>
                  <a:pt x="186216" y="129241"/>
                </a:lnTo>
                <a:cubicBezTo>
                  <a:pt x="191975" y="134177"/>
                  <a:pt x="198557" y="137948"/>
                  <a:pt x="205688" y="140485"/>
                </a:cubicBezTo>
                <a:lnTo>
                  <a:pt x="205688" y="164688"/>
                </a:lnTo>
                <a:lnTo>
                  <a:pt x="246826" y="164688"/>
                </a:lnTo>
                <a:lnTo>
                  <a:pt x="246826" y="140485"/>
                </a:lnTo>
                <a:cubicBezTo>
                  <a:pt x="253956" y="137948"/>
                  <a:pt x="260538" y="134177"/>
                  <a:pt x="266297" y="129241"/>
                </a:cubicBezTo>
                <a:lnTo>
                  <a:pt x="287209" y="141308"/>
                </a:lnTo>
                <a:lnTo>
                  <a:pt x="307778" y="105655"/>
                </a:lnTo>
                <a:close/>
                <a:moveTo>
                  <a:pt x="226257" y="116625"/>
                </a:moveTo>
                <a:cubicBezTo>
                  <a:pt x="207334" y="116625"/>
                  <a:pt x="191975" y="101267"/>
                  <a:pt x="191975" y="82344"/>
                </a:cubicBezTo>
                <a:cubicBezTo>
                  <a:pt x="191975" y="63420"/>
                  <a:pt x="207334" y="48062"/>
                  <a:pt x="226257" y="48062"/>
                </a:cubicBezTo>
                <a:cubicBezTo>
                  <a:pt x="245180" y="48062"/>
                  <a:pt x="260538" y="63420"/>
                  <a:pt x="260538" y="82344"/>
                </a:cubicBezTo>
                <a:cubicBezTo>
                  <a:pt x="260538" y="101267"/>
                  <a:pt x="245180" y="116625"/>
                  <a:pt x="226257" y="116625"/>
                </a:cubicBezTo>
                <a:close/>
                <a:moveTo>
                  <a:pt x="637633" y="425157"/>
                </a:moveTo>
                <a:lnTo>
                  <a:pt x="466226" y="253750"/>
                </a:lnTo>
                <a:lnTo>
                  <a:pt x="466226" y="192250"/>
                </a:lnTo>
                <a:lnTo>
                  <a:pt x="427420" y="153443"/>
                </a:lnTo>
                <a:cubicBezTo>
                  <a:pt x="414050" y="140074"/>
                  <a:pt x="392316" y="140074"/>
                  <a:pt x="378946" y="153443"/>
                </a:cubicBezTo>
                <a:lnTo>
                  <a:pt x="365576" y="166813"/>
                </a:lnTo>
                <a:lnTo>
                  <a:pt x="418232" y="219469"/>
                </a:lnTo>
                <a:lnTo>
                  <a:pt x="377095" y="260607"/>
                </a:lnTo>
                <a:lnTo>
                  <a:pt x="324439" y="207951"/>
                </a:lnTo>
                <a:lnTo>
                  <a:pt x="311069" y="221320"/>
                </a:lnTo>
                <a:cubicBezTo>
                  <a:pt x="297699" y="234690"/>
                  <a:pt x="297699" y="256424"/>
                  <a:pt x="311069" y="269794"/>
                </a:cubicBezTo>
                <a:lnTo>
                  <a:pt x="349875" y="308601"/>
                </a:lnTo>
                <a:lnTo>
                  <a:pt x="411376" y="308601"/>
                </a:lnTo>
                <a:lnTo>
                  <a:pt x="582783" y="480007"/>
                </a:lnTo>
                <a:cubicBezTo>
                  <a:pt x="597935" y="495160"/>
                  <a:pt x="622480" y="495160"/>
                  <a:pt x="637633" y="480007"/>
                </a:cubicBezTo>
                <a:cubicBezTo>
                  <a:pt x="652785" y="464855"/>
                  <a:pt x="652785" y="440309"/>
                  <a:pt x="637633" y="425157"/>
                </a:cubicBezTo>
                <a:close/>
                <a:moveTo>
                  <a:pt x="610208" y="466295"/>
                </a:moveTo>
                <a:cubicBezTo>
                  <a:pt x="602666" y="466295"/>
                  <a:pt x="596495" y="460124"/>
                  <a:pt x="596495" y="452582"/>
                </a:cubicBezTo>
                <a:cubicBezTo>
                  <a:pt x="596495" y="445040"/>
                  <a:pt x="602666" y="438870"/>
                  <a:pt x="610208" y="438870"/>
                </a:cubicBezTo>
                <a:cubicBezTo>
                  <a:pt x="617750" y="438870"/>
                  <a:pt x="623920" y="445040"/>
                  <a:pt x="623920" y="452582"/>
                </a:cubicBezTo>
                <a:cubicBezTo>
                  <a:pt x="623920" y="460124"/>
                  <a:pt x="617750" y="466295"/>
                  <a:pt x="610208" y="466295"/>
                </a:cubicBezTo>
                <a:close/>
              </a:path>
            </a:pathLst>
          </a:custGeom>
          <a:solidFill>
            <a:srgbClr val="00C1B6"/>
          </a:solidFill>
          <a:ln w="6794" cap="flat">
            <a:noFill/>
            <a:prstDash val="solid"/>
            <a:miter/>
          </a:ln>
        </p:spPr>
        <p:txBody>
          <a:bodyPr rtlCol="0" anchor="ctr"/>
          <a:ls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endParaRPr lang="en-US"/>
          </a:p>
        </p:txBody>
      </p:sp>
      <p:cxnSp>
        <p:nvCxnSpPr>
          <p:cNvPr id="52" name="Straight Connector 37">
            <a:extLst>
              <a:ext uri="{FF2B5EF4-FFF2-40B4-BE49-F238E27FC236}">
                <a16:creationId xmlns:a16="http://schemas.microsoft.com/office/drawing/2014/main" id="{6B4CB43B-039F-6F6E-A242-D5559187869F}"/>
              </a:ext>
            </a:extLst>
          </p:cNvPr>
          <p:cNvCxnSpPr>
            <a:cxnSpLocks/>
          </p:cNvCxnSpPr>
          <p:nvPr/>
        </p:nvCxnSpPr>
        <p:spPr>
          <a:xfrm>
            <a:off x="1924050"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Straight Connector 39">
            <a:extLst>
              <a:ext uri="{FF2B5EF4-FFF2-40B4-BE49-F238E27FC236}">
                <a16:creationId xmlns:a16="http://schemas.microsoft.com/office/drawing/2014/main" id="{975BB408-DE93-B5F5-0384-7F6F39DF7AA6}"/>
              </a:ext>
            </a:extLst>
          </p:cNvPr>
          <p:cNvCxnSpPr>
            <a:cxnSpLocks/>
          </p:cNvCxnSpPr>
          <p:nvPr/>
        </p:nvCxnSpPr>
        <p:spPr>
          <a:xfrm>
            <a:off x="4375876"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40">
            <a:extLst>
              <a:ext uri="{FF2B5EF4-FFF2-40B4-BE49-F238E27FC236}">
                <a16:creationId xmlns:a16="http://schemas.microsoft.com/office/drawing/2014/main" id="{3638E1B0-4AE4-4240-895E-427C69659479}"/>
              </a:ext>
            </a:extLst>
          </p:cNvPr>
          <p:cNvCxnSpPr>
            <a:cxnSpLocks/>
          </p:cNvCxnSpPr>
          <p:nvPr/>
        </p:nvCxnSpPr>
        <p:spPr>
          <a:xfrm>
            <a:off x="6824918"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41">
            <a:extLst>
              <a:ext uri="{FF2B5EF4-FFF2-40B4-BE49-F238E27FC236}">
                <a16:creationId xmlns:a16="http://schemas.microsoft.com/office/drawing/2014/main" id="{B36DFAF3-8035-758D-69E2-E496F0C71C6B}"/>
              </a:ext>
            </a:extLst>
          </p:cNvPr>
          <p:cNvCxnSpPr>
            <a:cxnSpLocks/>
          </p:cNvCxnSpPr>
          <p:nvPr/>
        </p:nvCxnSpPr>
        <p:spPr>
          <a:xfrm>
            <a:off x="9269451" y="1414807"/>
            <a:ext cx="0" cy="3541318"/>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4177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wipe(up)">
                                      <p:cBhvr>
                                        <p:cTn id="11" dur="500"/>
                                        <p:tgtEl>
                                          <p:spTgt spid="5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wipe(up)">
                                      <p:cBhvr>
                                        <p:cTn id="19" dur="500"/>
                                        <p:tgtEl>
                                          <p:spTgt spid="5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wipe(up)">
                                      <p:cBhvr>
                                        <p:cTn id="27" dur="500"/>
                                        <p:tgtEl>
                                          <p:spTgt spid="5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par>
                          <p:cTn id="32" fill="hold">
                            <p:stCondLst>
                              <p:cond delay="3500"/>
                            </p:stCondLst>
                            <p:childTnLst>
                              <p:par>
                                <p:cTn id="33" presetID="22" presetClass="entr" presetSubtype="1"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up)">
                                      <p:cBhvr>
                                        <p:cTn id="35" dur="500"/>
                                        <p:tgtEl>
                                          <p:spTgt spid="55"/>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animEffect transition="in" filter="fade">
                                      <p:cBhvr>
                                        <p:cTn id="45" dur="500"/>
                                        <p:tgtEl>
                                          <p:spTgt spid="3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500"/>
                                        <p:tgtEl>
                                          <p:spTgt spid="4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500"/>
                                        <p:tgtEl>
                                          <p:spTgt spid="5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6"/>
                                        </p:tgtEl>
                                        <p:attrNameLst>
                                          <p:attrName>style.visibility</p:attrName>
                                        </p:attrNameLst>
                                      </p:cBhvr>
                                      <p:to>
                                        <p:strVal val="visible"/>
                                      </p:to>
                                    </p:set>
                                    <p:animEffect transition="in" filter="fade">
                                      <p:cBhvr>
                                        <p:cTn id="60" dur="500"/>
                                        <p:tgtEl>
                                          <p:spTgt spid="4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fade">
                                      <p:cBhvr>
                                        <p:cTn id="63" dur="500"/>
                                        <p:tgtEl>
                                          <p:spTgt spid="4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fade">
                                      <p:cBhvr>
                                        <p:cTn id="68" dur="500"/>
                                        <p:tgtEl>
                                          <p:spTgt spid="41"/>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500"/>
                                        <p:tgtEl>
                                          <p:spTgt spid="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500"/>
                                        <p:tgtEl>
                                          <p:spTgt spid="1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fade">
                                      <p:cBhvr>
                                        <p:cTn id="79" dur="500"/>
                                        <p:tgtEl>
                                          <p:spTgt spid="2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500"/>
                                        <p:tgtEl>
                                          <p:spTgt spid="4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0"/>
                                        </p:tgtEl>
                                        <p:attrNameLst>
                                          <p:attrName>style.visibility</p:attrName>
                                        </p:attrNameLst>
                                      </p:cBhvr>
                                      <p:to>
                                        <p:strVal val="visible"/>
                                      </p:to>
                                    </p:set>
                                    <p:animEffect transition="in" filter="fade">
                                      <p:cBhvr>
                                        <p:cTn id="9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6" grpId="0" animBg="1"/>
      <p:bldP spid="26" grpId="0" animBg="1"/>
      <p:bldP spid="27" grpId="0"/>
      <p:bldP spid="30" grpId="0"/>
      <p:bldP spid="31" grpId="0"/>
      <p:bldP spid="35" grpId="0" animBg="1"/>
      <p:bldP spid="38" grpId="0"/>
      <p:bldP spid="39" grpId="0"/>
      <p:bldP spid="40" grpId="0"/>
      <p:bldP spid="41" grpId="0" animBg="1"/>
      <p:bldP spid="42" grpId="0" animBg="1"/>
      <p:bldP spid="43" grpId="0"/>
      <p:bldP spid="44" grpId="0"/>
      <p:bldP spid="45" grpId="0" animBg="1"/>
      <p:bldP spid="46" grpId="0" animBg="1"/>
      <p:bldP spid="47" grpId="0" animBg="1"/>
      <p:bldP spid="48" grpId="0" animBg="1"/>
      <p:bldP spid="49" grpId="0" animBg="1"/>
      <p:bldP spid="50" grpId="0" animBg="1"/>
      <p:bldP spid="5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AgD///////8DAAAABAD///////8DAAAABAD///////8DAAAABAD///////8DAAAABAD///////////////////////////////////////////////////////////////////////////////////////////////////////////////////////////////////////////////////////////////////////////////////////////////////////////////////////////////////////////////////////////////////////////////////////////////////////////////////////////////////////////////////////////////////////////////////////////////////////////////////////////////8BACAA////////////////AAAO////////AwAAAAQA////////////////////////////////////////////////////////////////////////////////////////////////////////////////////////////////////////////////////////////////////////////////////////////////////////////////////////////////////////////////////////////////////////////////////////////////////////////////////////////////////////////////////////////////////////////////////////////////////////////////////////////////////////////////////////////////////////////////////////////////////////////////////////AgACAP///////wUAAAACABAAC3AWZhyhSnlNtmPCovpUa2IEAAAAAAADAAAAAAADAAAAAwADAAAAAAADAAAABAADAAEA////////BQAAAAMAEAALKm2rHxkng0akqlIxs7s8VQQAAAABAAMAAAACAAMAAAAEAAQABgD///////8FAAAABAAQAAuKrs3n+FXLRr1oDYElg8uOBAAAAAIAAwAAAAMAAwAAAAE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cBZmHKFKeU22Y8Ki+lRrYgNEYXRhABsAAAAETGlua2VkU2hhcGVEYXRhAAUAAAAAAAJOYW1lABkAAABMaW5rZWRTaGFwZXNEYXRhUHJvcGVydHkAEFZlcnNpb24AAQAAAAlMYXN0V3JpdGUAGrmiDZgBAAAAAQD/////xgDGAAAABV9pZAAQAAAABCptqx8ZJ4NGpKpSMbO7PFUDRGF0YQBTAAAACFByZXNlbnRhdGlvblNjYW5uZWRGb3JMaW5rZWRTaGFwZXMAAAJOdW1iZXJGb3JtYXRTZXBhcmF0b3JNb2RlAAoAAABBdXRvbWF0aWMAAAJOYW1lACQAAABMaW5rZWRTaGFwZVByZXNlbnRhdGlvblNldHRpbmdzRGF0YQAQVmVyc2lvbgAAAAAACUxhc3RXcml0ZQAeuaINmAEAAAACAP////+DAIMAAAAFX2lkABAAAAAEiq7N5/hVy0a9aA2BJYPLjgNEYXRhABsAAAAETGlua2VkU2hhcGVEYXRhAAUAAAAAAAJOYW1lABkAAABMaW5rZWRTaGFwZXNEYXRhUHJvcGVydHkAEFZlcnNpb24AAAAAAAlMYXN0V3JpdGUAU7iiDZ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lCwAAAAAAAAAAAAAgAf///////////////wAAAP///////////////wUAAAADAP///////wUAAAAEAP///////wUAAAAEAP///////wUAAAAEAP///////wUAAAAEAP///////wUAAAAEAP///////////////////////////////////////////////////////////////////////////////////////////////////////////////////////////////////////////////////////////////////////////////////////////////////////////////////////////////////////////////////////////////////////////////////////////////////////////////////////////////////////////////////////////////////////////////////////////////////////////////////////////////wEAIAH///////////////8AAA7///////8FAAAAAgD///////////////////////////////////////////////////////////////////////////////////////////////////////////////////////////////////////////////////////////////////////////////////////////////////////////////////////////////////////////////////////////////////////////////////////////////////////////////////////////////////////////////////////////////////////////////////////////////////////////////////////////////////////////////////////////////////////////////////////////////////////////////////////8CAAIBAwAAAAIA////////GgAGTGlua2VkU2hhcGVzRGF0YVByb3BlcnR5XzEEAAAAAAAFAAAABAAFAAAAAQAFAAAABAD///////8DAAEBAwAAAAMA////////JQAGTGlua2VkU2hhcGVQcmVzZW50YXRpb25TZXR0aW5nc0RhdGFfMAQAAAABAAUAAAAAAAUAAAAEAAQABgEDAAAABAD///////8aAAZMaW5rZWRTaGFwZXNEYXRhUHJvcGVydHlfMAQAAAACAAUAAAADAAUAAAACAAUAAAAAAAUAAAACAAUAAAAAAP///////wUAAAAAAP///////w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8817222488634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7tQMy07FECev31TeUN1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bLuj7_g5USd7uNZROAZ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7tQMy07FECev31TeUN1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bLuj7_g5USd7uNZROAZ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7tQMy07FECev31TeUN1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bLuj7_g5USd7uNZROAZ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7tQMy07FECev31TeUN1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Luj7_g5USd7uNZROAZ1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VvQ31F8jNNo6bVwdt8Jj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VvQ31F8jNNo6bVwdt8JjUDRGF0YQAWAAAAAlBlcnNvbmFsSWQAAQAAAAAAAk5hbWUACwAAAFBlcnNvbmFsSWQAEFZlcnNpb24AAAAAAAlMYXN0V3JpdGUAmM/3iJ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87665622379794"/>
  <p:tag name="EMPOWERCHARTSPROPERTIES_A_LENGTH" val="24576"/>
  <p:tag name="RUNTIME_ID" val="70871f7a-cb6f-4b03-a477-6201e0747537"/>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VvQ31F8jNNo6bVwdt8Jj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VvQ31F8jNNo6bVwdt8JjUDRGF0YQAWAAAAAlBlcnNvbmFsSWQAAQAAAAAAAk5hbWUACwAAAFBlcnNvbmFsSWQAEFZlcnNpb24AAAAAAAlMYXN0V3JpdGUAmM/3iJ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87665622379794"/>
  <p:tag name="EMPOWERCHARTSPROPERTIES_A_LENGTH" val="24576"/>
  <p:tag name="RUNTIME_ID" val="70871f7a-cb6f-4b03-a477-6201e0747537"/>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VvQ31F8jNNo6bVwdt8Jj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VvQ31F8jNNo6bVwdt8JjUDRGF0YQAWAAAAAlBlcnNvbmFsSWQAAQAAAAAAAk5hbWUACwAAAFBlcnNvbmFsSWQAEFZlcnNpb24AAAAAAAlMYXN0V3JpdGUAmM/3iJ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87665622379794"/>
  <p:tag name="EMPOWERCHARTSPROPERTIES_A_LENGTH" val="24576"/>
  <p:tag name="RUNTIME_ID" val="70871f7a-cb6f-4b03-a477-6201e0747537"/>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VvQ31F8jNNo6bVwdt8Jj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VvQ31F8jNNo6bVwdt8JjUDRGF0YQAWAAAAAlBlcnNvbmFsSWQAAQAAAAAAAk5hbWUACwAAAFBlcnNvbmFsSWQAEFZlcnNpb24AAAAAAAlMYXN0V3JpdGUAmM/3iJ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87665622379794"/>
  <p:tag name="EMPOWERCHARTSPROPERTIES_A_LENGTH" val="24576"/>
  <p:tag name="RUNTIME_ID" val="70871f7a-cb6f-4b03-a477-6201e0747537"/>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VvQ31F8jNNo6bVwdt8Jj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VvQ31F8jNNo6bVwdt8JjUDRGF0YQAWAAAAAlBlcnNvbmFsSWQAAQAAAAAAAk5hbWUACwAAAFBlcnNvbmFsSWQAEFZlcnNpb24AAAAAAAlMYXN0V3JpdGUAmM/3iJ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87665622379794"/>
  <p:tag name="EMPOWERCHARTSPROPERTIES_A_LENGTH" val="24576"/>
  <p:tag name="RUNTIME_ID" val="70871f7a-cb6f-4b03-a477-6201e0747537"/>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VvQ31F8jNNo6bVwdt8Jj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VvQ31F8jNNo6bVwdt8JjUDRGF0YQAWAAAAAlBlcnNvbmFsSWQAAQAAAAAAAk5hbWUACwAAAFBlcnNvbmFsSWQAEFZlcnNpb24AAAAAAAlMYXN0V3JpdGUAmM/3iJ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87665622379794"/>
  <p:tag name="EMPOWERCHARTSPROPERTIES_A_LENGTH" val="24576"/>
  <p:tag name="RUNTIME_ID" val="70871f7a-cb6f-4b03-a477-6201e0747537"/>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sie-ppt-O365-16x9-standard-eng-v3-4-4.potx" id="{99EA5F69-8815-4072-9B7C-FC133107D0EC}" vid="{E9CECF10-083F-4B56-B889-306B0E9C0A2F}"/>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20" ma:contentTypeDescription="Create a new document." ma:contentTypeScope="" ma:versionID="bf88ce8fc137e1f93502ef6b580f970c">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b8da741f6d2119f494e0efa0ce6f6b53"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604e031-f840-4ad5-97d2-0b99280ee730">
      <Terms xmlns="http://schemas.microsoft.com/office/infopath/2007/PartnerControls"/>
    </lcf76f155ced4ddcb4097134ff3c332f>
    <TaxCatchAll xmlns="c4b40482-04a4-480f-b826-6548c4a2bcf1" xsi:nil="true"/>
    <_Flow_SignoffStatus xmlns="7604e031-f840-4ad5-97d2-0b99280ee73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AD24CA-4979-4460-B48F-48E7968BFCE2}"/>
</file>

<file path=customXml/itemProps2.xml><?xml version="1.0" encoding="utf-8"?>
<ds:datastoreItem xmlns:ds="http://schemas.openxmlformats.org/officeDocument/2006/customXml" ds:itemID="{00A9792A-2EC0-41C1-85A8-8AC70A5037DC}">
  <ds:schemaRefs>
    <ds:schemaRef ds:uri="http://schemas.openxmlformats.org/package/2006/metadata/core-properties"/>
    <ds:schemaRef ds:uri="8166fa65-9091-4d1c-a07f-891231ef7b7f"/>
    <ds:schemaRef ds:uri="http://schemas.microsoft.com/office/2006/documentManagement/types"/>
    <ds:schemaRef ds:uri="http://purl.org/dc/terms/"/>
    <ds:schemaRef ds:uri="http://schemas.microsoft.com/office/2006/metadata/properties"/>
    <ds:schemaRef ds:uri="http://www.w3.org/XML/1998/namespace"/>
    <ds:schemaRef ds:uri="http://schemas.microsoft.com/office/infopath/2007/PartnerControls"/>
    <ds:schemaRef ds:uri="ae70a3e2-8ae1-4ff8-9914-85b9fd04630b"/>
    <ds:schemaRef ds:uri="http://purl.org/dc/dcmitype/"/>
    <ds:schemaRef ds:uri="http://purl.org/dc/elements/1.1/"/>
  </ds:schemaRefs>
</ds:datastoreItem>
</file>

<file path=customXml/itemProps3.xml><?xml version="1.0" encoding="utf-8"?>
<ds:datastoreItem xmlns:ds="http://schemas.openxmlformats.org/officeDocument/2006/customXml" ds:itemID="{FBE266E4-1FA1-4E48-9657-57ECE2DD6F73}"/>
</file>

<file path=docMetadata/LabelInfo.xml><?xml version="1.0" encoding="utf-8"?>
<clbl:labelList xmlns:clbl="http://schemas.microsoft.com/office/2020/mipLabelMetadata">
  <clbl:label id="{9d258917-277f-42cd-a3cd-14c4e9ee58bc}" enabled="1" method="Standard" siteId="{38ae3bcd-9579-4fd4-adda-b42e1495d55a}" removed="0"/>
</clbl:labelList>
</file>

<file path=docProps/app.xml><?xml version="1.0" encoding="utf-8"?>
<Properties xmlns="http://schemas.openxmlformats.org/officeDocument/2006/extended-properties" xmlns:vt="http://schemas.openxmlformats.org/officeDocument/2006/docPropsVTypes">
  <Template>Content</Template>
  <TotalTime>0</TotalTime>
  <Words>1672</Words>
  <Application>Microsoft Office PowerPoint</Application>
  <PresentationFormat>Widescreen</PresentationFormat>
  <Paragraphs>336</Paragraphs>
  <Slides>24</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4</vt:i4>
      </vt:variant>
    </vt:vector>
  </HeadingPairs>
  <TitlesOfParts>
    <vt:vector size="31" baseType="lpstr">
      <vt:lpstr>ＭＳ Ｐゴシック</vt:lpstr>
      <vt:lpstr>Arial</vt:lpstr>
      <vt:lpstr>Arial Unicode MS</vt:lpstr>
      <vt:lpstr>Calibri</vt:lpstr>
      <vt:lpstr>Siemens 2022</vt:lpstr>
      <vt:lpstr>think-cell Folie</vt:lpstr>
      <vt:lpstr>think-cell Slide</vt:lpstr>
      <vt:lpstr>Digital Twins and Process Control with Software Defined Automation Accelerating autonomous production</vt:lpstr>
      <vt:lpstr>What </vt:lpstr>
      <vt:lpstr>PowerPoint Presentation</vt:lpstr>
      <vt:lpstr>PowerPoint Presentation</vt:lpstr>
      <vt:lpstr>Turning key technologies into building blocks on the path to  autonomous production </vt:lpstr>
      <vt:lpstr>Driving the shift from HW-Based to SW-Defined Automation</vt:lpstr>
      <vt:lpstr>PowerPoint Presentation</vt:lpstr>
      <vt:lpstr>Software-defined Automation is the way the industry will evolve from classic automation pyramid to a user-defined workflow architecture </vt:lpstr>
      <vt:lpstr>Software-Defined Automation comprises four key elements</vt:lpstr>
      <vt:lpstr>Software-Defined Automation comprises four key elements</vt:lpstr>
      <vt:lpstr>Software-Defined Automation comprises four key elements</vt:lpstr>
      <vt:lpstr>Software-Defined Automation comprises four key elements</vt:lpstr>
      <vt:lpstr>Software-Defined Automation comprises four key elements</vt:lpstr>
      <vt:lpstr>SIMATIC PCS neo – New Version 6.0 now available!</vt:lpstr>
      <vt:lpstr>PowerPoint Presentation</vt:lpstr>
      <vt:lpstr>PowerPoint Presentation</vt:lpstr>
      <vt:lpstr>Engineering on a global scale and as a Service with SIMATIC PCS neo engineering in the cloud  </vt:lpstr>
      <vt:lpstr>DCS Connect &amp; DCS Agents will Enable AI and data-driven applications</vt:lpstr>
      <vt:lpstr>Siemens’ pledge towards the process industries Driving the Software-Defined Automation journey together with our customers &amp; partners </vt:lpstr>
      <vt:lpstr>PowerPoint Presentation</vt:lpstr>
      <vt:lpstr>With PCS neo, we help our customers drive efficiency </vt:lpstr>
      <vt:lpstr>PowerPoint Presentation</vt:lpstr>
      <vt:lpstr>PowerPoint Presentation</vt:lpstr>
      <vt:lpstr>SIMATIC PCS myExpert – web based digital assistant Offering a health &amp; lifecycle dashboard for SIMATIC PCS 7 &amp; SIMATIC PCS neo pla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i Ekinci | i-pointing</dc:creator>
  <cp:keywords>Template</cp:keywords>
  <dc:description>Version 3.4.4
April 2023</dc:description>
  <cp:lastModifiedBy>Tripathi, Raghav (RC-GB DI S SAC TPE P)</cp:lastModifiedBy>
  <cp:revision>2</cp:revision>
  <dcterms:created xsi:type="dcterms:W3CDTF">2025-07-14T06:24:34Z</dcterms:created>
  <dcterms:modified xsi:type="dcterms:W3CDTF">2025-10-16T11:1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number">
    <vt:lpwstr>4.0.0</vt:lpwstr>
  </property>
  <property fmtid="{D5CDD505-2E9C-101B-9397-08002B2CF9AE}" pid="3" name="Language">
    <vt:lpwstr>English</vt:lpwstr>
  </property>
  <property fmtid="{D5CDD505-2E9C-101B-9397-08002B2CF9AE}" pid="4" name="ContentTypeId">
    <vt:lpwstr>0x0101000646A3490C442E41AC9620621F1F21BE</vt:lpwstr>
  </property>
  <property fmtid="{D5CDD505-2E9C-101B-9397-08002B2CF9AE}" pid="5" name="MediaServiceImageTags">
    <vt:lpwstr/>
  </property>
</Properties>
</file>